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heme/themeOverride2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2" r:id="rId2"/>
    <p:sldMasterId id="2147483669" r:id="rId3"/>
  </p:sldMasterIdLst>
  <p:notesMasterIdLst>
    <p:notesMasterId r:id="rId12"/>
  </p:notesMasterIdLst>
  <p:handoutMasterIdLst>
    <p:handoutMasterId r:id="rId13"/>
  </p:handoutMasterIdLst>
  <p:sldIdLst>
    <p:sldId id="444" r:id="rId4"/>
    <p:sldId id="401" r:id="rId5"/>
    <p:sldId id="446" r:id="rId6"/>
    <p:sldId id="450" r:id="rId7"/>
    <p:sldId id="451" r:id="rId8"/>
    <p:sldId id="452" r:id="rId9"/>
    <p:sldId id="449" r:id="rId10"/>
    <p:sldId id="445" r:id="rId11"/>
  </p:sldIdLst>
  <p:sldSz cx="12192000" cy="6858000"/>
  <p:notesSz cx="6858000" cy="9144000"/>
  <p:custDataLst>
    <p:tags r:id="rId1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69CF"/>
    <a:srgbClr val="A1E2FE"/>
    <a:srgbClr val="226AD0"/>
    <a:srgbClr val="095BC9"/>
    <a:srgbClr val="0789DF"/>
    <a:srgbClr val="4EBCF7"/>
    <a:srgbClr val="0870D3"/>
    <a:srgbClr val="A0E2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 showGuides="1">
      <p:cViewPr varScale="1">
        <p:scale>
          <a:sx n="114" d="100"/>
          <a:sy n="114" d="100"/>
        </p:scale>
        <p:origin x="474" y="96"/>
      </p:cViewPr>
      <p:guideLst>
        <p:guide orient="horz" pos="2160"/>
        <p:guide pos="384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  <a:t>2022/1/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70902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C1A1EB-F38A-4348-9839-54E193FF9EF7}" type="datetimeFigureOut">
              <a:rPr lang="zh-CN" altLang="en-US" smtClean="0"/>
              <a:t>2022/1/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0C9312-0F37-43B7-A68F-D316C29AA13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67183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488681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038562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223649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4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1904514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5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9274599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6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2019780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F70782-008B-5B48-B01C-A994AC4AA046}" type="slidenum">
              <a:rPr kumimoji="1" lang="zh-CN" altLang="en-US" smtClean="0"/>
              <a:t>7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362849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977219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2/1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2/1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2/1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0"/>
    </mc:Choice>
    <mc:Fallback xmlns="">
      <p:transition spd="slow" advTm="300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任意多边形 9"/>
          <p:cNvSpPr/>
          <p:nvPr userDrawn="1"/>
        </p:nvSpPr>
        <p:spPr>
          <a:xfrm>
            <a:off x="-17148" y="365202"/>
            <a:ext cx="12225601" cy="5516990"/>
          </a:xfrm>
          <a:custGeom>
            <a:avLst/>
            <a:gdLst>
              <a:gd name="connsiteX0" fmla="*/ 56 w 19252"/>
              <a:gd name="connsiteY0" fmla="*/ 8688 h 8688"/>
              <a:gd name="connsiteX1" fmla="*/ 3511 w 19252"/>
              <a:gd name="connsiteY1" fmla="*/ 7533 h 8688"/>
              <a:gd name="connsiteX2" fmla="*/ 9703 w 19252"/>
              <a:gd name="connsiteY2" fmla="*/ 5858 h 8688"/>
              <a:gd name="connsiteX3" fmla="*/ 14571 w 19252"/>
              <a:gd name="connsiteY3" fmla="*/ 7193 h 8688"/>
              <a:gd name="connsiteX4" fmla="*/ 19251 w 19252"/>
              <a:gd name="connsiteY4" fmla="*/ 8213 h 8688"/>
              <a:gd name="connsiteX5" fmla="*/ 19220 w 19252"/>
              <a:gd name="connsiteY5" fmla="*/ 3 h 8688"/>
              <a:gd name="connsiteX6" fmla="*/ 0 w 19252"/>
              <a:gd name="connsiteY6" fmla="*/ 32 h 8688"/>
              <a:gd name="connsiteX7" fmla="*/ 40 w 19252"/>
              <a:gd name="connsiteY7" fmla="*/ 8688 h 8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253" h="8688">
                <a:moveTo>
                  <a:pt x="56" y="8688"/>
                </a:moveTo>
                <a:cubicBezTo>
                  <a:pt x="567" y="8509"/>
                  <a:pt x="1443" y="7555"/>
                  <a:pt x="3511" y="7533"/>
                </a:cubicBezTo>
                <a:cubicBezTo>
                  <a:pt x="5579" y="7511"/>
                  <a:pt x="8658" y="6654"/>
                  <a:pt x="9703" y="5858"/>
                </a:cubicBezTo>
                <a:cubicBezTo>
                  <a:pt x="10748" y="5062"/>
                  <a:pt x="10596" y="7119"/>
                  <a:pt x="14571" y="7193"/>
                </a:cubicBezTo>
                <a:cubicBezTo>
                  <a:pt x="18366" y="7103"/>
                  <a:pt x="19246" y="8208"/>
                  <a:pt x="19251" y="8213"/>
                </a:cubicBezTo>
                <a:cubicBezTo>
                  <a:pt x="19256" y="8218"/>
                  <a:pt x="19253" y="18"/>
                  <a:pt x="19220" y="3"/>
                </a:cubicBezTo>
                <a:cubicBezTo>
                  <a:pt x="19187" y="-12"/>
                  <a:pt x="-2" y="31"/>
                  <a:pt x="0" y="32"/>
                </a:cubicBezTo>
                <a:cubicBezTo>
                  <a:pt x="2" y="33"/>
                  <a:pt x="-4" y="6587"/>
                  <a:pt x="40" y="8688"/>
                </a:cubicBezTo>
              </a:path>
            </a:pathLst>
          </a:custGeom>
          <a:gradFill>
            <a:gsLst>
              <a:gs pos="0">
                <a:srgbClr val="0869CF"/>
              </a:gs>
              <a:gs pos="46000">
                <a:srgbClr val="226AD0"/>
              </a:gs>
              <a:gs pos="100000">
                <a:srgbClr val="095BC9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任意多边形 1"/>
          <p:cNvSpPr/>
          <p:nvPr userDrawn="1"/>
        </p:nvSpPr>
        <p:spPr>
          <a:xfrm>
            <a:off x="11737" y="-69068"/>
            <a:ext cx="12217883" cy="5552875"/>
          </a:xfrm>
          <a:custGeom>
            <a:avLst/>
            <a:gdLst>
              <a:gd name="connsiteX0" fmla="*/ 56 w 19240"/>
              <a:gd name="connsiteY0" fmla="*/ 8688 h 8744"/>
              <a:gd name="connsiteX1" fmla="*/ 3067 w 19240"/>
              <a:gd name="connsiteY1" fmla="*/ 7787 h 8744"/>
              <a:gd name="connsiteX2" fmla="*/ 6637 w 19240"/>
              <a:gd name="connsiteY2" fmla="*/ 8656 h 8744"/>
              <a:gd name="connsiteX3" fmla="*/ 10387 w 19240"/>
              <a:gd name="connsiteY3" fmla="*/ 8446 h 8744"/>
              <a:gd name="connsiteX4" fmla="*/ 15248 w 19240"/>
              <a:gd name="connsiteY4" fmla="*/ 6827 h 8744"/>
              <a:gd name="connsiteX5" fmla="*/ 19233 w 19240"/>
              <a:gd name="connsiteY5" fmla="*/ 7578 h 8744"/>
              <a:gd name="connsiteX6" fmla="*/ 19220 w 19240"/>
              <a:gd name="connsiteY6" fmla="*/ 3 h 8744"/>
              <a:gd name="connsiteX7" fmla="*/ 0 w 19240"/>
              <a:gd name="connsiteY7" fmla="*/ 32 h 8744"/>
              <a:gd name="connsiteX8" fmla="*/ 40 w 19240"/>
              <a:gd name="connsiteY8" fmla="*/ 8688 h 8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241" h="8745">
                <a:moveTo>
                  <a:pt x="56" y="8688"/>
                </a:moveTo>
                <a:cubicBezTo>
                  <a:pt x="567" y="8509"/>
                  <a:pt x="1771" y="7775"/>
                  <a:pt x="3067" y="7787"/>
                </a:cubicBezTo>
                <a:cubicBezTo>
                  <a:pt x="4363" y="7799"/>
                  <a:pt x="5173" y="8524"/>
                  <a:pt x="6637" y="8656"/>
                </a:cubicBezTo>
                <a:cubicBezTo>
                  <a:pt x="8101" y="8788"/>
                  <a:pt x="8665" y="8812"/>
                  <a:pt x="10387" y="8446"/>
                </a:cubicBezTo>
                <a:cubicBezTo>
                  <a:pt x="12109" y="8081"/>
                  <a:pt x="13501" y="7007"/>
                  <a:pt x="15248" y="6827"/>
                </a:cubicBezTo>
                <a:cubicBezTo>
                  <a:pt x="16994" y="6647"/>
                  <a:pt x="19228" y="7573"/>
                  <a:pt x="19233" y="7578"/>
                </a:cubicBezTo>
                <a:cubicBezTo>
                  <a:pt x="19238" y="7583"/>
                  <a:pt x="19253" y="18"/>
                  <a:pt x="19220" y="3"/>
                </a:cubicBezTo>
                <a:cubicBezTo>
                  <a:pt x="19187" y="-12"/>
                  <a:pt x="-2" y="31"/>
                  <a:pt x="0" y="32"/>
                </a:cubicBezTo>
                <a:cubicBezTo>
                  <a:pt x="2" y="33"/>
                  <a:pt x="-4" y="6587"/>
                  <a:pt x="40" y="8688"/>
                </a:cubicBezTo>
              </a:path>
            </a:pathLst>
          </a:custGeom>
          <a:solidFill>
            <a:srgbClr val="A1E2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任意多边形 4"/>
          <p:cNvSpPr/>
          <p:nvPr userDrawn="1"/>
        </p:nvSpPr>
        <p:spPr>
          <a:xfrm>
            <a:off x="-2" y="-50260"/>
            <a:ext cx="12217883" cy="5516990"/>
          </a:xfrm>
          <a:custGeom>
            <a:avLst/>
            <a:gdLst>
              <a:gd name="connsiteX0" fmla="*/ 56 w 19240"/>
              <a:gd name="connsiteY0" fmla="*/ 8688 h 8688"/>
              <a:gd name="connsiteX1" fmla="*/ 3099 w 19240"/>
              <a:gd name="connsiteY1" fmla="*/ 8072 h 8688"/>
              <a:gd name="connsiteX2" fmla="*/ 9337 w 19240"/>
              <a:gd name="connsiteY2" fmla="*/ 7810 h 8688"/>
              <a:gd name="connsiteX3" fmla="*/ 15609 w 19240"/>
              <a:gd name="connsiteY3" fmla="*/ 8104 h 8688"/>
              <a:gd name="connsiteX4" fmla="*/ 19233 w 19240"/>
              <a:gd name="connsiteY4" fmla="*/ 7578 h 8688"/>
              <a:gd name="connsiteX5" fmla="*/ 19220 w 19240"/>
              <a:gd name="connsiteY5" fmla="*/ 3 h 8688"/>
              <a:gd name="connsiteX6" fmla="*/ 0 w 19240"/>
              <a:gd name="connsiteY6" fmla="*/ 32 h 8688"/>
              <a:gd name="connsiteX7" fmla="*/ 40 w 19240"/>
              <a:gd name="connsiteY7" fmla="*/ 8688 h 8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241" h="8688">
                <a:moveTo>
                  <a:pt x="56" y="8688"/>
                </a:moveTo>
                <a:cubicBezTo>
                  <a:pt x="567" y="8509"/>
                  <a:pt x="1372" y="7844"/>
                  <a:pt x="3099" y="8072"/>
                </a:cubicBezTo>
                <a:cubicBezTo>
                  <a:pt x="4826" y="8300"/>
                  <a:pt x="7656" y="8924"/>
                  <a:pt x="9337" y="7810"/>
                </a:cubicBezTo>
                <a:cubicBezTo>
                  <a:pt x="11018" y="6696"/>
                  <a:pt x="13813" y="8173"/>
                  <a:pt x="15609" y="8104"/>
                </a:cubicBezTo>
                <a:cubicBezTo>
                  <a:pt x="17746" y="8014"/>
                  <a:pt x="19228" y="7573"/>
                  <a:pt x="19233" y="7578"/>
                </a:cubicBezTo>
                <a:cubicBezTo>
                  <a:pt x="19238" y="7583"/>
                  <a:pt x="19253" y="18"/>
                  <a:pt x="19220" y="3"/>
                </a:cubicBezTo>
                <a:cubicBezTo>
                  <a:pt x="19187" y="-12"/>
                  <a:pt x="-2" y="31"/>
                  <a:pt x="0" y="32"/>
                </a:cubicBezTo>
                <a:cubicBezTo>
                  <a:pt x="2" y="33"/>
                  <a:pt x="-4" y="6587"/>
                  <a:pt x="40" y="8688"/>
                </a:cubicBezTo>
              </a:path>
            </a:pathLst>
          </a:custGeom>
          <a:gradFill>
            <a:gsLst>
              <a:gs pos="51000">
                <a:srgbClr val="0789DF"/>
              </a:gs>
              <a:gs pos="0">
                <a:srgbClr val="095BC9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Freeform 113"/>
          <p:cNvSpPr>
            <a:spLocks noEditPoints="1"/>
          </p:cNvSpPr>
          <p:nvPr userDrawn="1"/>
        </p:nvSpPr>
        <p:spPr bwMode="auto">
          <a:xfrm>
            <a:off x="699662" y="751842"/>
            <a:ext cx="11069536" cy="5442156"/>
          </a:xfrm>
          <a:custGeom>
            <a:avLst/>
            <a:gdLst>
              <a:gd name="T0" fmla="*/ 1302 w 4832"/>
              <a:gd name="T1" fmla="*/ 472 h 2374"/>
              <a:gd name="T2" fmla="*/ 92 w 4832"/>
              <a:gd name="T3" fmla="*/ 600 h 2374"/>
              <a:gd name="T4" fmla="*/ 1495 w 4832"/>
              <a:gd name="T5" fmla="*/ 1292 h 2374"/>
              <a:gd name="T6" fmla="*/ 1140 w 4832"/>
              <a:gd name="T7" fmla="*/ 1152 h 2374"/>
              <a:gd name="T8" fmla="*/ 1388 w 4832"/>
              <a:gd name="T9" fmla="*/ 822 h 2374"/>
              <a:gd name="T10" fmla="*/ 1513 w 4832"/>
              <a:gd name="T11" fmla="*/ 658 h 2374"/>
              <a:gd name="T12" fmla="*/ 1510 w 4832"/>
              <a:gd name="T13" fmla="*/ 476 h 2374"/>
              <a:gd name="T14" fmla="*/ 1245 w 4832"/>
              <a:gd name="T15" fmla="*/ 556 h 2374"/>
              <a:gd name="T16" fmla="*/ 1284 w 4832"/>
              <a:gd name="T17" fmla="*/ 342 h 2374"/>
              <a:gd name="T18" fmla="*/ 1483 w 4832"/>
              <a:gd name="T19" fmla="*/ 457 h 2374"/>
              <a:gd name="T20" fmla="*/ 1210 w 4832"/>
              <a:gd name="T21" fmla="*/ 260 h 2374"/>
              <a:gd name="T22" fmla="*/ 1115 w 4832"/>
              <a:gd name="T23" fmla="*/ 248 h 2374"/>
              <a:gd name="T24" fmla="*/ 972 w 4832"/>
              <a:gd name="T25" fmla="*/ 264 h 2374"/>
              <a:gd name="T26" fmla="*/ 897 w 4832"/>
              <a:gd name="T27" fmla="*/ 188 h 2374"/>
              <a:gd name="T28" fmla="*/ 782 w 4832"/>
              <a:gd name="T29" fmla="*/ 326 h 2374"/>
              <a:gd name="T30" fmla="*/ 208 w 4832"/>
              <a:gd name="T31" fmla="*/ 312 h 2374"/>
              <a:gd name="T32" fmla="*/ 196 w 4832"/>
              <a:gd name="T33" fmla="*/ 519 h 2374"/>
              <a:gd name="T34" fmla="*/ 417 w 4832"/>
              <a:gd name="T35" fmla="*/ 484 h 2374"/>
              <a:gd name="T36" fmla="*/ 813 w 4832"/>
              <a:gd name="T37" fmla="*/ 1027 h 2374"/>
              <a:gd name="T38" fmla="*/ 1225 w 4832"/>
              <a:gd name="T39" fmla="*/ 1313 h 2374"/>
              <a:gd name="T40" fmla="*/ 1402 w 4832"/>
              <a:gd name="T41" fmla="*/ 1972 h 2374"/>
              <a:gd name="T42" fmla="*/ 1500 w 4832"/>
              <a:gd name="T43" fmla="*/ 2229 h 2374"/>
              <a:gd name="T44" fmla="*/ 1858 w 4832"/>
              <a:gd name="T45" fmla="*/ 1697 h 2374"/>
              <a:gd name="T46" fmla="*/ 1242 w 4832"/>
              <a:gd name="T47" fmla="*/ 708 h 2374"/>
              <a:gd name="T48" fmla="*/ 1197 w 4832"/>
              <a:gd name="T49" fmla="*/ 354 h 2374"/>
              <a:gd name="T50" fmla="*/ 1678 w 4832"/>
              <a:gd name="T51" fmla="*/ 1473 h 2374"/>
              <a:gd name="T52" fmla="*/ 4069 w 4832"/>
              <a:gd name="T53" fmla="*/ 1312 h 2374"/>
              <a:gd name="T54" fmla="*/ 4372 w 4832"/>
              <a:gd name="T55" fmla="*/ 1753 h 2374"/>
              <a:gd name="T56" fmla="*/ 4278 w 4832"/>
              <a:gd name="T57" fmla="*/ 1604 h 2374"/>
              <a:gd name="T58" fmla="*/ 3915 w 4832"/>
              <a:gd name="T59" fmla="*/ 1902 h 2374"/>
              <a:gd name="T60" fmla="*/ 4355 w 4832"/>
              <a:gd name="T61" fmla="*/ 2105 h 2374"/>
              <a:gd name="T62" fmla="*/ 4769 w 4832"/>
              <a:gd name="T63" fmla="*/ 2066 h 2374"/>
              <a:gd name="T64" fmla="*/ 2422 w 4832"/>
              <a:gd name="T65" fmla="*/ 804 h 2374"/>
              <a:gd name="T66" fmla="*/ 4823 w 4832"/>
              <a:gd name="T67" fmla="*/ 362 h 2374"/>
              <a:gd name="T68" fmla="*/ 4216 w 4832"/>
              <a:gd name="T69" fmla="*/ 296 h 2374"/>
              <a:gd name="T70" fmla="*/ 3529 w 4832"/>
              <a:gd name="T71" fmla="*/ 259 h 2374"/>
              <a:gd name="T72" fmla="*/ 3291 w 4832"/>
              <a:gd name="T73" fmla="*/ 342 h 2374"/>
              <a:gd name="T74" fmla="*/ 2474 w 4832"/>
              <a:gd name="T75" fmla="*/ 531 h 2374"/>
              <a:gd name="T76" fmla="*/ 2305 w 4832"/>
              <a:gd name="T77" fmla="*/ 617 h 2374"/>
              <a:gd name="T78" fmla="*/ 2144 w 4832"/>
              <a:gd name="T79" fmla="*/ 1215 h 2374"/>
              <a:gd name="T80" fmla="*/ 2625 w 4832"/>
              <a:gd name="T81" fmla="*/ 2014 h 2374"/>
              <a:gd name="T82" fmla="*/ 2980 w 4832"/>
              <a:gd name="T83" fmla="*/ 1294 h 2374"/>
              <a:gd name="T84" fmla="*/ 3319 w 4832"/>
              <a:gd name="T85" fmla="*/ 1093 h 2374"/>
              <a:gd name="T86" fmla="*/ 3704 w 4832"/>
              <a:gd name="T87" fmla="*/ 1197 h 2374"/>
              <a:gd name="T88" fmla="*/ 3889 w 4832"/>
              <a:gd name="T89" fmla="*/ 1144 h 2374"/>
              <a:gd name="T90" fmla="*/ 4171 w 4832"/>
              <a:gd name="T91" fmla="*/ 771 h 2374"/>
              <a:gd name="T92" fmla="*/ 4460 w 4832"/>
              <a:gd name="T93" fmla="*/ 517 h 2374"/>
              <a:gd name="T94" fmla="*/ 2804 w 4832"/>
              <a:gd name="T95" fmla="*/ 472 h 2374"/>
              <a:gd name="T96" fmla="*/ 2604 w 4832"/>
              <a:gd name="T97" fmla="*/ 555 h 2374"/>
              <a:gd name="T98" fmla="*/ 2520 w 4832"/>
              <a:gd name="T99" fmla="*/ 531 h 2374"/>
              <a:gd name="T100" fmla="*/ 2577 w 4832"/>
              <a:gd name="T101" fmla="*/ 935 h 2374"/>
              <a:gd name="T102" fmla="*/ 2607 w 4832"/>
              <a:gd name="T103" fmla="*/ 851 h 2374"/>
              <a:gd name="T104" fmla="*/ 2929 w 4832"/>
              <a:gd name="T105" fmla="*/ 1150 h 2374"/>
              <a:gd name="T106" fmla="*/ 3433 w 4832"/>
              <a:gd name="T107" fmla="*/ 335 h 2374"/>
              <a:gd name="T108" fmla="*/ 2048 w 4832"/>
              <a:gd name="T109" fmla="*/ 113 h 2374"/>
              <a:gd name="T110" fmla="*/ 1424 w 4832"/>
              <a:gd name="T111" fmla="*/ 188 h 2374"/>
              <a:gd name="T112" fmla="*/ 1778 w 4832"/>
              <a:gd name="T113" fmla="*/ 447 h 2374"/>
              <a:gd name="T114" fmla="*/ 1978 w 4832"/>
              <a:gd name="T115" fmla="*/ 315 h 2374"/>
              <a:gd name="T116" fmla="*/ 3020 w 4832"/>
              <a:gd name="T117" fmla="*/ 1881 h 2374"/>
              <a:gd name="T118" fmla="*/ 1328 w 4832"/>
              <a:gd name="T119" fmla="*/ 1167 h 2374"/>
              <a:gd name="T120" fmla="*/ 3863 w 4832"/>
              <a:gd name="T121" fmla="*/ 1594 h 2374"/>
              <a:gd name="T122" fmla="*/ 4308 w 4832"/>
              <a:gd name="T123" fmla="*/ 812 h 2374"/>
              <a:gd name="T124" fmla="*/ 3980 w 4832"/>
              <a:gd name="T125" fmla="*/ 1353 h 2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32" h="2374">
                <a:moveTo>
                  <a:pt x="3080" y="309"/>
                </a:moveTo>
                <a:cubicBezTo>
                  <a:pt x="3080" y="309"/>
                  <a:pt x="3080" y="309"/>
                  <a:pt x="3080" y="309"/>
                </a:cubicBezTo>
                <a:cubicBezTo>
                  <a:pt x="3088" y="312"/>
                  <a:pt x="3102" y="313"/>
                  <a:pt x="3113" y="320"/>
                </a:cubicBezTo>
                <a:cubicBezTo>
                  <a:pt x="3121" y="325"/>
                  <a:pt x="3131" y="328"/>
                  <a:pt x="3140" y="328"/>
                </a:cubicBezTo>
                <a:cubicBezTo>
                  <a:pt x="3140" y="328"/>
                  <a:pt x="3140" y="328"/>
                  <a:pt x="3140" y="328"/>
                </a:cubicBezTo>
                <a:cubicBezTo>
                  <a:pt x="3148" y="328"/>
                  <a:pt x="3155" y="326"/>
                  <a:pt x="3160" y="320"/>
                </a:cubicBezTo>
                <a:cubicBezTo>
                  <a:pt x="3163" y="316"/>
                  <a:pt x="3165" y="312"/>
                  <a:pt x="3165" y="307"/>
                </a:cubicBezTo>
                <a:cubicBezTo>
                  <a:pt x="3165" y="303"/>
                  <a:pt x="3163" y="299"/>
                  <a:pt x="3161" y="295"/>
                </a:cubicBezTo>
                <a:cubicBezTo>
                  <a:pt x="3159" y="292"/>
                  <a:pt x="3156" y="289"/>
                  <a:pt x="3152" y="288"/>
                </a:cubicBezTo>
                <a:cubicBezTo>
                  <a:pt x="3152" y="288"/>
                  <a:pt x="3152" y="288"/>
                  <a:pt x="3152" y="288"/>
                </a:cubicBezTo>
                <a:cubicBezTo>
                  <a:pt x="3152" y="287"/>
                  <a:pt x="3152" y="287"/>
                  <a:pt x="3152" y="286"/>
                </a:cubicBezTo>
                <a:cubicBezTo>
                  <a:pt x="3152" y="285"/>
                  <a:pt x="3153" y="281"/>
                  <a:pt x="3160" y="277"/>
                </a:cubicBezTo>
                <a:cubicBezTo>
                  <a:pt x="3175" y="267"/>
                  <a:pt x="3191" y="255"/>
                  <a:pt x="3206" y="253"/>
                </a:cubicBezTo>
                <a:cubicBezTo>
                  <a:pt x="3215" y="251"/>
                  <a:pt x="3231" y="250"/>
                  <a:pt x="3245" y="250"/>
                </a:cubicBezTo>
                <a:cubicBezTo>
                  <a:pt x="3257" y="250"/>
                  <a:pt x="3269" y="251"/>
                  <a:pt x="3273" y="253"/>
                </a:cubicBezTo>
                <a:cubicBezTo>
                  <a:pt x="3275" y="253"/>
                  <a:pt x="3277" y="253"/>
                  <a:pt x="3279" y="253"/>
                </a:cubicBezTo>
                <a:cubicBezTo>
                  <a:pt x="3288" y="253"/>
                  <a:pt x="3297" y="247"/>
                  <a:pt x="3304" y="241"/>
                </a:cubicBezTo>
                <a:cubicBezTo>
                  <a:pt x="3312" y="235"/>
                  <a:pt x="3318" y="228"/>
                  <a:pt x="3321" y="222"/>
                </a:cubicBezTo>
                <a:cubicBezTo>
                  <a:pt x="3322" y="220"/>
                  <a:pt x="3322" y="218"/>
                  <a:pt x="3322" y="216"/>
                </a:cubicBezTo>
                <a:cubicBezTo>
                  <a:pt x="3322" y="211"/>
                  <a:pt x="3319" y="207"/>
                  <a:pt x="3315" y="205"/>
                </a:cubicBezTo>
                <a:cubicBezTo>
                  <a:pt x="3311" y="203"/>
                  <a:pt x="3307" y="202"/>
                  <a:pt x="3302" y="202"/>
                </a:cubicBezTo>
                <a:cubicBezTo>
                  <a:pt x="3296" y="202"/>
                  <a:pt x="3289" y="204"/>
                  <a:pt x="3285" y="210"/>
                </a:cubicBezTo>
                <a:cubicBezTo>
                  <a:pt x="3285" y="213"/>
                  <a:pt x="3274" y="216"/>
                  <a:pt x="3263" y="216"/>
                </a:cubicBezTo>
                <a:cubicBezTo>
                  <a:pt x="3255" y="216"/>
                  <a:pt x="3247" y="214"/>
                  <a:pt x="3245" y="214"/>
                </a:cubicBezTo>
                <a:cubicBezTo>
                  <a:pt x="3243" y="213"/>
                  <a:pt x="3242" y="213"/>
                  <a:pt x="3240" y="213"/>
                </a:cubicBezTo>
                <a:cubicBezTo>
                  <a:pt x="3232" y="213"/>
                  <a:pt x="3217" y="216"/>
                  <a:pt x="3202" y="218"/>
                </a:cubicBezTo>
                <a:cubicBezTo>
                  <a:pt x="3188" y="221"/>
                  <a:pt x="3173" y="224"/>
                  <a:pt x="3169" y="224"/>
                </a:cubicBezTo>
                <a:cubicBezTo>
                  <a:pt x="3160" y="224"/>
                  <a:pt x="3155" y="230"/>
                  <a:pt x="3151" y="235"/>
                </a:cubicBezTo>
                <a:cubicBezTo>
                  <a:pt x="3146" y="241"/>
                  <a:pt x="3141" y="246"/>
                  <a:pt x="3134" y="250"/>
                </a:cubicBezTo>
                <a:cubicBezTo>
                  <a:pt x="3118" y="258"/>
                  <a:pt x="3096" y="270"/>
                  <a:pt x="3088" y="274"/>
                </a:cubicBezTo>
                <a:cubicBezTo>
                  <a:pt x="3080" y="279"/>
                  <a:pt x="3074" y="289"/>
                  <a:pt x="3073" y="299"/>
                </a:cubicBezTo>
                <a:cubicBezTo>
                  <a:pt x="3073" y="302"/>
                  <a:pt x="3075" y="307"/>
                  <a:pt x="3080" y="309"/>
                </a:cubicBezTo>
                <a:close/>
                <a:moveTo>
                  <a:pt x="969" y="199"/>
                </a:moveTo>
                <a:cubicBezTo>
                  <a:pt x="977" y="199"/>
                  <a:pt x="989" y="196"/>
                  <a:pt x="995" y="196"/>
                </a:cubicBezTo>
                <a:cubicBezTo>
                  <a:pt x="995" y="196"/>
                  <a:pt x="995" y="196"/>
                  <a:pt x="995" y="196"/>
                </a:cubicBezTo>
                <a:cubicBezTo>
                  <a:pt x="995" y="200"/>
                  <a:pt x="995" y="199"/>
                  <a:pt x="996" y="201"/>
                </a:cubicBezTo>
                <a:cubicBezTo>
                  <a:pt x="999" y="206"/>
                  <a:pt x="1003" y="208"/>
                  <a:pt x="1009" y="209"/>
                </a:cubicBezTo>
                <a:cubicBezTo>
                  <a:pt x="1019" y="210"/>
                  <a:pt x="1024" y="213"/>
                  <a:pt x="1031" y="213"/>
                </a:cubicBezTo>
                <a:cubicBezTo>
                  <a:pt x="1031" y="213"/>
                  <a:pt x="1032" y="213"/>
                  <a:pt x="1032" y="213"/>
                </a:cubicBezTo>
                <a:cubicBezTo>
                  <a:pt x="1035" y="213"/>
                  <a:pt x="1038" y="211"/>
                  <a:pt x="1039" y="209"/>
                </a:cubicBezTo>
                <a:cubicBezTo>
                  <a:pt x="1041" y="206"/>
                  <a:pt x="1041" y="204"/>
                  <a:pt x="1041" y="202"/>
                </a:cubicBezTo>
                <a:cubicBezTo>
                  <a:pt x="1041" y="195"/>
                  <a:pt x="1039" y="189"/>
                  <a:pt x="1035" y="183"/>
                </a:cubicBezTo>
                <a:cubicBezTo>
                  <a:pt x="1032" y="179"/>
                  <a:pt x="1031" y="177"/>
                  <a:pt x="1028" y="174"/>
                </a:cubicBezTo>
                <a:cubicBezTo>
                  <a:pt x="1024" y="172"/>
                  <a:pt x="1021" y="171"/>
                  <a:pt x="1014" y="169"/>
                </a:cubicBezTo>
                <a:cubicBezTo>
                  <a:pt x="1004" y="165"/>
                  <a:pt x="994" y="164"/>
                  <a:pt x="985" y="164"/>
                </a:cubicBezTo>
                <a:cubicBezTo>
                  <a:pt x="981" y="164"/>
                  <a:pt x="978" y="165"/>
                  <a:pt x="975" y="165"/>
                </a:cubicBezTo>
                <a:cubicBezTo>
                  <a:pt x="971" y="165"/>
                  <a:pt x="966" y="165"/>
                  <a:pt x="960" y="166"/>
                </a:cubicBezTo>
                <a:cubicBezTo>
                  <a:pt x="955" y="167"/>
                  <a:pt x="949" y="173"/>
                  <a:pt x="948" y="181"/>
                </a:cubicBezTo>
                <a:cubicBezTo>
                  <a:pt x="948" y="182"/>
                  <a:pt x="948" y="182"/>
                  <a:pt x="948" y="183"/>
                </a:cubicBezTo>
                <a:cubicBezTo>
                  <a:pt x="948" y="194"/>
                  <a:pt x="959" y="199"/>
                  <a:pt x="969" y="199"/>
                </a:cubicBezTo>
                <a:close/>
                <a:moveTo>
                  <a:pt x="1296" y="449"/>
                </a:moveTo>
                <a:cubicBezTo>
                  <a:pt x="1294" y="449"/>
                  <a:pt x="1292" y="449"/>
                  <a:pt x="1290" y="450"/>
                </a:cubicBezTo>
                <a:cubicBezTo>
                  <a:pt x="1290" y="450"/>
                  <a:pt x="1290" y="450"/>
                  <a:pt x="1290" y="450"/>
                </a:cubicBezTo>
                <a:cubicBezTo>
                  <a:pt x="1285" y="452"/>
                  <a:pt x="1281" y="455"/>
                  <a:pt x="1281" y="461"/>
                </a:cubicBezTo>
                <a:cubicBezTo>
                  <a:pt x="1282" y="470"/>
                  <a:pt x="1289" y="473"/>
                  <a:pt x="1296" y="474"/>
                </a:cubicBezTo>
                <a:cubicBezTo>
                  <a:pt x="1298" y="474"/>
                  <a:pt x="1300" y="473"/>
                  <a:pt x="1302" y="472"/>
                </a:cubicBezTo>
                <a:cubicBezTo>
                  <a:pt x="1306" y="470"/>
                  <a:pt x="1309" y="466"/>
                  <a:pt x="1309" y="461"/>
                </a:cubicBezTo>
                <a:cubicBezTo>
                  <a:pt x="1309" y="458"/>
                  <a:pt x="1308" y="455"/>
                  <a:pt x="1305" y="452"/>
                </a:cubicBezTo>
                <a:cubicBezTo>
                  <a:pt x="1303" y="450"/>
                  <a:pt x="1300" y="449"/>
                  <a:pt x="1296" y="449"/>
                </a:cubicBezTo>
                <a:close/>
                <a:moveTo>
                  <a:pt x="1480" y="1152"/>
                </a:move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71" y="1152"/>
                  <a:pt x="1469" y="1162"/>
                  <a:pt x="1469" y="1169"/>
                </a:cubicBezTo>
                <a:cubicBezTo>
                  <a:pt x="1469" y="1173"/>
                  <a:pt x="1470" y="1177"/>
                  <a:pt x="1472" y="1181"/>
                </a:cubicBezTo>
                <a:cubicBezTo>
                  <a:pt x="1474" y="1184"/>
                  <a:pt x="1478" y="1188"/>
                  <a:pt x="1483" y="1188"/>
                </a:cubicBezTo>
                <a:cubicBezTo>
                  <a:pt x="1483" y="1188"/>
                  <a:pt x="1483" y="1188"/>
                  <a:pt x="1483" y="1188"/>
                </a:cubicBezTo>
                <a:cubicBezTo>
                  <a:pt x="1485" y="1188"/>
                  <a:pt x="1486" y="1187"/>
                  <a:pt x="1488" y="1186"/>
                </a:cubicBezTo>
                <a:cubicBezTo>
                  <a:pt x="1495" y="1184"/>
                  <a:pt x="1499" y="1176"/>
                  <a:pt x="1499" y="1170"/>
                </a:cubicBezTo>
                <a:cubicBezTo>
                  <a:pt x="1499" y="1162"/>
                  <a:pt x="1494" y="1152"/>
                  <a:pt x="1483" y="1152"/>
                </a:cubicBezTo>
                <a:cubicBezTo>
                  <a:pt x="1482" y="1152"/>
                  <a:pt x="1481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lose/>
                <a:moveTo>
                  <a:pt x="54" y="612"/>
                </a:moveTo>
                <a:cubicBezTo>
                  <a:pt x="51" y="611"/>
                  <a:pt x="38" y="605"/>
                  <a:pt x="38" y="605"/>
                </a:cubicBezTo>
                <a:cubicBezTo>
                  <a:pt x="37" y="605"/>
                  <a:pt x="37" y="605"/>
                  <a:pt x="37" y="605"/>
                </a:cubicBezTo>
                <a:cubicBezTo>
                  <a:pt x="33" y="604"/>
                  <a:pt x="30" y="604"/>
                  <a:pt x="26" y="604"/>
                </a:cubicBezTo>
                <a:cubicBezTo>
                  <a:pt x="21" y="604"/>
                  <a:pt x="16" y="605"/>
                  <a:pt x="12" y="606"/>
                </a:cubicBezTo>
                <a:cubicBezTo>
                  <a:pt x="7" y="607"/>
                  <a:pt x="3" y="609"/>
                  <a:pt x="0" y="614"/>
                </a:cubicBezTo>
                <a:cubicBezTo>
                  <a:pt x="0" y="615"/>
                  <a:pt x="0" y="616"/>
                  <a:pt x="0" y="617"/>
                </a:cubicBezTo>
                <a:cubicBezTo>
                  <a:pt x="0" y="622"/>
                  <a:pt x="2" y="624"/>
                  <a:pt x="4" y="626"/>
                </a:cubicBezTo>
                <a:cubicBezTo>
                  <a:pt x="11" y="630"/>
                  <a:pt x="20" y="632"/>
                  <a:pt x="28" y="632"/>
                </a:cubicBezTo>
                <a:cubicBezTo>
                  <a:pt x="33" y="632"/>
                  <a:pt x="40" y="630"/>
                  <a:pt x="45" y="628"/>
                </a:cubicBezTo>
                <a:cubicBezTo>
                  <a:pt x="48" y="627"/>
                  <a:pt x="50" y="627"/>
                  <a:pt x="53" y="626"/>
                </a:cubicBezTo>
                <a:cubicBezTo>
                  <a:pt x="54" y="625"/>
                  <a:pt x="54" y="624"/>
                  <a:pt x="55" y="624"/>
                </a:cubicBezTo>
                <a:cubicBezTo>
                  <a:pt x="56" y="623"/>
                  <a:pt x="58" y="622"/>
                  <a:pt x="59" y="618"/>
                </a:cubicBezTo>
                <a:cubicBezTo>
                  <a:pt x="59" y="614"/>
                  <a:pt x="55" y="612"/>
                  <a:pt x="54" y="612"/>
                </a:cubicBezTo>
                <a:close/>
                <a:moveTo>
                  <a:pt x="1421" y="1133"/>
                </a:moveTo>
                <a:cubicBezTo>
                  <a:pt x="1413" y="1133"/>
                  <a:pt x="1406" y="1135"/>
                  <a:pt x="1402" y="1135"/>
                </a:cubicBezTo>
                <a:cubicBezTo>
                  <a:pt x="1395" y="1137"/>
                  <a:pt x="1389" y="1143"/>
                  <a:pt x="1383" y="1148"/>
                </a:cubicBezTo>
                <a:cubicBezTo>
                  <a:pt x="1377" y="1154"/>
                  <a:pt x="1372" y="1159"/>
                  <a:pt x="1372" y="1159"/>
                </a:cubicBezTo>
                <a:cubicBezTo>
                  <a:pt x="1371" y="1161"/>
                  <a:pt x="1370" y="1163"/>
                  <a:pt x="1371" y="1165"/>
                </a:cubicBezTo>
                <a:cubicBezTo>
                  <a:pt x="1371" y="1167"/>
                  <a:pt x="1373" y="1169"/>
                  <a:pt x="1375" y="1169"/>
                </a:cubicBezTo>
                <a:cubicBezTo>
                  <a:pt x="1376" y="1169"/>
                  <a:pt x="1388" y="1172"/>
                  <a:pt x="1397" y="1172"/>
                </a:cubicBezTo>
                <a:cubicBezTo>
                  <a:pt x="1402" y="1172"/>
                  <a:pt x="1406" y="1176"/>
                  <a:pt x="1414" y="1181"/>
                </a:cubicBezTo>
                <a:cubicBezTo>
                  <a:pt x="1416" y="1182"/>
                  <a:pt x="1419" y="1183"/>
                  <a:pt x="1421" y="1183"/>
                </a:cubicBezTo>
                <a:cubicBezTo>
                  <a:pt x="1426" y="1183"/>
                  <a:pt x="1431" y="1181"/>
                  <a:pt x="1435" y="1179"/>
                </a:cubicBezTo>
                <a:cubicBezTo>
                  <a:pt x="1437" y="1178"/>
                  <a:pt x="1438" y="1178"/>
                  <a:pt x="1440" y="1177"/>
                </a:cubicBezTo>
                <a:cubicBezTo>
                  <a:pt x="1440" y="1177"/>
                  <a:pt x="1440" y="1177"/>
                  <a:pt x="1440" y="1177"/>
                </a:cubicBezTo>
                <a:cubicBezTo>
                  <a:pt x="1441" y="1177"/>
                  <a:pt x="1441" y="1178"/>
                  <a:pt x="1442" y="1179"/>
                </a:cubicBezTo>
                <a:cubicBezTo>
                  <a:pt x="1444" y="1180"/>
                  <a:pt x="1444" y="1183"/>
                  <a:pt x="1450" y="1183"/>
                </a:cubicBezTo>
                <a:cubicBezTo>
                  <a:pt x="1454" y="1183"/>
                  <a:pt x="1457" y="1179"/>
                  <a:pt x="1457" y="1178"/>
                </a:cubicBezTo>
                <a:cubicBezTo>
                  <a:pt x="1458" y="1175"/>
                  <a:pt x="1458" y="1173"/>
                  <a:pt x="1459" y="1169"/>
                </a:cubicBezTo>
                <a:cubicBezTo>
                  <a:pt x="1459" y="1169"/>
                  <a:pt x="1459" y="1168"/>
                  <a:pt x="1459" y="1167"/>
                </a:cubicBezTo>
                <a:cubicBezTo>
                  <a:pt x="1458" y="1146"/>
                  <a:pt x="1441" y="1137"/>
                  <a:pt x="1431" y="1134"/>
                </a:cubicBezTo>
                <a:cubicBezTo>
                  <a:pt x="1428" y="1133"/>
                  <a:pt x="1424" y="1133"/>
                  <a:pt x="1421" y="1133"/>
                </a:cubicBezTo>
                <a:close/>
                <a:moveTo>
                  <a:pt x="128" y="575"/>
                </a:moveTo>
                <a:cubicBezTo>
                  <a:pt x="128" y="575"/>
                  <a:pt x="128" y="575"/>
                  <a:pt x="128" y="575"/>
                </a:cubicBezTo>
                <a:cubicBezTo>
                  <a:pt x="124" y="574"/>
                  <a:pt x="124" y="574"/>
                  <a:pt x="122" y="574"/>
                </a:cubicBezTo>
                <a:cubicBezTo>
                  <a:pt x="118" y="573"/>
                  <a:pt x="114" y="577"/>
                  <a:pt x="113" y="580"/>
                </a:cubicBezTo>
                <a:cubicBezTo>
                  <a:pt x="111" y="584"/>
                  <a:pt x="110" y="588"/>
                  <a:pt x="109" y="591"/>
                </a:cubicBezTo>
                <a:cubicBezTo>
                  <a:pt x="108" y="594"/>
                  <a:pt x="107" y="595"/>
                  <a:pt x="106" y="595"/>
                </a:cubicBezTo>
                <a:cubicBezTo>
                  <a:pt x="101" y="596"/>
                  <a:pt x="96" y="598"/>
                  <a:pt x="92" y="600"/>
                </a:cubicBezTo>
                <a:cubicBezTo>
                  <a:pt x="90" y="601"/>
                  <a:pt x="88" y="602"/>
                  <a:pt x="86" y="604"/>
                </a:cubicBezTo>
                <a:cubicBezTo>
                  <a:pt x="85" y="605"/>
                  <a:pt x="82" y="607"/>
                  <a:pt x="82" y="611"/>
                </a:cubicBezTo>
                <a:cubicBezTo>
                  <a:pt x="82" y="613"/>
                  <a:pt x="84" y="616"/>
                  <a:pt x="85" y="617"/>
                </a:cubicBezTo>
                <a:cubicBezTo>
                  <a:pt x="87" y="618"/>
                  <a:pt x="88" y="619"/>
                  <a:pt x="89" y="619"/>
                </a:cubicBezTo>
                <a:cubicBezTo>
                  <a:pt x="92" y="620"/>
                  <a:pt x="96" y="620"/>
                  <a:pt x="99" y="620"/>
                </a:cubicBezTo>
                <a:cubicBezTo>
                  <a:pt x="104" y="620"/>
                  <a:pt x="110" y="620"/>
                  <a:pt x="116" y="618"/>
                </a:cubicBezTo>
                <a:cubicBezTo>
                  <a:pt x="121" y="616"/>
                  <a:pt x="125" y="616"/>
                  <a:pt x="129" y="611"/>
                </a:cubicBezTo>
                <a:cubicBezTo>
                  <a:pt x="130" y="608"/>
                  <a:pt x="131" y="605"/>
                  <a:pt x="131" y="601"/>
                </a:cubicBezTo>
                <a:cubicBezTo>
                  <a:pt x="132" y="597"/>
                  <a:pt x="132" y="592"/>
                  <a:pt x="132" y="588"/>
                </a:cubicBezTo>
                <a:cubicBezTo>
                  <a:pt x="132" y="586"/>
                  <a:pt x="133" y="584"/>
                  <a:pt x="132" y="582"/>
                </a:cubicBezTo>
                <a:cubicBezTo>
                  <a:pt x="132" y="580"/>
                  <a:pt x="132" y="577"/>
                  <a:pt x="128" y="575"/>
                </a:cubicBezTo>
                <a:close/>
                <a:moveTo>
                  <a:pt x="1894" y="1537"/>
                </a:moveTo>
                <a:cubicBezTo>
                  <a:pt x="1894" y="1537"/>
                  <a:pt x="1894" y="1537"/>
                  <a:pt x="1894" y="1537"/>
                </a:cubicBezTo>
                <a:cubicBezTo>
                  <a:pt x="1884" y="1532"/>
                  <a:pt x="1868" y="1530"/>
                  <a:pt x="1864" y="1523"/>
                </a:cubicBezTo>
                <a:cubicBezTo>
                  <a:pt x="1860" y="1517"/>
                  <a:pt x="1854" y="1511"/>
                  <a:pt x="1847" y="1507"/>
                </a:cubicBezTo>
                <a:cubicBezTo>
                  <a:pt x="1841" y="1503"/>
                  <a:pt x="1834" y="1500"/>
                  <a:pt x="1828" y="1500"/>
                </a:cubicBezTo>
                <a:cubicBezTo>
                  <a:pt x="1826" y="1500"/>
                  <a:pt x="1825" y="1500"/>
                  <a:pt x="1823" y="1501"/>
                </a:cubicBezTo>
                <a:cubicBezTo>
                  <a:pt x="1820" y="1502"/>
                  <a:pt x="1816" y="1504"/>
                  <a:pt x="1811" y="1504"/>
                </a:cubicBezTo>
                <a:cubicBezTo>
                  <a:pt x="1808" y="1504"/>
                  <a:pt x="1804" y="1503"/>
                  <a:pt x="1801" y="1500"/>
                </a:cubicBezTo>
                <a:cubicBezTo>
                  <a:pt x="1792" y="1493"/>
                  <a:pt x="1777" y="1485"/>
                  <a:pt x="1772" y="1480"/>
                </a:cubicBezTo>
                <a:cubicBezTo>
                  <a:pt x="1764" y="1473"/>
                  <a:pt x="1749" y="1469"/>
                  <a:pt x="1740" y="1469"/>
                </a:cubicBezTo>
                <a:cubicBezTo>
                  <a:pt x="1739" y="1469"/>
                  <a:pt x="1739" y="1468"/>
                  <a:pt x="1734" y="1468"/>
                </a:cubicBezTo>
                <a:cubicBezTo>
                  <a:pt x="1732" y="1468"/>
                  <a:pt x="1730" y="1469"/>
                  <a:pt x="1728" y="1470"/>
                </a:cubicBezTo>
                <a:cubicBezTo>
                  <a:pt x="1728" y="1466"/>
                  <a:pt x="1726" y="1463"/>
                  <a:pt x="1723" y="1460"/>
                </a:cubicBezTo>
                <a:cubicBezTo>
                  <a:pt x="1720" y="1457"/>
                  <a:pt x="1715" y="1456"/>
                  <a:pt x="1711" y="1456"/>
                </a:cubicBezTo>
                <a:cubicBezTo>
                  <a:pt x="1711" y="1456"/>
                  <a:pt x="1710" y="1456"/>
                  <a:pt x="1710" y="1456"/>
                </a:cubicBezTo>
                <a:cubicBezTo>
                  <a:pt x="1712" y="1453"/>
                  <a:pt x="1715" y="1451"/>
                  <a:pt x="1715" y="1446"/>
                </a:cubicBezTo>
                <a:cubicBezTo>
                  <a:pt x="1715" y="1442"/>
                  <a:pt x="1715" y="1437"/>
                  <a:pt x="1712" y="1431"/>
                </a:cubicBezTo>
                <a:cubicBezTo>
                  <a:pt x="1711" y="1426"/>
                  <a:pt x="1706" y="1419"/>
                  <a:pt x="1698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5" y="1417"/>
                  <a:pt x="1693" y="1404"/>
                  <a:pt x="1682" y="1390"/>
                </a:cubicBezTo>
                <a:cubicBezTo>
                  <a:pt x="1669" y="1373"/>
                  <a:pt x="1653" y="1361"/>
                  <a:pt x="1636" y="1361"/>
                </a:cubicBezTo>
                <a:cubicBezTo>
                  <a:pt x="1635" y="1361"/>
                  <a:pt x="1633" y="1361"/>
                  <a:pt x="1631" y="1362"/>
                </a:cubicBezTo>
                <a:cubicBezTo>
                  <a:pt x="1625" y="1363"/>
                  <a:pt x="1619" y="1364"/>
                  <a:pt x="1616" y="1364"/>
                </a:cubicBezTo>
                <a:cubicBezTo>
                  <a:pt x="1612" y="1364"/>
                  <a:pt x="1610" y="1364"/>
                  <a:pt x="1606" y="1357"/>
                </a:cubicBezTo>
                <a:cubicBezTo>
                  <a:pt x="1599" y="1340"/>
                  <a:pt x="1590" y="1336"/>
                  <a:pt x="1587" y="1330"/>
                </a:cubicBezTo>
                <a:cubicBezTo>
                  <a:pt x="1584" y="1325"/>
                  <a:pt x="1578" y="1323"/>
                  <a:pt x="1574" y="1323"/>
                </a:cubicBezTo>
                <a:cubicBezTo>
                  <a:pt x="1570" y="1323"/>
                  <a:pt x="1567" y="1324"/>
                  <a:pt x="1566" y="1324"/>
                </a:cubicBezTo>
                <a:cubicBezTo>
                  <a:pt x="1563" y="1321"/>
                  <a:pt x="1563" y="1321"/>
                  <a:pt x="1563" y="1321"/>
                </a:cubicBezTo>
                <a:cubicBezTo>
                  <a:pt x="1562" y="1319"/>
                  <a:pt x="1559" y="1318"/>
                  <a:pt x="1557" y="1319"/>
                </a:cubicBezTo>
                <a:cubicBezTo>
                  <a:pt x="1564" y="1308"/>
                  <a:pt x="1567" y="1294"/>
                  <a:pt x="1567" y="1285"/>
                </a:cubicBezTo>
                <a:cubicBezTo>
                  <a:pt x="1567" y="1284"/>
                  <a:pt x="1567" y="1283"/>
                  <a:pt x="1566" y="1281"/>
                </a:cubicBezTo>
                <a:cubicBezTo>
                  <a:pt x="1566" y="1280"/>
                  <a:pt x="1566" y="1279"/>
                  <a:pt x="1565" y="1278"/>
                </a:cubicBezTo>
                <a:cubicBezTo>
                  <a:pt x="1564" y="1277"/>
                  <a:pt x="1562" y="1276"/>
                  <a:pt x="1560" y="1276"/>
                </a:cubicBezTo>
                <a:cubicBezTo>
                  <a:pt x="1559" y="1276"/>
                  <a:pt x="1558" y="1276"/>
                  <a:pt x="1557" y="1277"/>
                </a:cubicBezTo>
                <a:cubicBezTo>
                  <a:pt x="1557" y="1277"/>
                  <a:pt x="1557" y="1277"/>
                  <a:pt x="1557" y="1277"/>
                </a:cubicBezTo>
                <a:cubicBezTo>
                  <a:pt x="1553" y="1279"/>
                  <a:pt x="1553" y="1281"/>
                  <a:pt x="1551" y="1283"/>
                </a:cubicBezTo>
                <a:cubicBezTo>
                  <a:pt x="1550" y="1286"/>
                  <a:pt x="1548" y="1290"/>
                  <a:pt x="1546" y="1292"/>
                </a:cubicBezTo>
                <a:cubicBezTo>
                  <a:pt x="1546" y="1293"/>
                  <a:pt x="1545" y="1293"/>
                  <a:pt x="1545" y="1294"/>
                </a:cubicBezTo>
                <a:cubicBezTo>
                  <a:pt x="1544" y="1291"/>
                  <a:pt x="1541" y="1288"/>
                  <a:pt x="1535" y="1284"/>
                </a:cubicBezTo>
                <a:cubicBezTo>
                  <a:pt x="1530" y="1280"/>
                  <a:pt x="1525" y="1279"/>
                  <a:pt x="1519" y="1279"/>
                </a:cubicBezTo>
                <a:cubicBezTo>
                  <a:pt x="1514" y="1279"/>
                  <a:pt x="1509" y="1280"/>
                  <a:pt x="1504" y="1283"/>
                </a:cubicBezTo>
                <a:cubicBezTo>
                  <a:pt x="1500" y="1285"/>
                  <a:pt x="1496" y="1288"/>
                  <a:pt x="1496" y="1294"/>
                </a:cubicBezTo>
                <a:cubicBezTo>
                  <a:pt x="1496" y="1294"/>
                  <a:pt x="1496" y="1294"/>
                  <a:pt x="1496" y="1294"/>
                </a:cubicBezTo>
                <a:cubicBezTo>
                  <a:pt x="1496" y="1294"/>
                  <a:pt x="1495" y="1293"/>
                  <a:pt x="1495" y="1292"/>
                </a:cubicBezTo>
                <a:cubicBezTo>
                  <a:pt x="1491" y="1284"/>
                  <a:pt x="1483" y="1281"/>
                  <a:pt x="1476" y="1281"/>
                </a:cubicBezTo>
                <a:cubicBezTo>
                  <a:pt x="1470" y="1281"/>
                  <a:pt x="1464" y="1283"/>
                  <a:pt x="1459" y="1287"/>
                </a:cubicBezTo>
                <a:cubicBezTo>
                  <a:pt x="1458" y="1285"/>
                  <a:pt x="1456" y="1282"/>
                  <a:pt x="1455" y="1279"/>
                </a:cubicBezTo>
                <a:cubicBezTo>
                  <a:pt x="1454" y="1276"/>
                  <a:pt x="1453" y="1274"/>
                  <a:pt x="1452" y="1272"/>
                </a:cubicBezTo>
                <a:cubicBezTo>
                  <a:pt x="1450" y="1270"/>
                  <a:pt x="1449" y="1267"/>
                  <a:pt x="1443" y="1266"/>
                </a:cubicBezTo>
                <a:cubicBezTo>
                  <a:pt x="1434" y="1267"/>
                  <a:pt x="1422" y="1275"/>
                  <a:pt x="1415" y="1289"/>
                </a:cubicBezTo>
                <a:cubicBezTo>
                  <a:pt x="1414" y="1290"/>
                  <a:pt x="1414" y="1292"/>
                  <a:pt x="1413" y="1293"/>
                </a:cubicBezTo>
                <a:cubicBezTo>
                  <a:pt x="1413" y="1291"/>
                  <a:pt x="1413" y="1289"/>
                  <a:pt x="1414" y="1288"/>
                </a:cubicBezTo>
                <a:cubicBezTo>
                  <a:pt x="1414" y="1287"/>
                  <a:pt x="1415" y="1283"/>
                  <a:pt x="1417" y="1280"/>
                </a:cubicBezTo>
                <a:cubicBezTo>
                  <a:pt x="1419" y="1276"/>
                  <a:pt x="1421" y="1272"/>
                  <a:pt x="1422" y="1267"/>
                </a:cubicBezTo>
                <a:cubicBezTo>
                  <a:pt x="1422" y="1263"/>
                  <a:pt x="1418" y="1258"/>
                  <a:pt x="1414" y="1257"/>
                </a:cubicBezTo>
                <a:cubicBezTo>
                  <a:pt x="1413" y="1257"/>
                  <a:pt x="1411" y="1256"/>
                  <a:pt x="1410" y="1256"/>
                </a:cubicBezTo>
                <a:cubicBezTo>
                  <a:pt x="1402" y="1257"/>
                  <a:pt x="1397" y="1261"/>
                  <a:pt x="1392" y="1265"/>
                </a:cubicBezTo>
                <a:cubicBezTo>
                  <a:pt x="1389" y="1267"/>
                  <a:pt x="1387" y="1269"/>
                  <a:pt x="1385" y="1270"/>
                </a:cubicBezTo>
                <a:cubicBezTo>
                  <a:pt x="1384" y="1271"/>
                  <a:pt x="1383" y="1271"/>
                  <a:pt x="1383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73" y="1275"/>
                  <a:pt x="1362" y="1284"/>
                  <a:pt x="1354" y="1297"/>
                </a:cubicBezTo>
                <a:cubicBezTo>
                  <a:pt x="1347" y="1308"/>
                  <a:pt x="1344" y="1314"/>
                  <a:pt x="1339" y="1317"/>
                </a:cubicBezTo>
                <a:cubicBezTo>
                  <a:pt x="1338" y="1317"/>
                  <a:pt x="1336" y="1318"/>
                  <a:pt x="1335" y="1318"/>
                </a:cubicBezTo>
                <a:cubicBezTo>
                  <a:pt x="1334" y="1318"/>
                  <a:pt x="1332" y="1318"/>
                  <a:pt x="1332" y="1317"/>
                </a:cubicBezTo>
                <a:cubicBezTo>
                  <a:pt x="1332" y="1317"/>
                  <a:pt x="1332" y="1317"/>
                  <a:pt x="1332" y="1317"/>
                </a:cubicBezTo>
                <a:cubicBezTo>
                  <a:pt x="1332" y="1313"/>
                  <a:pt x="1330" y="1311"/>
                  <a:pt x="1329" y="1309"/>
                </a:cubicBezTo>
                <a:cubicBezTo>
                  <a:pt x="1323" y="1303"/>
                  <a:pt x="1315" y="1297"/>
                  <a:pt x="1306" y="1297"/>
                </a:cubicBezTo>
                <a:cubicBezTo>
                  <a:pt x="1304" y="1297"/>
                  <a:pt x="1301" y="1298"/>
                  <a:pt x="1299" y="1301"/>
                </a:cubicBezTo>
                <a:cubicBezTo>
                  <a:pt x="1298" y="1303"/>
                  <a:pt x="1288" y="1308"/>
                  <a:pt x="1277" y="1314"/>
                </a:cubicBezTo>
                <a:cubicBezTo>
                  <a:pt x="1276" y="1314"/>
                  <a:pt x="1275" y="1315"/>
                  <a:pt x="1275" y="1315"/>
                </a:cubicBezTo>
                <a:cubicBezTo>
                  <a:pt x="1271" y="1315"/>
                  <a:pt x="1265" y="1308"/>
                  <a:pt x="1264" y="1304"/>
                </a:cubicBezTo>
                <a:cubicBezTo>
                  <a:pt x="1260" y="1296"/>
                  <a:pt x="1257" y="1299"/>
                  <a:pt x="1256" y="1282"/>
                </a:cubicBezTo>
                <a:cubicBezTo>
                  <a:pt x="1256" y="1279"/>
                  <a:pt x="1256" y="1277"/>
                  <a:pt x="1256" y="1275"/>
                </a:cubicBezTo>
                <a:cubicBezTo>
                  <a:pt x="1256" y="1260"/>
                  <a:pt x="1259" y="1244"/>
                  <a:pt x="1261" y="1236"/>
                </a:cubicBezTo>
                <a:cubicBezTo>
                  <a:pt x="1262" y="1234"/>
                  <a:pt x="1262" y="1232"/>
                  <a:pt x="1262" y="1231"/>
                </a:cubicBezTo>
                <a:cubicBezTo>
                  <a:pt x="1262" y="1223"/>
                  <a:pt x="1257" y="1215"/>
                  <a:pt x="1251" y="1208"/>
                </a:cubicBezTo>
                <a:cubicBezTo>
                  <a:pt x="1245" y="1202"/>
                  <a:pt x="1239" y="1196"/>
                  <a:pt x="1231" y="1196"/>
                </a:cubicBezTo>
                <a:cubicBezTo>
                  <a:pt x="1231" y="1196"/>
                  <a:pt x="1230" y="1196"/>
                  <a:pt x="1229" y="1196"/>
                </a:cubicBezTo>
                <a:cubicBezTo>
                  <a:pt x="1224" y="1197"/>
                  <a:pt x="1220" y="1200"/>
                  <a:pt x="1216" y="1202"/>
                </a:cubicBezTo>
                <a:cubicBezTo>
                  <a:pt x="1212" y="1205"/>
                  <a:pt x="1209" y="1206"/>
                  <a:pt x="1208" y="1206"/>
                </a:cubicBezTo>
                <a:cubicBezTo>
                  <a:pt x="1208" y="1206"/>
                  <a:pt x="1207" y="1206"/>
                  <a:pt x="1207" y="1206"/>
                </a:cubicBezTo>
                <a:cubicBezTo>
                  <a:pt x="1204" y="1205"/>
                  <a:pt x="1205" y="1205"/>
                  <a:pt x="1202" y="1204"/>
                </a:cubicBezTo>
                <a:cubicBezTo>
                  <a:pt x="1200" y="1203"/>
                  <a:pt x="1197" y="1202"/>
                  <a:pt x="1192" y="1202"/>
                </a:cubicBezTo>
                <a:cubicBezTo>
                  <a:pt x="1193" y="1199"/>
                  <a:pt x="1194" y="1197"/>
                  <a:pt x="1195" y="1194"/>
                </a:cubicBezTo>
                <a:cubicBezTo>
                  <a:pt x="1195" y="1191"/>
                  <a:pt x="1196" y="1188"/>
                  <a:pt x="1196" y="1186"/>
                </a:cubicBezTo>
                <a:cubicBezTo>
                  <a:pt x="1196" y="1181"/>
                  <a:pt x="1195" y="1177"/>
                  <a:pt x="1195" y="1173"/>
                </a:cubicBezTo>
                <a:cubicBezTo>
                  <a:pt x="1195" y="1166"/>
                  <a:pt x="1196" y="1161"/>
                  <a:pt x="1201" y="1157"/>
                </a:cubicBezTo>
                <a:cubicBezTo>
                  <a:pt x="1209" y="1150"/>
                  <a:pt x="1211" y="1141"/>
                  <a:pt x="1211" y="1132"/>
                </a:cubicBezTo>
                <a:cubicBezTo>
                  <a:pt x="1211" y="1127"/>
                  <a:pt x="1210" y="1122"/>
                  <a:pt x="1208" y="1117"/>
                </a:cubicBezTo>
                <a:cubicBezTo>
                  <a:pt x="1206" y="1113"/>
                  <a:pt x="1204" y="1109"/>
                  <a:pt x="1198" y="1108"/>
                </a:cubicBezTo>
                <a:cubicBezTo>
                  <a:pt x="1197" y="1108"/>
                  <a:pt x="1195" y="1108"/>
                  <a:pt x="1194" y="1108"/>
                </a:cubicBezTo>
                <a:cubicBezTo>
                  <a:pt x="1185" y="1108"/>
                  <a:pt x="1175" y="1111"/>
                  <a:pt x="1167" y="1111"/>
                </a:cubicBezTo>
                <a:cubicBezTo>
                  <a:pt x="1166" y="1111"/>
                  <a:pt x="1165" y="1111"/>
                  <a:pt x="1164" y="1111"/>
                </a:cubicBezTo>
                <a:cubicBezTo>
                  <a:pt x="1164" y="1110"/>
                  <a:pt x="1163" y="1110"/>
                  <a:pt x="1162" y="1110"/>
                </a:cubicBezTo>
                <a:cubicBezTo>
                  <a:pt x="1150" y="1111"/>
                  <a:pt x="1142" y="1121"/>
                  <a:pt x="1142" y="1133"/>
                </a:cubicBezTo>
                <a:cubicBezTo>
                  <a:pt x="1142" y="1135"/>
                  <a:pt x="1142" y="1138"/>
                  <a:pt x="1143" y="1140"/>
                </a:cubicBezTo>
                <a:cubicBezTo>
                  <a:pt x="1143" y="1142"/>
                  <a:pt x="1143" y="1143"/>
                  <a:pt x="1143" y="1144"/>
                </a:cubicBezTo>
                <a:cubicBezTo>
                  <a:pt x="1143" y="1147"/>
                  <a:pt x="1142" y="1149"/>
                  <a:pt x="1141" y="1151"/>
                </a:cubicBezTo>
                <a:cubicBezTo>
                  <a:pt x="1141" y="1151"/>
                  <a:pt x="1141" y="1151"/>
                  <a:pt x="1140" y="1152"/>
                </a:cubicBezTo>
                <a:cubicBezTo>
                  <a:pt x="1139" y="1150"/>
                  <a:pt x="1136" y="1148"/>
                  <a:pt x="1131" y="1148"/>
                </a:cubicBezTo>
                <a:cubicBezTo>
                  <a:pt x="1126" y="1148"/>
                  <a:pt x="1121" y="1151"/>
                  <a:pt x="1115" y="1156"/>
                </a:cubicBezTo>
                <a:cubicBezTo>
                  <a:pt x="1110" y="1160"/>
                  <a:pt x="1108" y="1161"/>
                  <a:pt x="1106" y="1161"/>
                </a:cubicBezTo>
                <a:cubicBezTo>
                  <a:pt x="1105" y="1161"/>
                  <a:pt x="1101" y="1159"/>
                  <a:pt x="1093" y="1151"/>
                </a:cubicBezTo>
                <a:cubicBezTo>
                  <a:pt x="1080" y="1138"/>
                  <a:pt x="1068" y="1127"/>
                  <a:pt x="1066" y="1110"/>
                </a:cubicBezTo>
                <a:cubicBezTo>
                  <a:pt x="1065" y="1101"/>
                  <a:pt x="1064" y="1091"/>
                  <a:pt x="1064" y="1083"/>
                </a:cubicBezTo>
                <a:cubicBezTo>
                  <a:pt x="1064" y="1075"/>
                  <a:pt x="1065" y="1068"/>
                  <a:pt x="1067" y="1064"/>
                </a:cubicBezTo>
                <a:cubicBezTo>
                  <a:pt x="1069" y="1058"/>
                  <a:pt x="1071" y="1051"/>
                  <a:pt x="1071" y="1044"/>
                </a:cubicBezTo>
                <a:cubicBezTo>
                  <a:pt x="1071" y="1040"/>
                  <a:pt x="1070" y="1036"/>
                  <a:pt x="1069" y="1032"/>
                </a:cubicBezTo>
                <a:cubicBezTo>
                  <a:pt x="1068" y="1029"/>
                  <a:pt x="1067" y="1027"/>
                  <a:pt x="1064" y="1025"/>
                </a:cubicBezTo>
                <a:cubicBezTo>
                  <a:pt x="1064" y="1025"/>
                  <a:pt x="1064" y="1024"/>
                  <a:pt x="1064" y="1024"/>
                </a:cubicBezTo>
                <a:cubicBezTo>
                  <a:pt x="1067" y="1021"/>
                  <a:pt x="1074" y="1016"/>
                  <a:pt x="1077" y="1015"/>
                </a:cubicBezTo>
                <a:cubicBezTo>
                  <a:pt x="1088" y="1010"/>
                  <a:pt x="1099" y="999"/>
                  <a:pt x="1104" y="991"/>
                </a:cubicBezTo>
                <a:cubicBezTo>
                  <a:pt x="1104" y="991"/>
                  <a:pt x="1108" y="990"/>
                  <a:pt x="1113" y="990"/>
                </a:cubicBezTo>
                <a:cubicBezTo>
                  <a:pt x="1116" y="990"/>
                  <a:pt x="1120" y="990"/>
                  <a:pt x="1125" y="990"/>
                </a:cubicBezTo>
                <a:cubicBezTo>
                  <a:pt x="1138" y="991"/>
                  <a:pt x="1136" y="990"/>
                  <a:pt x="1149" y="998"/>
                </a:cubicBezTo>
                <a:cubicBezTo>
                  <a:pt x="1153" y="1000"/>
                  <a:pt x="1156" y="1001"/>
                  <a:pt x="1160" y="1001"/>
                </a:cubicBezTo>
                <a:cubicBezTo>
                  <a:pt x="1166" y="1001"/>
                  <a:pt x="1170" y="997"/>
                  <a:pt x="1171" y="993"/>
                </a:cubicBezTo>
                <a:cubicBezTo>
                  <a:pt x="1173" y="990"/>
                  <a:pt x="1173" y="987"/>
                  <a:pt x="1173" y="984"/>
                </a:cubicBezTo>
                <a:cubicBezTo>
                  <a:pt x="1173" y="984"/>
                  <a:pt x="1174" y="979"/>
                  <a:pt x="1183" y="979"/>
                </a:cubicBezTo>
                <a:cubicBezTo>
                  <a:pt x="1183" y="979"/>
                  <a:pt x="1184" y="979"/>
                  <a:pt x="1185" y="979"/>
                </a:cubicBezTo>
                <a:cubicBezTo>
                  <a:pt x="1186" y="979"/>
                  <a:pt x="1188" y="979"/>
                  <a:pt x="1189" y="979"/>
                </a:cubicBezTo>
                <a:cubicBezTo>
                  <a:pt x="1200" y="979"/>
                  <a:pt x="1212" y="976"/>
                  <a:pt x="1217" y="977"/>
                </a:cubicBezTo>
                <a:cubicBezTo>
                  <a:pt x="1218" y="977"/>
                  <a:pt x="1218" y="977"/>
                  <a:pt x="1218" y="977"/>
                </a:cubicBezTo>
                <a:cubicBezTo>
                  <a:pt x="1219" y="978"/>
                  <a:pt x="1221" y="982"/>
                  <a:pt x="1223" y="985"/>
                </a:cubicBezTo>
                <a:cubicBezTo>
                  <a:pt x="1226" y="988"/>
                  <a:pt x="1229" y="993"/>
                  <a:pt x="1237" y="994"/>
                </a:cubicBezTo>
                <a:cubicBezTo>
                  <a:pt x="1239" y="994"/>
                  <a:pt x="1242" y="993"/>
                  <a:pt x="1243" y="992"/>
                </a:cubicBezTo>
                <a:cubicBezTo>
                  <a:pt x="1244" y="991"/>
                  <a:pt x="1245" y="991"/>
                  <a:pt x="1245" y="990"/>
                </a:cubicBezTo>
                <a:cubicBezTo>
                  <a:pt x="1246" y="998"/>
                  <a:pt x="1248" y="1009"/>
                  <a:pt x="1252" y="1018"/>
                </a:cubicBezTo>
                <a:cubicBezTo>
                  <a:pt x="1255" y="1027"/>
                  <a:pt x="1259" y="1036"/>
                  <a:pt x="1267" y="1040"/>
                </a:cubicBezTo>
                <a:cubicBezTo>
                  <a:pt x="1269" y="1040"/>
                  <a:pt x="1270" y="1042"/>
                  <a:pt x="1271" y="1047"/>
                </a:cubicBezTo>
                <a:cubicBezTo>
                  <a:pt x="1272" y="1050"/>
                  <a:pt x="1272" y="1053"/>
                  <a:pt x="1274" y="1056"/>
                </a:cubicBezTo>
                <a:cubicBezTo>
                  <a:pt x="1276" y="1059"/>
                  <a:pt x="1279" y="1062"/>
                  <a:pt x="1284" y="1062"/>
                </a:cubicBezTo>
                <a:cubicBezTo>
                  <a:pt x="1284" y="1062"/>
                  <a:pt x="1285" y="1062"/>
                  <a:pt x="1285" y="1062"/>
                </a:cubicBezTo>
                <a:cubicBezTo>
                  <a:pt x="1289" y="1062"/>
                  <a:pt x="1293" y="1060"/>
                  <a:pt x="1295" y="1057"/>
                </a:cubicBezTo>
                <a:cubicBezTo>
                  <a:pt x="1301" y="1050"/>
                  <a:pt x="1303" y="1038"/>
                  <a:pt x="1303" y="1029"/>
                </a:cubicBezTo>
                <a:cubicBezTo>
                  <a:pt x="1303" y="1025"/>
                  <a:pt x="1303" y="1021"/>
                  <a:pt x="1302" y="1018"/>
                </a:cubicBezTo>
                <a:cubicBezTo>
                  <a:pt x="1300" y="1014"/>
                  <a:pt x="1298" y="1004"/>
                  <a:pt x="1295" y="994"/>
                </a:cubicBezTo>
                <a:cubicBezTo>
                  <a:pt x="1292" y="985"/>
                  <a:pt x="1289" y="976"/>
                  <a:pt x="1285" y="971"/>
                </a:cubicBezTo>
                <a:cubicBezTo>
                  <a:pt x="1283" y="969"/>
                  <a:pt x="1282" y="966"/>
                  <a:pt x="1282" y="962"/>
                </a:cubicBezTo>
                <a:cubicBezTo>
                  <a:pt x="1282" y="956"/>
                  <a:pt x="1284" y="951"/>
                  <a:pt x="1288" y="950"/>
                </a:cubicBezTo>
                <a:cubicBezTo>
                  <a:pt x="1296" y="946"/>
                  <a:pt x="1305" y="938"/>
                  <a:pt x="1315" y="929"/>
                </a:cubicBezTo>
                <a:cubicBezTo>
                  <a:pt x="1324" y="920"/>
                  <a:pt x="1333" y="911"/>
                  <a:pt x="1337" y="907"/>
                </a:cubicBezTo>
                <a:cubicBezTo>
                  <a:pt x="1340" y="905"/>
                  <a:pt x="1345" y="901"/>
                  <a:pt x="1351" y="898"/>
                </a:cubicBezTo>
                <a:cubicBezTo>
                  <a:pt x="1356" y="894"/>
                  <a:pt x="1363" y="890"/>
                  <a:pt x="1363" y="881"/>
                </a:cubicBezTo>
                <a:cubicBezTo>
                  <a:pt x="1363" y="878"/>
                  <a:pt x="1362" y="876"/>
                  <a:pt x="1361" y="873"/>
                </a:cubicBezTo>
                <a:cubicBezTo>
                  <a:pt x="1356" y="865"/>
                  <a:pt x="1354" y="860"/>
                  <a:pt x="1353" y="855"/>
                </a:cubicBezTo>
                <a:cubicBezTo>
                  <a:pt x="1355" y="857"/>
                  <a:pt x="1357" y="858"/>
                  <a:pt x="1359" y="858"/>
                </a:cubicBezTo>
                <a:cubicBezTo>
                  <a:pt x="1365" y="857"/>
                  <a:pt x="1368" y="854"/>
                  <a:pt x="1371" y="851"/>
                </a:cubicBezTo>
                <a:cubicBezTo>
                  <a:pt x="1375" y="847"/>
                  <a:pt x="1377" y="843"/>
                  <a:pt x="1377" y="838"/>
                </a:cubicBezTo>
                <a:cubicBezTo>
                  <a:pt x="1377" y="836"/>
                  <a:pt x="1377" y="834"/>
                  <a:pt x="1376" y="833"/>
                </a:cubicBezTo>
                <a:cubicBezTo>
                  <a:pt x="1375" y="831"/>
                  <a:pt x="1375" y="829"/>
                  <a:pt x="1375" y="828"/>
                </a:cubicBezTo>
                <a:cubicBezTo>
                  <a:pt x="1375" y="827"/>
                  <a:pt x="1375" y="826"/>
                  <a:pt x="1375" y="826"/>
                </a:cubicBezTo>
                <a:cubicBezTo>
                  <a:pt x="1375" y="826"/>
                  <a:pt x="1375" y="826"/>
                  <a:pt x="1376" y="826"/>
                </a:cubicBezTo>
                <a:cubicBezTo>
                  <a:pt x="1376" y="826"/>
                  <a:pt x="1377" y="826"/>
                  <a:pt x="1378" y="826"/>
                </a:cubicBezTo>
                <a:cubicBezTo>
                  <a:pt x="1382" y="826"/>
                  <a:pt x="1386" y="825"/>
                  <a:pt x="1388" y="822"/>
                </a:cubicBezTo>
                <a:cubicBezTo>
                  <a:pt x="1390" y="819"/>
                  <a:pt x="1391" y="816"/>
                  <a:pt x="1391" y="813"/>
                </a:cubicBezTo>
                <a:cubicBezTo>
                  <a:pt x="1391" y="811"/>
                  <a:pt x="1390" y="808"/>
                  <a:pt x="1389" y="806"/>
                </a:cubicBezTo>
                <a:cubicBezTo>
                  <a:pt x="1390" y="805"/>
                  <a:pt x="1393" y="803"/>
                  <a:pt x="1396" y="804"/>
                </a:cubicBezTo>
                <a:cubicBezTo>
                  <a:pt x="1396" y="804"/>
                  <a:pt x="1397" y="804"/>
                  <a:pt x="1398" y="804"/>
                </a:cubicBezTo>
                <a:cubicBezTo>
                  <a:pt x="1400" y="805"/>
                  <a:pt x="1403" y="805"/>
                  <a:pt x="1406" y="805"/>
                </a:cubicBezTo>
                <a:cubicBezTo>
                  <a:pt x="1412" y="805"/>
                  <a:pt x="1418" y="804"/>
                  <a:pt x="1423" y="803"/>
                </a:cubicBezTo>
                <a:cubicBezTo>
                  <a:pt x="1429" y="801"/>
                  <a:pt x="1433" y="799"/>
                  <a:pt x="1437" y="794"/>
                </a:cubicBezTo>
                <a:cubicBezTo>
                  <a:pt x="1438" y="793"/>
                  <a:pt x="1439" y="791"/>
                  <a:pt x="1439" y="789"/>
                </a:cubicBezTo>
                <a:cubicBezTo>
                  <a:pt x="1438" y="783"/>
                  <a:pt x="1435" y="781"/>
                  <a:pt x="1434" y="778"/>
                </a:cubicBezTo>
                <a:cubicBezTo>
                  <a:pt x="1432" y="775"/>
                  <a:pt x="1431" y="772"/>
                  <a:pt x="1431" y="769"/>
                </a:cubicBezTo>
                <a:cubicBezTo>
                  <a:pt x="1431" y="766"/>
                  <a:pt x="1433" y="762"/>
                  <a:pt x="1437" y="759"/>
                </a:cubicBezTo>
                <a:cubicBezTo>
                  <a:pt x="1440" y="756"/>
                  <a:pt x="1445" y="753"/>
                  <a:pt x="1448" y="753"/>
                </a:cubicBezTo>
                <a:cubicBezTo>
                  <a:pt x="1451" y="753"/>
                  <a:pt x="1456" y="752"/>
                  <a:pt x="1460" y="752"/>
                </a:cubicBezTo>
                <a:cubicBezTo>
                  <a:pt x="1462" y="752"/>
                  <a:pt x="1464" y="752"/>
                  <a:pt x="1466" y="751"/>
                </a:cubicBezTo>
                <a:cubicBezTo>
                  <a:pt x="1468" y="750"/>
                  <a:pt x="1471" y="748"/>
                  <a:pt x="1472" y="745"/>
                </a:cubicBezTo>
                <a:cubicBezTo>
                  <a:pt x="1472" y="745"/>
                  <a:pt x="1472" y="745"/>
                  <a:pt x="1472" y="745"/>
                </a:cubicBezTo>
                <a:cubicBezTo>
                  <a:pt x="1472" y="744"/>
                  <a:pt x="1473" y="743"/>
                  <a:pt x="1474" y="742"/>
                </a:cubicBezTo>
                <a:cubicBezTo>
                  <a:pt x="1475" y="746"/>
                  <a:pt x="1475" y="751"/>
                  <a:pt x="1476" y="755"/>
                </a:cubicBezTo>
                <a:cubicBezTo>
                  <a:pt x="1476" y="758"/>
                  <a:pt x="1477" y="762"/>
                  <a:pt x="1479" y="764"/>
                </a:cubicBezTo>
                <a:cubicBezTo>
                  <a:pt x="1481" y="767"/>
                  <a:pt x="1485" y="770"/>
                  <a:pt x="1489" y="770"/>
                </a:cubicBezTo>
                <a:cubicBezTo>
                  <a:pt x="1497" y="770"/>
                  <a:pt x="1502" y="766"/>
                  <a:pt x="1507" y="762"/>
                </a:cubicBezTo>
                <a:cubicBezTo>
                  <a:pt x="1510" y="760"/>
                  <a:pt x="1512" y="759"/>
                  <a:pt x="1513" y="757"/>
                </a:cubicBezTo>
                <a:cubicBezTo>
                  <a:pt x="1514" y="757"/>
                  <a:pt x="1515" y="756"/>
                  <a:pt x="1515" y="756"/>
                </a:cubicBezTo>
                <a:cubicBezTo>
                  <a:pt x="1516" y="756"/>
                  <a:pt x="1516" y="756"/>
                  <a:pt x="1516" y="756"/>
                </a:cubicBezTo>
                <a:cubicBezTo>
                  <a:pt x="1516" y="755"/>
                  <a:pt x="1516" y="755"/>
                  <a:pt x="1516" y="755"/>
                </a:cubicBezTo>
                <a:cubicBezTo>
                  <a:pt x="1520" y="754"/>
                  <a:pt x="1541" y="749"/>
                  <a:pt x="1545" y="747"/>
                </a:cubicBezTo>
                <a:cubicBezTo>
                  <a:pt x="1546" y="747"/>
                  <a:pt x="1554" y="746"/>
                  <a:pt x="1561" y="744"/>
                </a:cubicBezTo>
                <a:cubicBezTo>
                  <a:pt x="1565" y="743"/>
                  <a:pt x="1568" y="742"/>
                  <a:pt x="1572" y="740"/>
                </a:cubicBezTo>
                <a:cubicBezTo>
                  <a:pt x="1575" y="738"/>
                  <a:pt x="1578" y="735"/>
                  <a:pt x="1579" y="729"/>
                </a:cubicBezTo>
                <a:cubicBezTo>
                  <a:pt x="1579" y="728"/>
                  <a:pt x="1578" y="727"/>
                  <a:pt x="1578" y="726"/>
                </a:cubicBezTo>
                <a:cubicBezTo>
                  <a:pt x="1574" y="716"/>
                  <a:pt x="1571" y="706"/>
                  <a:pt x="1566" y="701"/>
                </a:cubicBezTo>
                <a:cubicBezTo>
                  <a:pt x="1565" y="699"/>
                  <a:pt x="1562" y="697"/>
                  <a:pt x="1559" y="697"/>
                </a:cubicBezTo>
                <a:cubicBezTo>
                  <a:pt x="1554" y="697"/>
                  <a:pt x="1552" y="700"/>
                  <a:pt x="1551" y="702"/>
                </a:cubicBezTo>
                <a:cubicBezTo>
                  <a:pt x="1549" y="704"/>
                  <a:pt x="1547" y="707"/>
                  <a:pt x="1545" y="709"/>
                </a:cubicBezTo>
                <a:cubicBezTo>
                  <a:pt x="1544" y="712"/>
                  <a:pt x="1542" y="712"/>
                  <a:pt x="1542" y="712"/>
                </a:cubicBezTo>
                <a:cubicBezTo>
                  <a:pt x="1541" y="712"/>
                  <a:pt x="1541" y="712"/>
                  <a:pt x="1541" y="712"/>
                </a:cubicBezTo>
                <a:cubicBezTo>
                  <a:pt x="1541" y="712"/>
                  <a:pt x="1540" y="707"/>
                  <a:pt x="1540" y="703"/>
                </a:cubicBezTo>
                <a:cubicBezTo>
                  <a:pt x="1540" y="701"/>
                  <a:pt x="1540" y="699"/>
                  <a:pt x="1539" y="697"/>
                </a:cubicBezTo>
                <a:cubicBezTo>
                  <a:pt x="1539" y="694"/>
                  <a:pt x="1536" y="690"/>
                  <a:pt x="1531" y="690"/>
                </a:cubicBezTo>
                <a:cubicBezTo>
                  <a:pt x="1529" y="690"/>
                  <a:pt x="1527" y="691"/>
                  <a:pt x="1525" y="693"/>
                </a:cubicBezTo>
                <a:cubicBezTo>
                  <a:pt x="1521" y="695"/>
                  <a:pt x="1519" y="698"/>
                  <a:pt x="1517" y="699"/>
                </a:cubicBezTo>
                <a:cubicBezTo>
                  <a:pt x="1517" y="699"/>
                  <a:pt x="1517" y="700"/>
                  <a:pt x="1517" y="700"/>
                </a:cubicBezTo>
                <a:cubicBezTo>
                  <a:pt x="1516" y="699"/>
                  <a:pt x="1514" y="697"/>
                  <a:pt x="1513" y="695"/>
                </a:cubicBezTo>
                <a:cubicBezTo>
                  <a:pt x="1513" y="695"/>
                  <a:pt x="1513" y="695"/>
                  <a:pt x="1513" y="695"/>
                </a:cubicBezTo>
                <a:cubicBezTo>
                  <a:pt x="1515" y="692"/>
                  <a:pt x="1518" y="688"/>
                  <a:pt x="1518" y="683"/>
                </a:cubicBezTo>
                <a:cubicBezTo>
                  <a:pt x="1518" y="679"/>
                  <a:pt x="1517" y="675"/>
                  <a:pt x="1514" y="671"/>
                </a:cubicBezTo>
                <a:cubicBezTo>
                  <a:pt x="1509" y="663"/>
                  <a:pt x="1502" y="659"/>
                  <a:pt x="1495" y="659"/>
                </a:cubicBezTo>
                <a:cubicBezTo>
                  <a:pt x="1487" y="659"/>
                  <a:pt x="1481" y="662"/>
                  <a:pt x="1475" y="666"/>
                </a:cubicBezTo>
                <a:cubicBezTo>
                  <a:pt x="1468" y="670"/>
                  <a:pt x="1466" y="671"/>
                  <a:pt x="1463" y="672"/>
                </a:cubicBezTo>
                <a:cubicBezTo>
                  <a:pt x="1463" y="672"/>
                  <a:pt x="1464" y="672"/>
                  <a:pt x="1464" y="671"/>
                </a:cubicBezTo>
                <a:cubicBezTo>
                  <a:pt x="1471" y="664"/>
                  <a:pt x="1481" y="660"/>
                  <a:pt x="1489" y="650"/>
                </a:cubicBezTo>
                <a:cubicBezTo>
                  <a:pt x="1490" y="650"/>
                  <a:pt x="1490" y="650"/>
                  <a:pt x="1492" y="650"/>
                </a:cubicBezTo>
                <a:cubicBezTo>
                  <a:pt x="1494" y="650"/>
                  <a:pt x="1498" y="651"/>
                  <a:pt x="1501" y="653"/>
                </a:cubicBezTo>
                <a:cubicBezTo>
                  <a:pt x="1504" y="654"/>
                  <a:pt x="1507" y="656"/>
                  <a:pt x="1507" y="656"/>
                </a:cubicBezTo>
                <a:cubicBezTo>
                  <a:pt x="1509" y="657"/>
                  <a:pt x="1511" y="657"/>
                  <a:pt x="1513" y="656"/>
                </a:cubicBezTo>
                <a:cubicBezTo>
                  <a:pt x="1513" y="657"/>
                  <a:pt x="1513" y="657"/>
                  <a:pt x="1513" y="658"/>
                </a:cubicBezTo>
                <a:cubicBezTo>
                  <a:pt x="1513" y="662"/>
                  <a:pt x="1513" y="665"/>
                  <a:pt x="1514" y="669"/>
                </a:cubicBezTo>
                <a:cubicBezTo>
                  <a:pt x="1515" y="672"/>
                  <a:pt x="1518" y="677"/>
                  <a:pt x="1524" y="677"/>
                </a:cubicBezTo>
                <a:cubicBezTo>
                  <a:pt x="1529" y="677"/>
                  <a:pt x="1534" y="675"/>
                  <a:pt x="1539" y="672"/>
                </a:cubicBezTo>
                <a:cubicBezTo>
                  <a:pt x="1542" y="671"/>
                  <a:pt x="1544" y="669"/>
                  <a:pt x="1546" y="668"/>
                </a:cubicBezTo>
                <a:cubicBezTo>
                  <a:pt x="1547" y="666"/>
                  <a:pt x="1549" y="665"/>
                  <a:pt x="1550" y="661"/>
                </a:cubicBezTo>
                <a:cubicBezTo>
                  <a:pt x="1550" y="661"/>
                  <a:pt x="1551" y="661"/>
                  <a:pt x="1551" y="661"/>
                </a:cubicBezTo>
                <a:cubicBezTo>
                  <a:pt x="1556" y="660"/>
                  <a:pt x="1561" y="659"/>
                  <a:pt x="1566" y="655"/>
                </a:cubicBezTo>
                <a:cubicBezTo>
                  <a:pt x="1572" y="650"/>
                  <a:pt x="1579" y="650"/>
                  <a:pt x="1587" y="646"/>
                </a:cubicBezTo>
                <a:cubicBezTo>
                  <a:pt x="1592" y="643"/>
                  <a:pt x="1593" y="639"/>
                  <a:pt x="1595" y="636"/>
                </a:cubicBezTo>
                <a:cubicBezTo>
                  <a:pt x="1598" y="633"/>
                  <a:pt x="1599" y="632"/>
                  <a:pt x="1600" y="632"/>
                </a:cubicBezTo>
                <a:cubicBezTo>
                  <a:pt x="1600" y="632"/>
                  <a:pt x="1601" y="632"/>
                  <a:pt x="1601" y="634"/>
                </a:cubicBezTo>
                <a:cubicBezTo>
                  <a:pt x="1601" y="636"/>
                  <a:pt x="1600" y="639"/>
                  <a:pt x="1596" y="642"/>
                </a:cubicBezTo>
                <a:cubicBezTo>
                  <a:pt x="1589" y="647"/>
                  <a:pt x="1585" y="656"/>
                  <a:pt x="1583" y="663"/>
                </a:cubicBezTo>
                <a:cubicBezTo>
                  <a:pt x="1580" y="670"/>
                  <a:pt x="1578" y="676"/>
                  <a:pt x="1577" y="677"/>
                </a:cubicBezTo>
                <a:cubicBezTo>
                  <a:pt x="1574" y="679"/>
                  <a:pt x="1573" y="683"/>
                  <a:pt x="1573" y="687"/>
                </a:cubicBezTo>
                <a:cubicBezTo>
                  <a:pt x="1572" y="690"/>
                  <a:pt x="1574" y="693"/>
                  <a:pt x="1577" y="695"/>
                </a:cubicBezTo>
                <a:cubicBezTo>
                  <a:pt x="1579" y="697"/>
                  <a:pt x="1583" y="698"/>
                  <a:pt x="1586" y="698"/>
                </a:cubicBezTo>
                <a:cubicBezTo>
                  <a:pt x="1587" y="698"/>
                  <a:pt x="1588" y="698"/>
                  <a:pt x="1589" y="698"/>
                </a:cubicBezTo>
                <a:cubicBezTo>
                  <a:pt x="1591" y="698"/>
                  <a:pt x="1593" y="698"/>
                  <a:pt x="1594" y="698"/>
                </a:cubicBezTo>
                <a:cubicBezTo>
                  <a:pt x="1598" y="698"/>
                  <a:pt x="1601" y="698"/>
                  <a:pt x="1605" y="698"/>
                </a:cubicBezTo>
                <a:cubicBezTo>
                  <a:pt x="1608" y="698"/>
                  <a:pt x="1612" y="698"/>
                  <a:pt x="1616" y="696"/>
                </a:cubicBezTo>
                <a:cubicBezTo>
                  <a:pt x="1617" y="696"/>
                  <a:pt x="1617" y="696"/>
                  <a:pt x="1618" y="696"/>
                </a:cubicBezTo>
                <a:cubicBezTo>
                  <a:pt x="1620" y="696"/>
                  <a:pt x="1622" y="698"/>
                  <a:pt x="1623" y="700"/>
                </a:cubicBezTo>
                <a:cubicBezTo>
                  <a:pt x="1624" y="703"/>
                  <a:pt x="1628" y="705"/>
                  <a:pt x="1630" y="705"/>
                </a:cubicBezTo>
                <a:cubicBezTo>
                  <a:pt x="1635" y="704"/>
                  <a:pt x="1637" y="702"/>
                  <a:pt x="1639" y="701"/>
                </a:cubicBezTo>
                <a:cubicBezTo>
                  <a:pt x="1640" y="700"/>
                  <a:pt x="1641" y="699"/>
                  <a:pt x="1641" y="699"/>
                </a:cubicBezTo>
                <a:cubicBezTo>
                  <a:pt x="1641" y="699"/>
                  <a:pt x="1641" y="699"/>
                  <a:pt x="1642" y="699"/>
                </a:cubicBezTo>
                <a:cubicBezTo>
                  <a:pt x="1643" y="698"/>
                  <a:pt x="1645" y="698"/>
                  <a:pt x="1647" y="698"/>
                </a:cubicBezTo>
                <a:cubicBezTo>
                  <a:pt x="1650" y="698"/>
                  <a:pt x="1652" y="699"/>
                  <a:pt x="1652" y="699"/>
                </a:cubicBezTo>
                <a:cubicBezTo>
                  <a:pt x="1654" y="702"/>
                  <a:pt x="1656" y="704"/>
                  <a:pt x="1660" y="704"/>
                </a:cubicBezTo>
                <a:cubicBezTo>
                  <a:pt x="1665" y="704"/>
                  <a:pt x="1667" y="701"/>
                  <a:pt x="1668" y="699"/>
                </a:cubicBezTo>
                <a:cubicBezTo>
                  <a:pt x="1669" y="696"/>
                  <a:pt x="1669" y="694"/>
                  <a:pt x="1669" y="691"/>
                </a:cubicBezTo>
                <a:cubicBezTo>
                  <a:pt x="1669" y="689"/>
                  <a:pt x="1669" y="685"/>
                  <a:pt x="1667" y="682"/>
                </a:cubicBezTo>
                <a:cubicBezTo>
                  <a:pt x="1664" y="675"/>
                  <a:pt x="1659" y="668"/>
                  <a:pt x="1656" y="661"/>
                </a:cubicBezTo>
                <a:cubicBezTo>
                  <a:pt x="1653" y="654"/>
                  <a:pt x="1647" y="647"/>
                  <a:pt x="1639" y="648"/>
                </a:cubicBezTo>
                <a:cubicBezTo>
                  <a:pt x="1637" y="648"/>
                  <a:pt x="1634" y="648"/>
                  <a:pt x="1631" y="649"/>
                </a:cubicBezTo>
                <a:cubicBezTo>
                  <a:pt x="1630" y="649"/>
                  <a:pt x="1629" y="649"/>
                  <a:pt x="1629" y="649"/>
                </a:cubicBezTo>
                <a:cubicBezTo>
                  <a:pt x="1627" y="649"/>
                  <a:pt x="1627" y="649"/>
                  <a:pt x="1626" y="648"/>
                </a:cubicBezTo>
                <a:cubicBezTo>
                  <a:pt x="1624" y="647"/>
                  <a:pt x="1622" y="645"/>
                  <a:pt x="1619" y="643"/>
                </a:cubicBezTo>
                <a:cubicBezTo>
                  <a:pt x="1619" y="643"/>
                  <a:pt x="1618" y="642"/>
                  <a:pt x="1618" y="642"/>
                </a:cubicBezTo>
                <a:cubicBezTo>
                  <a:pt x="1621" y="636"/>
                  <a:pt x="1623" y="633"/>
                  <a:pt x="1626" y="625"/>
                </a:cubicBezTo>
                <a:cubicBezTo>
                  <a:pt x="1627" y="624"/>
                  <a:pt x="1629" y="620"/>
                  <a:pt x="1632" y="616"/>
                </a:cubicBezTo>
                <a:cubicBezTo>
                  <a:pt x="1634" y="612"/>
                  <a:pt x="1636" y="608"/>
                  <a:pt x="1637" y="602"/>
                </a:cubicBezTo>
                <a:cubicBezTo>
                  <a:pt x="1637" y="597"/>
                  <a:pt x="1632" y="591"/>
                  <a:pt x="1626" y="590"/>
                </a:cubicBezTo>
                <a:cubicBezTo>
                  <a:pt x="1618" y="588"/>
                  <a:pt x="1614" y="586"/>
                  <a:pt x="1612" y="584"/>
                </a:cubicBezTo>
                <a:cubicBezTo>
                  <a:pt x="1610" y="583"/>
                  <a:pt x="1609" y="582"/>
                  <a:pt x="1608" y="579"/>
                </a:cubicBezTo>
                <a:cubicBezTo>
                  <a:pt x="1606" y="572"/>
                  <a:pt x="1601" y="566"/>
                  <a:pt x="1595" y="561"/>
                </a:cubicBezTo>
                <a:cubicBezTo>
                  <a:pt x="1592" y="558"/>
                  <a:pt x="1589" y="556"/>
                  <a:pt x="1587" y="554"/>
                </a:cubicBezTo>
                <a:cubicBezTo>
                  <a:pt x="1584" y="553"/>
                  <a:pt x="1582" y="551"/>
                  <a:pt x="1578" y="551"/>
                </a:cubicBezTo>
                <a:cubicBezTo>
                  <a:pt x="1576" y="551"/>
                  <a:pt x="1571" y="551"/>
                  <a:pt x="1567" y="550"/>
                </a:cubicBezTo>
                <a:cubicBezTo>
                  <a:pt x="1565" y="550"/>
                  <a:pt x="1563" y="549"/>
                  <a:pt x="1562" y="549"/>
                </a:cubicBezTo>
                <a:cubicBezTo>
                  <a:pt x="1562" y="549"/>
                  <a:pt x="1562" y="549"/>
                  <a:pt x="1562" y="548"/>
                </a:cubicBezTo>
                <a:cubicBezTo>
                  <a:pt x="1559" y="538"/>
                  <a:pt x="1548" y="525"/>
                  <a:pt x="1542" y="517"/>
                </a:cubicBezTo>
                <a:cubicBezTo>
                  <a:pt x="1540" y="514"/>
                  <a:pt x="1533" y="505"/>
                  <a:pt x="1526" y="496"/>
                </a:cubicBezTo>
                <a:cubicBezTo>
                  <a:pt x="1523" y="491"/>
                  <a:pt x="1520" y="487"/>
                  <a:pt x="1517" y="484"/>
                </a:cubicBezTo>
                <a:cubicBezTo>
                  <a:pt x="1514" y="480"/>
                  <a:pt x="1512" y="478"/>
                  <a:pt x="1510" y="476"/>
                </a:cubicBezTo>
                <a:cubicBezTo>
                  <a:pt x="1509" y="475"/>
                  <a:pt x="1506" y="474"/>
                  <a:pt x="1504" y="474"/>
                </a:cubicBezTo>
                <a:cubicBezTo>
                  <a:pt x="1495" y="475"/>
                  <a:pt x="1491" y="481"/>
                  <a:pt x="1483" y="493"/>
                </a:cubicBezTo>
                <a:cubicBezTo>
                  <a:pt x="1476" y="505"/>
                  <a:pt x="1470" y="507"/>
                  <a:pt x="1467" y="507"/>
                </a:cubicBezTo>
                <a:cubicBezTo>
                  <a:pt x="1466" y="507"/>
                  <a:pt x="1465" y="507"/>
                  <a:pt x="1463" y="506"/>
                </a:cubicBezTo>
                <a:cubicBezTo>
                  <a:pt x="1459" y="504"/>
                  <a:pt x="1457" y="503"/>
                  <a:pt x="1455" y="502"/>
                </a:cubicBezTo>
                <a:cubicBezTo>
                  <a:pt x="1454" y="501"/>
                  <a:pt x="1452" y="499"/>
                  <a:pt x="1448" y="494"/>
                </a:cubicBezTo>
                <a:cubicBezTo>
                  <a:pt x="1447" y="493"/>
                  <a:pt x="1447" y="492"/>
                  <a:pt x="1447" y="492"/>
                </a:cubicBezTo>
                <a:cubicBezTo>
                  <a:pt x="1447" y="492"/>
                  <a:pt x="1448" y="491"/>
                  <a:pt x="1450" y="489"/>
                </a:cubicBezTo>
                <a:cubicBezTo>
                  <a:pt x="1451" y="488"/>
                  <a:pt x="1454" y="486"/>
                  <a:pt x="1454" y="480"/>
                </a:cubicBezTo>
                <a:cubicBezTo>
                  <a:pt x="1454" y="479"/>
                  <a:pt x="1454" y="477"/>
                  <a:pt x="1453" y="476"/>
                </a:cubicBezTo>
                <a:cubicBezTo>
                  <a:pt x="1449" y="469"/>
                  <a:pt x="1443" y="467"/>
                  <a:pt x="1436" y="465"/>
                </a:cubicBezTo>
                <a:cubicBezTo>
                  <a:pt x="1429" y="463"/>
                  <a:pt x="1421" y="462"/>
                  <a:pt x="1415" y="461"/>
                </a:cubicBezTo>
                <a:cubicBezTo>
                  <a:pt x="1412" y="461"/>
                  <a:pt x="1408" y="458"/>
                  <a:pt x="1402" y="453"/>
                </a:cubicBezTo>
                <a:cubicBezTo>
                  <a:pt x="1396" y="449"/>
                  <a:pt x="1389" y="444"/>
                  <a:pt x="1378" y="443"/>
                </a:cubicBezTo>
                <a:cubicBezTo>
                  <a:pt x="1376" y="443"/>
                  <a:pt x="1373" y="443"/>
                  <a:pt x="1370" y="443"/>
                </a:cubicBezTo>
                <a:cubicBezTo>
                  <a:pt x="1354" y="443"/>
                  <a:pt x="1337" y="446"/>
                  <a:pt x="1334" y="446"/>
                </a:cubicBezTo>
                <a:cubicBezTo>
                  <a:pt x="1331" y="446"/>
                  <a:pt x="1327" y="448"/>
                  <a:pt x="1326" y="450"/>
                </a:cubicBezTo>
                <a:cubicBezTo>
                  <a:pt x="1321" y="457"/>
                  <a:pt x="1322" y="465"/>
                  <a:pt x="1320" y="476"/>
                </a:cubicBezTo>
                <a:cubicBezTo>
                  <a:pt x="1320" y="478"/>
                  <a:pt x="1320" y="480"/>
                  <a:pt x="1320" y="481"/>
                </a:cubicBezTo>
                <a:cubicBezTo>
                  <a:pt x="1320" y="486"/>
                  <a:pt x="1320" y="489"/>
                  <a:pt x="1321" y="492"/>
                </a:cubicBezTo>
                <a:cubicBezTo>
                  <a:pt x="1321" y="492"/>
                  <a:pt x="1322" y="493"/>
                  <a:pt x="1322" y="493"/>
                </a:cubicBezTo>
                <a:cubicBezTo>
                  <a:pt x="1319" y="494"/>
                  <a:pt x="1316" y="495"/>
                  <a:pt x="1314" y="496"/>
                </a:cubicBezTo>
                <a:cubicBezTo>
                  <a:pt x="1313" y="496"/>
                  <a:pt x="1311" y="497"/>
                  <a:pt x="1310" y="498"/>
                </a:cubicBezTo>
                <a:cubicBezTo>
                  <a:pt x="1309" y="499"/>
                  <a:pt x="1307" y="501"/>
                  <a:pt x="1307" y="504"/>
                </a:cubicBezTo>
                <a:cubicBezTo>
                  <a:pt x="1307" y="507"/>
                  <a:pt x="1309" y="509"/>
                  <a:pt x="1311" y="510"/>
                </a:cubicBezTo>
                <a:cubicBezTo>
                  <a:pt x="1312" y="512"/>
                  <a:pt x="1314" y="513"/>
                  <a:pt x="1316" y="514"/>
                </a:cubicBezTo>
                <a:cubicBezTo>
                  <a:pt x="1320" y="516"/>
                  <a:pt x="1326" y="522"/>
                  <a:pt x="1330" y="528"/>
                </a:cubicBezTo>
                <a:cubicBezTo>
                  <a:pt x="1333" y="532"/>
                  <a:pt x="1336" y="536"/>
                  <a:pt x="1337" y="538"/>
                </a:cubicBezTo>
                <a:cubicBezTo>
                  <a:pt x="1337" y="539"/>
                  <a:pt x="1337" y="540"/>
                  <a:pt x="1336" y="542"/>
                </a:cubicBezTo>
                <a:cubicBezTo>
                  <a:pt x="1335" y="545"/>
                  <a:pt x="1334" y="549"/>
                  <a:pt x="1331" y="551"/>
                </a:cubicBezTo>
                <a:cubicBezTo>
                  <a:pt x="1327" y="555"/>
                  <a:pt x="1321" y="558"/>
                  <a:pt x="1320" y="559"/>
                </a:cubicBezTo>
                <a:cubicBezTo>
                  <a:pt x="1320" y="559"/>
                  <a:pt x="1320" y="558"/>
                  <a:pt x="1320" y="558"/>
                </a:cubicBezTo>
                <a:cubicBezTo>
                  <a:pt x="1316" y="552"/>
                  <a:pt x="1311" y="549"/>
                  <a:pt x="1305" y="549"/>
                </a:cubicBezTo>
                <a:cubicBezTo>
                  <a:pt x="1303" y="549"/>
                  <a:pt x="1300" y="550"/>
                  <a:pt x="1298" y="552"/>
                </a:cubicBezTo>
                <a:cubicBezTo>
                  <a:pt x="1296" y="553"/>
                  <a:pt x="1294" y="557"/>
                  <a:pt x="1294" y="560"/>
                </a:cubicBezTo>
                <a:cubicBezTo>
                  <a:pt x="1294" y="561"/>
                  <a:pt x="1294" y="563"/>
                  <a:pt x="1295" y="565"/>
                </a:cubicBezTo>
                <a:cubicBezTo>
                  <a:pt x="1297" y="570"/>
                  <a:pt x="1300" y="573"/>
                  <a:pt x="1302" y="576"/>
                </a:cubicBezTo>
                <a:cubicBezTo>
                  <a:pt x="1304" y="579"/>
                  <a:pt x="1305" y="581"/>
                  <a:pt x="1305" y="583"/>
                </a:cubicBezTo>
                <a:cubicBezTo>
                  <a:pt x="1305" y="588"/>
                  <a:pt x="1307" y="593"/>
                  <a:pt x="1308" y="598"/>
                </a:cubicBezTo>
                <a:cubicBezTo>
                  <a:pt x="1310" y="603"/>
                  <a:pt x="1311" y="608"/>
                  <a:pt x="1311" y="612"/>
                </a:cubicBezTo>
                <a:cubicBezTo>
                  <a:pt x="1311" y="614"/>
                  <a:pt x="1310" y="615"/>
                  <a:pt x="1310" y="615"/>
                </a:cubicBezTo>
                <a:cubicBezTo>
                  <a:pt x="1308" y="616"/>
                  <a:pt x="1308" y="616"/>
                  <a:pt x="1306" y="616"/>
                </a:cubicBezTo>
                <a:cubicBezTo>
                  <a:pt x="1303" y="616"/>
                  <a:pt x="1300" y="615"/>
                  <a:pt x="1296" y="615"/>
                </a:cubicBezTo>
                <a:cubicBezTo>
                  <a:pt x="1295" y="615"/>
                  <a:pt x="1294" y="615"/>
                  <a:pt x="1293" y="616"/>
                </a:cubicBezTo>
                <a:cubicBezTo>
                  <a:pt x="1292" y="615"/>
                  <a:pt x="1291" y="613"/>
                  <a:pt x="1291" y="612"/>
                </a:cubicBezTo>
                <a:cubicBezTo>
                  <a:pt x="1295" y="609"/>
                  <a:pt x="1294" y="605"/>
                  <a:pt x="1295" y="602"/>
                </a:cubicBezTo>
                <a:cubicBezTo>
                  <a:pt x="1295" y="593"/>
                  <a:pt x="1292" y="583"/>
                  <a:pt x="1291" y="583"/>
                </a:cubicBezTo>
                <a:cubicBezTo>
                  <a:pt x="1291" y="581"/>
                  <a:pt x="1289" y="579"/>
                  <a:pt x="1286" y="578"/>
                </a:cubicBezTo>
                <a:cubicBezTo>
                  <a:pt x="1284" y="578"/>
                  <a:pt x="1282" y="579"/>
                  <a:pt x="1280" y="581"/>
                </a:cubicBezTo>
                <a:cubicBezTo>
                  <a:pt x="1280" y="581"/>
                  <a:pt x="1280" y="583"/>
                  <a:pt x="1278" y="585"/>
                </a:cubicBezTo>
                <a:cubicBezTo>
                  <a:pt x="1277" y="583"/>
                  <a:pt x="1276" y="581"/>
                  <a:pt x="1276" y="579"/>
                </a:cubicBezTo>
                <a:cubicBezTo>
                  <a:pt x="1274" y="576"/>
                  <a:pt x="1273" y="575"/>
                  <a:pt x="1273" y="572"/>
                </a:cubicBezTo>
                <a:cubicBezTo>
                  <a:pt x="1273" y="567"/>
                  <a:pt x="1272" y="562"/>
                  <a:pt x="1269" y="559"/>
                </a:cubicBezTo>
                <a:cubicBezTo>
                  <a:pt x="1265" y="556"/>
                  <a:pt x="1261" y="554"/>
                  <a:pt x="1256" y="554"/>
                </a:cubicBezTo>
                <a:cubicBezTo>
                  <a:pt x="1253" y="554"/>
                  <a:pt x="1251" y="555"/>
                  <a:pt x="1248" y="555"/>
                </a:cubicBezTo>
                <a:cubicBezTo>
                  <a:pt x="1247" y="555"/>
                  <a:pt x="1246" y="556"/>
                  <a:pt x="1245" y="556"/>
                </a:cubicBezTo>
                <a:cubicBezTo>
                  <a:pt x="1238" y="556"/>
                  <a:pt x="1226" y="550"/>
                  <a:pt x="1209" y="547"/>
                </a:cubicBezTo>
                <a:cubicBezTo>
                  <a:pt x="1189" y="543"/>
                  <a:pt x="1183" y="540"/>
                  <a:pt x="1167" y="531"/>
                </a:cubicBezTo>
                <a:cubicBezTo>
                  <a:pt x="1160" y="527"/>
                  <a:pt x="1154" y="525"/>
                  <a:pt x="1149" y="525"/>
                </a:cubicBezTo>
                <a:cubicBezTo>
                  <a:pt x="1142" y="525"/>
                  <a:pt x="1137" y="528"/>
                  <a:pt x="1134" y="529"/>
                </a:cubicBezTo>
                <a:cubicBezTo>
                  <a:pt x="1134" y="527"/>
                  <a:pt x="1133" y="523"/>
                  <a:pt x="1132" y="519"/>
                </a:cubicBezTo>
                <a:cubicBezTo>
                  <a:pt x="1130" y="515"/>
                  <a:pt x="1127" y="509"/>
                  <a:pt x="1120" y="507"/>
                </a:cubicBezTo>
                <a:cubicBezTo>
                  <a:pt x="1114" y="505"/>
                  <a:pt x="1109" y="506"/>
                  <a:pt x="1109" y="505"/>
                </a:cubicBezTo>
                <a:cubicBezTo>
                  <a:pt x="1109" y="505"/>
                  <a:pt x="1109" y="505"/>
                  <a:pt x="1108" y="504"/>
                </a:cubicBezTo>
                <a:cubicBezTo>
                  <a:pt x="1108" y="503"/>
                  <a:pt x="1107" y="501"/>
                  <a:pt x="1106" y="497"/>
                </a:cubicBezTo>
                <a:cubicBezTo>
                  <a:pt x="1106" y="495"/>
                  <a:pt x="1106" y="493"/>
                  <a:pt x="1106" y="491"/>
                </a:cubicBezTo>
                <a:cubicBezTo>
                  <a:pt x="1106" y="486"/>
                  <a:pt x="1107" y="484"/>
                  <a:pt x="1111" y="479"/>
                </a:cubicBezTo>
                <a:cubicBezTo>
                  <a:pt x="1115" y="475"/>
                  <a:pt x="1122" y="469"/>
                  <a:pt x="1133" y="461"/>
                </a:cubicBezTo>
                <a:cubicBezTo>
                  <a:pt x="1146" y="451"/>
                  <a:pt x="1152" y="444"/>
                  <a:pt x="1156" y="439"/>
                </a:cubicBezTo>
                <a:cubicBezTo>
                  <a:pt x="1161" y="435"/>
                  <a:pt x="1162" y="433"/>
                  <a:pt x="1171" y="432"/>
                </a:cubicBezTo>
                <a:cubicBezTo>
                  <a:pt x="1176" y="431"/>
                  <a:pt x="1180" y="431"/>
                  <a:pt x="1183" y="431"/>
                </a:cubicBezTo>
                <a:cubicBezTo>
                  <a:pt x="1187" y="431"/>
                  <a:pt x="1191" y="432"/>
                  <a:pt x="1194" y="432"/>
                </a:cubicBezTo>
                <a:cubicBezTo>
                  <a:pt x="1196" y="431"/>
                  <a:pt x="1198" y="432"/>
                  <a:pt x="1201" y="430"/>
                </a:cubicBezTo>
                <a:cubicBezTo>
                  <a:pt x="1204" y="428"/>
                  <a:pt x="1206" y="424"/>
                  <a:pt x="1205" y="422"/>
                </a:cubicBezTo>
                <a:cubicBezTo>
                  <a:pt x="1205" y="421"/>
                  <a:pt x="1206" y="419"/>
                  <a:pt x="1206" y="416"/>
                </a:cubicBezTo>
                <a:cubicBezTo>
                  <a:pt x="1207" y="417"/>
                  <a:pt x="1207" y="418"/>
                  <a:pt x="1208" y="418"/>
                </a:cubicBezTo>
                <a:cubicBezTo>
                  <a:pt x="1210" y="419"/>
                  <a:pt x="1212" y="421"/>
                  <a:pt x="1213" y="421"/>
                </a:cubicBezTo>
                <a:cubicBezTo>
                  <a:pt x="1212" y="421"/>
                  <a:pt x="1212" y="421"/>
                  <a:pt x="1212" y="421"/>
                </a:cubicBezTo>
                <a:cubicBezTo>
                  <a:pt x="1208" y="426"/>
                  <a:pt x="1205" y="428"/>
                  <a:pt x="1205" y="434"/>
                </a:cubicBezTo>
                <a:cubicBezTo>
                  <a:pt x="1205" y="439"/>
                  <a:pt x="1210" y="442"/>
                  <a:pt x="1212" y="442"/>
                </a:cubicBezTo>
                <a:cubicBezTo>
                  <a:pt x="1215" y="443"/>
                  <a:pt x="1217" y="443"/>
                  <a:pt x="1220" y="443"/>
                </a:cubicBezTo>
                <a:cubicBezTo>
                  <a:pt x="1226" y="443"/>
                  <a:pt x="1232" y="440"/>
                  <a:pt x="1237" y="438"/>
                </a:cubicBezTo>
                <a:cubicBezTo>
                  <a:pt x="1242" y="435"/>
                  <a:pt x="1245" y="433"/>
                  <a:pt x="1246" y="433"/>
                </a:cubicBezTo>
                <a:cubicBezTo>
                  <a:pt x="1247" y="432"/>
                  <a:pt x="1248" y="431"/>
                  <a:pt x="1251" y="431"/>
                </a:cubicBezTo>
                <a:cubicBezTo>
                  <a:pt x="1253" y="430"/>
                  <a:pt x="1257" y="429"/>
                  <a:pt x="1259" y="429"/>
                </a:cubicBezTo>
                <a:cubicBezTo>
                  <a:pt x="1260" y="429"/>
                  <a:pt x="1261" y="429"/>
                  <a:pt x="1261" y="429"/>
                </a:cubicBezTo>
                <a:cubicBezTo>
                  <a:pt x="1261" y="429"/>
                  <a:pt x="1261" y="429"/>
                  <a:pt x="1261" y="429"/>
                </a:cubicBezTo>
                <a:cubicBezTo>
                  <a:pt x="1263" y="432"/>
                  <a:pt x="1264" y="436"/>
                  <a:pt x="1266" y="440"/>
                </a:cubicBezTo>
                <a:cubicBezTo>
                  <a:pt x="1266" y="440"/>
                  <a:pt x="1266" y="440"/>
                  <a:pt x="1266" y="440"/>
                </a:cubicBezTo>
                <a:cubicBezTo>
                  <a:pt x="1263" y="438"/>
                  <a:pt x="1260" y="437"/>
                  <a:pt x="1256" y="437"/>
                </a:cubicBezTo>
                <a:cubicBezTo>
                  <a:pt x="1251" y="437"/>
                  <a:pt x="1246" y="439"/>
                  <a:pt x="1243" y="444"/>
                </a:cubicBezTo>
                <a:cubicBezTo>
                  <a:pt x="1243" y="444"/>
                  <a:pt x="1243" y="444"/>
                  <a:pt x="1243" y="444"/>
                </a:cubicBezTo>
                <a:cubicBezTo>
                  <a:pt x="1242" y="445"/>
                  <a:pt x="1241" y="447"/>
                  <a:pt x="1241" y="449"/>
                </a:cubicBezTo>
                <a:cubicBezTo>
                  <a:pt x="1242" y="455"/>
                  <a:pt x="1246" y="456"/>
                  <a:pt x="1249" y="458"/>
                </a:cubicBezTo>
                <a:cubicBezTo>
                  <a:pt x="1252" y="459"/>
                  <a:pt x="1256" y="460"/>
                  <a:pt x="1259" y="460"/>
                </a:cubicBezTo>
                <a:cubicBezTo>
                  <a:pt x="1262" y="460"/>
                  <a:pt x="1267" y="460"/>
                  <a:pt x="1270" y="455"/>
                </a:cubicBezTo>
                <a:cubicBezTo>
                  <a:pt x="1271" y="454"/>
                  <a:pt x="1271" y="452"/>
                  <a:pt x="1271" y="450"/>
                </a:cubicBezTo>
                <a:cubicBezTo>
                  <a:pt x="1271" y="448"/>
                  <a:pt x="1271" y="447"/>
                  <a:pt x="1270" y="445"/>
                </a:cubicBezTo>
                <a:cubicBezTo>
                  <a:pt x="1272" y="447"/>
                  <a:pt x="1275" y="449"/>
                  <a:pt x="1279" y="449"/>
                </a:cubicBezTo>
                <a:cubicBezTo>
                  <a:pt x="1284" y="448"/>
                  <a:pt x="1288" y="447"/>
                  <a:pt x="1292" y="444"/>
                </a:cubicBezTo>
                <a:cubicBezTo>
                  <a:pt x="1297" y="441"/>
                  <a:pt x="1301" y="437"/>
                  <a:pt x="1301" y="430"/>
                </a:cubicBezTo>
                <a:cubicBezTo>
                  <a:pt x="1301" y="425"/>
                  <a:pt x="1298" y="420"/>
                  <a:pt x="1292" y="417"/>
                </a:cubicBezTo>
                <a:cubicBezTo>
                  <a:pt x="1284" y="411"/>
                  <a:pt x="1278" y="409"/>
                  <a:pt x="1273" y="407"/>
                </a:cubicBezTo>
                <a:cubicBezTo>
                  <a:pt x="1267" y="405"/>
                  <a:pt x="1264" y="403"/>
                  <a:pt x="1260" y="399"/>
                </a:cubicBezTo>
                <a:cubicBezTo>
                  <a:pt x="1259" y="396"/>
                  <a:pt x="1257" y="395"/>
                  <a:pt x="1256" y="393"/>
                </a:cubicBezTo>
                <a:cubicBezTo>
                  <a:pt x="1260" y="392"/>
                  <a:pt x="1268" y="388"/>
                  <a:pt x="1271" y="387"/>
                </a:cubicBezTo>
                <a:cubicBezTo>
                  <a:pt x="1271" y="387"/>
                  <a:pt x="1277" y="386"/>
                  <a:pt x="1282" y="384"/>
                </a:cubicBezTo>
                <a:cubicBezTo>
                  <a:pt x="1286" y="382"/>
                  <a:pt x="1293" y="377"/>
                  <a:pt x="1293" y="368"/>
                </a:cubicBezTo>
                <a:cubicBezTo>
                  <a:pt x="1293" y="367"/>
                  <a:pt x="1293" y="365"/>
                  <a:pt x="1293" y="364"/>
                </a:cubicBezTo>
                <a:cubicBezTo>
                  <a:pt x="1290" y="356"/>
                  <a:pt x="1285" y="351"/>
                  <a:pt x="1281" y="349"/>
                </a:cubicBezTo>
                <a:cubicBezTo>
                  <a:pt x="1279" y="348"/>
                  <a:pt x="1277" y="347"/>
                  <a:pt x="1276" y="346"/>
                </a:cubicBezTo>
                <a:cubicBezTo>
                  <a:pt x="1278" y="345"/>
                  <a:pt x="1281" y="343"/>
                  <a:pt x="1284" y="342"/>
                </a:cubicBezTo>
                <a:cubicBezTo>
                  <a:pt x="1284" y="342"/>
                  <a:pt x="1286" y="341"/>
                  <a:pt x="1289" y="341"/>
                </a:cubicBezTo>
                <a:cubicBezTo>
                  <a:pt x="1292" y="341"/>
                  <a:pt x="1295" y="341"/>
                  <a:pt x="1298" y="342"/>
                </a:cubicBezTo>
                <a:cubicBezTo>
                  <a:pt x="1300" y="342"/>
                  <a:pt x="1302" y="342"/>
                  <a:pt x="1302" y="342"/>
                </a:cubicBezTo>
                <a:cubicBezTo>
                  <a:pt x="1302" y="342"/>
                  <a:pt x="1304" y="343"/>
                  <a:pt x="1306" y="343"/>
                </a:cubicBezTo>
                <a:cubicBezTo>
                  <a:pt x="1308" y="342"/>
                  <a:pt x="1310" y="342"/>
                  <a:pt x="1313" y="341"/>
                </a:cubicBezTo>
                <a:cubicBezTo>
                  <a:pt x="1314" y="341"/>
                  <a:pt x="1316" y="340"/>
                  <a:pt x="1317" y="339"/>
                </a:cubicBezTo>
                <a:cubicBezTo>
                  <a:pt x="1317" y="339"/>
                  <a:pt x="1318" y="340"/>
                  <a:pt x="1319" y="341"/>
                </a:cubicBezTo>
                <a:cubicBezTo>
                  <a:pt x="1320" y="343"/>
                  <a:pt x="1323" y="344"/>
                  <a:pt x="1326" y="344"/>
                </a:cubicBezTo>
                <a:cubicBezTo>
                  <a:pt x="1327" y="344"/>
                  <a:pt x="1328" y="344"/>
                  <a:pt x="1330" y="343"/>
                </a:cubicBezTo>
                <a:cubicBezTo>
                  <a:pt x="1332" y="343"/>
                  <a:pt x="1334" y="343"/>
                  <a:pt x="1335" y="343"/>
                </a:cubicBezTo>
                <a:cubicBezTo>
                  <a:pt x="1338" y="343"/>
                  <a:pt x="1338" y="343"/>
                  <a:pt x="1343" y="346"/>
                </a:cubicBezTo>
                <a:cubicBezTo>
                  <a:pt x="1343" y="347"/>
                  <a:pt x="1343" y="347"/>
                  <a:pt x="1343" y="347"/>
                </a:cubicBezTo>
                <a:cubicBezTo>
                  <a:pt x="1343" y="349"/>
                  <a:pt x="1342" y="353"/>
                  <a:pt x="1340" y="355"/>
                </a:cubicBezTo>
                <a:cubicBezTo>
                  <a:pt x="1340" y="357"/>
                  <a:pt x="1339" y="358"/>
                  <a:pt x="1338" y="359"/>
                </a:cubicBezTo>
                <a:cubicBezTo>
                  <a:pt x="1338" y="360"/>
                  <a:pt x="1337" y="360"/>
                  <a:pt x="1337" y="360"/>
                </a:cubicBezTo>
                <a:cubicBezTo>
                  <a:pt x="1335" y="361"/>
                  <a:pt x="1333" y="362"/>
                  <a:pt x="1331" y="364"/>
                </a:cubicBezTo>
                <a:cubicBezTo>
                  <a:pt x="1329" y="365"/>
                  <a:pt x="1326" y="366"/>
                  <a:pt x="1325" y="372"/>
                </a:cubicBezTo>
                <a:cubicBezTo>
                  <a:pt x="1325" y="376"/>
                  <a:pt x="1328" y="378"/>
                  <a:pt x="1330" y="379"/>
                </a:cubicBezTo>
                <a:cubicBezTo>
                  <a:pt x="1332" y="380"/>
                  <a:pt x="1334" y="381"/>
                  <a:pt x="1337" y="381"/>
                </a:cubicBezTo>
                <a:cubicBezTo>
                  <a:pt x="1350" y="382"/>
                  <a:pt x="1359" y="382"/>
                  <a:pt x="1359" y="382"/>
                </a:cubicBezTo>
                <a:cubicBezTo>
                  <a:pt x="1361" y="382"/>
                  <a:pt x="1363" y="382"/>
                  <a:pt x="1364" y="380"/>
                </a:cubicBezTo>
                <a:cubicBezTo>
                  <a:pt x="1364" y="380"/>
                  <a:pt x="1372" y="370"/>
                  <a:pt x="1376" y="361"/>
                </a:cubicBezTo>
                <a:cubicBezTo>
                  <a:pt x="1376" y="361"/>
                  <a:pt x="1376" y="361"/>
                  <a:pt x="1376" y="360"/>
                </a:cubicBezTo>
                <a:cubicBezTo>
                  <a:pt x="1378" y="361"/>
                  <a:pt x="1380" y="362"/>
                  <a:pt x="1382" y="364"/>
                </a:cubicBezTo>
                <a:cubicBezTo>
                  <a:pt x="1383" y="364"/>
                  <a:pt x="1385" y="365"/>
                  <a:pt x="1386" y="366"/>
                </a:cubicBezTo>
                <a:cubicBezTo>
                  <a:pt x="1371" y="371"/>
                  <a:pt x="1365" y="381"/>
                  <a:pt x="1362" y="387"/>
                </a:cubicBezTo>
                <a:cubicBezTo>
                  <a:pt x="1361" y="390"/>
                  <a:pt x="1360" y="392"/>
                  <a:pt x="1359" y="392"/>
                </a:cubicBezTo>
                <a:cubicBezTo>
                  <a:pt x="1359" y="392"/>
                  <a:pt x="1359" y="392"/>
                  <a:pt x="1357" y="393"/>
                </a:cubicBezTo>
                <a:cubicBezTo>
                  <a:pt x="1356" y="393"/>
                  <a:pt x="1353" y="392"/>
                  <a:pt x="1349" y="391"/>
                </a:cubicBezTo>
                <a:cubicBezTo>
                  <a:pt x="1343" y="389"/>
                  <a:pt x="1338" y="389"/>
                  <a:pt x="1334" y="389"/>
                </a:cubicBezTo>
                <a:cubicBezTo>
                  <a:pt x="1326" y="388"/>
                  <a:pt x="1319" y="392"/>
                  <a:pt x="1316" y="398"/>
                </a:cubicBezTo>
                <a:cubicBezTo>
                  <a:pt x="1314" y="402"/>
                  <a:pt x="1314" y="407"/>
                  <a:pt x="1314" y="411"/>
                </a:cubicBezTo>
                <a:cubicBezTo>
                  <a:pt x="1314" y="415"/>
                  <a:pt x="1314" y="420"/>
                  <a:pt x="1315" y="424"/>
                </a:cubicBezTo>
                <a:cubicBezTo>
                  <a:pt x="1316" y="426"/>
                  <a:pt x="1317" y="428"/>
                  <a:pt x="1318" y="429"/>
                </a:cubicBezTo>
                <a:cubicBezTo>
                  <a:pt x="1319" y="431"/>
                  <a:pt x="1321" y="433"/>
                  <a:pt x="1325" y="434"/>
                </a:cubicBezTo>
                <a:cubicBezTo>
                  <a:pt x="1326" y="434"/>
                  <a:pt x="1327" y="433"/>
                  <a:pt x="1328" y="433"/>
                </a:cubicBezTo>
                <a:cubicBezTo>
                  <a:pt x="1333" y="431"/>
                  <a:pt x="1338" y="431"/>
                  <a:pt x="1347" y="427"/>
                </a:cubicBezTo>
                <a:cubicBezTo>
                  <a:pt x="1347" y="427"/>
                  <a:pt x="1348" y="427"/>
                  <a:pt x="1351" y="427"/>
                </a:cubicBezTo>
                <a:cubicBezTo>
                  <a:pt x="1359" y="427"/>
                  <a:pt x="1374" y="429"/>
                  <a:pt x="1383" y="429"/>
                </a:cubicBezTo>
                <a:cubicBezTo>
                  <a:pt x="1384" y="429"/>
                  <a:pt x="1385" y="429"/>
                  <a:pt x="1387" y="429"/>
                </a:cubicBezTo>
                <a:cubicBezTo>
                  <a:pt x="1387" y="429"/>
                  <a:pt x="1388" y="429"/>
                  <a:pt x="1389" y="430"/>
                </a:cubicBezTo>
                <a:cubicBezTo>
                  <a:pt x="1391" y="431"/>
                  <a:pt x="1394" y="434"/>
                  <a:pt x="1396" y="436"/>
                </a:cubicBezTo>
                <a:cubicBezTo>
                  <a:pt x="1399" y="438"/>
                  <a:pt x="1401" y="440"/>
                  <a:pt x="1407" y="441"/>
                </a:cubicBezTo>
                <a:cubicBezTo>
                  <a:pt x="1408" y="441"/>
                  <a:pt x="1409" y="440"/>
                  <a:pt x="1410" y="440"/>
                </a:cubicBezTo>
                <a:cubicBezTo>
                  <a:pt x="1412" y="441"/>
                  <a:pt x="1417" y="446"/>
                  <a:pt x="1421" y="450"/>
                </a:cubicBezTo>
                <a:cubicBezTo>
                  <a:pt x="1423" y="451"/>
                  <a:pt x="1425" y="452"/>
                  <a:pt x="1427" y="452"/>
                </a:cubicBezTo>
                <a:cubicBezTo>
                  <a:pt x="1430" y="452"/>
                  <a:pt x="1433" y="451"/>
                  <a:pt x="1434" y="450"/>
                </a:cubicBezTo>
                <a:cubicBezTo>
                  <a:pt x="1435" y="448"/>
                  <a:pt x="1435" y="447"/>
                  <a:pt x="1436" y="447"/>
                </a:cubicBezTo>
                <a:cubicBezTo>
                  <a:pt x="1436" y="447"/>
                  <a:pt x="1437" y="448"/>
                  <a:pt x="1438" y="448"/>
                </a:cubicBezTo>
                <a:cubicBezTo>
                  <a:pt x="1444" y="454"/>
                  <a:pt x="1445" y="455"/>
                  <a:pt x="1445" y="456"/>
                </a:cubicBezTo>
                <a:cubicBezTo>
                  <a:pt x="1445" y="457"/>
                  <a:pt x="1447" y="459"/>
                  <a:pt x="1450" y="460"/>
                </a:cubicBezTo>
                <a:cubicBezTo>
                  <a:pt x="1452" y="460"/>
                  <a:pt x="1453" y="460"/>
                  <a:pt x="1454" y="460"/>
                </a:cubicBezTo>
                <a:cubicBezTo>
                  <a:pt x="1454" y="460"/>
                  <a:pt x="1454" y="460"/>
                  <a:pt x="1455" y="460"/>
                </a:cubicBezTo>
                <a:cubicBezTo>
                  <a:pt x="1461" y="460"/>
                  <a:pt x="1476" y="462"/>
                  <a:pt x="1476" y="462"/>
                </a:cubicBezTo>
                <a:cubicBezTo>
                  <a:pt x="1478" y="462"/>
                  <a:pt x="1479" y="462"/>
                  <a:pt x="1481" y="461"/>
                </a:cubicBezTo>
                <a:cubicBezTo>
                  <a:pt x="1482" y="460"/>
                  <a:pt x="1483" y="458"/>
                  <a:pt x="1483" y="457"/>
                </a:cubicBezTo>
                <a:cubicBezTo>
                  <a:pt x="1483" y="457"/>
                  <a:pt x="1483" y="456"/>
                  <a:pt x="1483" y="456"/>
                </a:cubicBezTo>
                <a:cubicBezTo>
                  <a:pt x="1483" y="455"/>
                  <a:pt x="1484" y="453"/>
                  <a:pt x="1484" y="452"/>
                </a:cubicBezTo>
                <a:cubicBezTo>
                  <a:pt x="1485" y="451"/>
                  <a:pt x="1485" y="451"/>
                  <a:pt x="1486" y="451"/>
                </a:cubicBezTo>
                <a:cubicBezTo>
                  <a:pt x="1487" y="451"/>
                  <a:pt x="1487" y="451"/>
                  <a:pt x="1488" y="451"/>
                </a:cubicBezTo>
                <a:cubicBezTo>
                  <a:pt x="1491" y="452"/>
                  <a:pt x="1494" y="454"/>
                  <a:pt x="1498" y="456"/>
                </a:cubicBezTo>
                <a:cubicBezTo>
                  <a:pt x="1499" y="458"/>
                  <a:pt x="1501" y="459"/>
                  <a:pt x="1502" y="460"/>
                </a:cubicBezTo>
                <a:cubicBezTo>
                  <a:pt x="1504" y="461"/>
                  <a:pt x="1505" y="462"/>
                  <a:pt x="1509" y="462"/>
                </a:cubicBezTo>
                <a:cubicBezTo>
                  <a:pt x="1511" y="462"/>
                  <a:pt x="1514" y="461"/>
                  <a:pt x="1515" y="459"/>
                </a:cubicBezTo>
                <a:cubicBezTo>
                  <a:pt x="1516" y="456"/>
                  <a:pt x="1516" y="455"/>
                  <a:pt x="1516" y="454"/>
                </a:cubicBezTo>
                <a:cubicBezTo>
                  <a:pt x="1516" y="453"/>
                  <a:pt x="1516" y="452"/>
                  <a:pt x="1516" y="452"/>
                </a:cubicBezTo>
                <a:cubicBezTo>
                  <a:pt x="1516" y="447"/>
                  <a:pt x="1516" y="442"/>
                  <a:pt x="1515" y="436"/>
                </a:cubicBezTo>
                <a:cubicBezTo>
                  <a:pt x="1514" y="431"/>
                  <a:pt x="1512" y="425"/>
                  <a:pt x="1506" y="420"/>
                </a:cubicBezTo>
                <a:cubicBezTo>
                  <a:pt x="1501" y="415"/>
                  <a:pt x="1494" y="412"/>
                  <a:pt x="1489" y="409"/>
                </a:cubicBezTo>
                <a:cubicBezTo>
                  <a:pt x="1487" y="407"/>
                  <a:pt x="1484" y="406"/>
                  <a:pt x="1483" y="405"/>
                </a:cubicBezTo>
                <a:cubicBezTo>
                  <a:pt x="1482" y="404"/>
                  <a:pt x="1481" y="404"/>
                  <a:pt x="1481" y="404"/>
                </a:cubicBezTo>
                <a:cubicBezTo>
                  <a:pt x="1481" y="404"/>
                  <a:pt x="1481" y="404"/>
                  <a:pt x="1481" y="404"/>
                </a:cubicBezTo>
                <a:cubicBezTo>
                  <a:pt x="1480" y="402"/>
                  <a:pt x="1479" y="401"/>
                  <a:pt x="1479" y="399"/>
                </a:cubicBezTo>
                <a:cubicBezTo>
                  <a:pt x="1484" y="400"/>
                  <a:pt x="1494" y="403"/>
                  <a:pt x="1499" y="407"/>
                </a:cubicBezTo>
                <a:cubicBezTo>
                  <a:pt x="1506" y="412"/>
                  <a:pt x="1512" y="418"/>
                  <a:pt x="1522" y="419"/>
                </a:cubicBezTo>
                <a:cubicBezTo>
                  <a:pt x="1525" y="419"/>
                  <a:pt x="1528" y="418"/>
                  <a:pt x="1531" y="415"/>
                </a:cubicBezTo>
                <a:cubicBezTo>
                  <a:pt x="1537" y="411"/>
                  <a:pt x="1545" y="408"/>
                  <a:pt x="1550" y="402"/>
                </a:cubicBezTo>
                <a:cubicBezTo>
                  <a:pt x="1554" y="397"/>
                  <a:pt x="1562" y="385"/>
                  <a:pt x="1562" y="385"/>
                </a:cubicBezTo>
                <a:cubicBezTo>
                  <a:pt x="1563" y="383"/>
                  <a:pt x="1564" y="381"/>
                  <a:pt x="1563" y="379"/>
                </a:cubicBezTo>
                <a:cubicBezTo>
                  <a:pt x="1562" y="377"/>
                  <a:pt x="1560" y="376"/>
                  <a:pt x="1558" y="376"/>
                </a:cubicBezTo>
                <a:cubicBezTo>
                  <a:pt x="1558" y="376"/>
                  <a:pt x="1550" y="374"/>
                  <a:pt x="1541" y="372"/>
                </a:cubicBezTo>
                <a:cubicBezTo>
                  <a:pt x="1536" y="371"/>
                  <a:pt x="1532" y="370"/>
                  <a:pt x="1528" y="369"/>
                </a:cubicBezTo>
                <a:cubicBezTo>
                  <a:pt x="1527" y="368"/>
                  <a:pt x="1525" y="368"/>
                  <a:pt x="1524" y="368"/>
                </a:cubicBezTo>
                <a:cubicBezTo>
                  <a:pt x="1524" y="367"/>
                  <a:pt x="1523" y="368"/>
                  <a:pt x="1523" y="368"/>
                </a:cubicBezTo>
                <a:cubicBezTo>
                  <a:pt x="1523" y="368"/>
                  <a:pt x="1523" y="368"/>
                  <a:pt x="1523" y="368"/>
                </a:cubicBezTo>
                <a:cubicBezTo>
                  <a:pt x="1520" y="360"/>
                  <a:pt x="1514" y="358"/>
                  <a:pt x="1509" y="354"/>
                </a:cubicBezTo>
                <a:cubicBezTo>
                  <a:pt x="1503" y="351"/>
                  <a:pt x="1498" y="348"/>
                  <a:pt x="1493" y="347"/>
                </a:cubicBezTo>
                <a:cubicBezTo>
                  <a:pt x="1489" y="347"/>
                  <a:pt x="1487" y="348"/>
                  <a:pt x="1485" y="349"/>
                </a:cubicBezTo>
                <a:cubicBezTo>
                  <a:pt x="1483" y="350"/>
                  <a:pt x="1481" y="350"/>
                  <a:pt x="1480" y="350"/>
                </a:cubicBezTo>
                <a:cubicBezTo>
                  <a:pt x="1478" y="350"/>
                  <a:pt x="1478" y="351"/>
                  <a:pt x="1477" y="347"/>
                </a:cubicBezTo>
                <a:cubicBezTo>
                  <a:pt x="1475" y="341"/>
                  <a:pt x="1473" y="333"/>
                  <a:pt x="1472" y="327"/>
                </a:cubicBezTo>
                <a:cubicBezTo>
                  <a:pt x="1472" y="324"/>
                  <a:pt x="1471" y="321"/>
                  <a:pt x="1470" y="319"/>
                </a:cubicBezTo>
                <a:cubicBezTo>
                  <a:pt x="1469" y="316"/>
                  <a:pt x="1468" y="313"/>
                  <a:pt x="1464" y="311"/>
                </a:cubicBezTo>
                <a:cubicBezTo>
                  <a:pt x="1460" y="310"/>
                  <a:pt x="1448" y="308"/>
                  <a:pt x="1434" y="305"/>
                </a:cubicBezTo>
                <a:cubicBezTo>
                  <a:pt x="1427" y="304"/>
                  <a:pt x="1420" y="302"/>
                  <a:pt x="1415" y="301"/>
                </a:cubicBezTo>
                <a:cubicBezTo>
                  <a:pt x="1410" y="300"/>
                  <a:pt x="1405" y="298"/>
                  <a:pt x="1405" y="298"/>
                </a:cubicBezTo>
                <a:cubicBezTo>
                  <a:pt x="1401" y="295"/>
                  <a:pt x="1392" y="292"/>
                  <a:pt x="1383" y="288"/>
                </a:cubicBezTo>
                <a:cubicBezTo>
                  <a:pt x="1374" y="285"/>
                  <a:pt x="1365" y="280"/>
                  <a:pt x="1360" y="278"/>
                </a:cubicBezTo>
                <a:cubicBezTo>
                  <a:pt x="1350" y="271"/>
                  <a:pt x="1335" y="260"/>
                  <a:pt x="1322" y="260"/>
                </a:cubicBezTo>
                <a:cubicBezTo>
                  <a:pt x="1313" y="260"/>
                  <a:pt x="1283" y="264"/>
                  <a:pt x="1272" y="264"/>
                </a:cubicBezTo>
                <a:cubicBezTo>
                  <a:pt x="1271" y="264"/>
                  <a:pt x="1270" y="264"/>
                  <a:pt x="1270" y="264"/>
                </a:cubicBezTo>
                <a:cubicBezTo>
                  <a:pt x="1268" y="264"/>
                  <a:pt x="1266" y="264"/>
                  <a:pt x="1265" y="264"/>
                </a:cubicBezTo>
                <a:cubicBezTo>
                  <a:pt x="1255" y="264"/>
                  <a:pt x="1239" y="267"/>
                  <a:pt x="1232" y="268"/>
                </a:cubicBezTo>
                <a:cubicBezTo>
                  <a:pt x="1230" y="269"/>
                  <a:pt x="1228" y="270"/>
                  <a:pt x="1226" y="271"/>
                </a:cubicBezTo>
                <a:cubicBezTo>
                  <a:pt x="1225" y="273"/>
                  <a:pt x="1225" y="275"/>
                  <a:pt x="1225" y="277"/>
                </a:cubicBezTo>
                <a:cubicBezTo>
                  <a:pt x="1225" y="283"/>
                  <a:pt x="1228" y="287"/>
                  <a:pt x="1227" y="290"/>
                </a:cubicBezTo>
                <a:cubicBezTo>
                  <a:pt x="1227" y="291"/>
                  <a:pt x="1229" y="290"/>
                  <a:pt x="1224" y="292"/>
                </a:cubicBezTo>
                <a:cubicBezTo>
                  <a:pt x="1222" y="292"/>
                  <a:pt x="1220" y="293"/>
                  <a:pt x="1219" y="293"/>
                </a:cubicBezTo>
                <a:cubicBezTo>
                  <a:pt x="1219" y="291"/>
                  <a:pt x="1220" y="288"/>
                  <a:pt x="1220" y="285"/>
                </a:cubicBezTo>
                <a:cubicBezTo>
                  <a:pt x="1221" y="283"/>
                  <a:pt x="1221" y="280"/>
                  <a:pt x="1221" y="278"/>
                </a:cubicBezTo>
                <a:cubicBezTo>
                  <a:pt x="1221" y="272"/>
                  <a:pt x="1219" y="267"/>
                  <a:pt x="1215" y="263"/>
                </a:cubicBezTo>
                <a:cubicBezTo>
                  <a:pt x="1214" y="261"/>
                  <a:pt x="1212" y="260"/>
                  <a:pt x="1210" y="260"/>
                </a:cubicBezTo>
                <a:cubicBezTo>
                  <a:pt x="1210" y="260"/>
                  <a:pt x="1210" y="260"/>
                  <a:pt x="1211" y="260"/>
                </a:cubicBezTo>
                <a:cubicBezTo>
                  <a:pt x="1213" y="260"/>
                  <a:pt x="1216" y="259"/>
                  <a:pt x="1219" y="260"/>
                </a:cubicBezTo>
                <a:cubicBezTo>
                  <a:pt x="1234" y="261"/>
                  <a:pt x="1256" y="263"/>
                  <a:pt x="1271" y="263"/>
                </a:cubicBezTo>
                <a:cubicBezTo>
                  <a:pt x="1274" y="263"/>
                  <a:pt x="1276" y="263"/>
                  <a:pt x="1278" y="263"/>
                </a:cubicBezTo>
                <a:cubicBezTo>
                  <a:pt x="1286" y="262"/>
                  <a:pt x="1291" y="260"/>
                  <a:pt x="1295" y="257"/>
                </a:cubicBezTo>
                <a:cubicBezTo>
                  <a:pt x="1299" y="254"/>
                  <a:pt x="1301" y="250"/>
                  <a:pt x="1302" y="249"/>
                </a:cubicBezTo>
                <a:cubicBezTo>
                  <a:pt x="1302" y="248"/>
                  <a:pt x="1302" y="247"/>
                  <a:pt x="1302" y="246"/>
                </a:cubicBezTo>
                <a:cubicBezTo>
                  <a:pt x="1302" y="242"/>
                  <a:pt x="1300" y="241"/>
                  <a:pt x="1299" y="240"/>
                </a:cubicBezTo>
                <a:cubicBezTo>
                  <a:pt x="1295" y="237"/>
                  <a:pt x="1289" y="235"/>
                  <a:pt x="1282" y="233"/>
                </a:cubicBezTo>
                <a:cubicBezTo>
                  <a:pt x="1275" y="231"/>
                  <a:pt x="1269" y="230"/>
                  <a:pt x="1264" y="230"/>
                </a:cubicBezTo>
                <a:cubicBezTo>
                  <a:pt x="1263" y="230"/>
                  <a:pt x="1262" y="230"/>
                  <a:pt x="1261" y="230"/>
                </a:cubicBezTo>
                <a:cubicBezTo>
                  <a:pt x="1259" y="231"/>
                  <a:pt x="1247" y="231"/>
                  <a:pt x="1235" y="231"/>
                </a:cubicBezTo>
                <a:cubicBezTo>
                  <a:pt x="1223" y="231"/>
                  <a:pt x="1210" y="231"/>
                  <a:pt x="1205" y="230"/>
                </a:cubicBezTo>
                <a:cubicBezTo>
                  <a:pt x="1199" y="230"/>
                  <a:pt x="1193" y="230"/>
                  <a:pt x="1186" y="230"/>
                </a:cubicBezTo>
                <a:cubicBezTo>
                  <a:pt x="1180" y="230"/>
                  <a:pt x="1174" y="228"/>
                  <a:pt x="1169" y="232"/>
                </a:cubicBezTo>
                <a:cubicBezTo>
                  <a:pt x="1169" y="232"/>
                  <a:pt x="1168" y="232"/>
                  <a:pt x="1168" y="232"/>
                </a:cubicBezTo>
                <a:cubicBezTo>
                  <a:pt x="1163" y="232"/>
                  <a:pt x="1157" y="225"/>
                  <a:pt x="1150" y="220"/>
                </a:cubicBezTo>
                <a:cubicBezTo>
                  <a:pt x="1147" y="218"/>
                  <a:pt x="1141" y="213"/>
                  <a:pt x="1135" y="208"/>
                </a:cubicBezTo>
                <a:cubicBezTo>
                  <a:pt x="1129" y="204"/>
                  <a:pt x="1123" y="199"/>
                  <a:pt x="1116" y="197"/>
                </a:cubicBezTo>
                <a:cubicBezTo>
                  <a:pt x="1107" y="196"/>
                  <a:pt x="1109" y="196"/>
                  <a:pt x="1090" y="190"/>
                </a:cubicBezTo>
                <a:cubicBezTo>
                  <a:pt x="1085" y="189"/>
                  <a:pt x="1078" y="187"/>
                  <a:pt x="1073" y="186"/>
                </a:cubicBezTo>
                <a:cubicBezTo>
                  <a:pt x="1071" y="185"/>
                  <a:pt x="1068" y="184"/>
                  <a:pt x="1067" y="184"/>
                </a:cubicBezTo>
                <a:cubicBezTo>
                  <a:pt x="1067" y="184"/>
                  <a:pt x="1067" y="184"/>
                  <a:pt x="1067" y="184"/>
                </a:cubicBezTo>
                <a:cubicBezTo>
                  <a:pt x="1067" y="184"/>
                  <a:pt x="1067" y="183"/>
                  <a:pt x="1067" y="183"/>
                </a:cubicBezTo>
                <a:cubicBezTo>
                  <a:pt x="1066" y="182"/>
                  <a:pt x="1064" y="180"/>
                  <a:pt x="1062" y="180"/>
                </a:cubicBezTo>
                <a:cubicBezTo>
                  <a:pt x="1059" y="181"/>
                  <a:pt x="1058" y="182"/>
                  <a:pt x="1057" y="182"/>
                </a:cubicBezTo>
                <a:cubicBezTo>
                  <a:pt x="1056" y="184"/>
                  <a:pt x="1056" y="184"/>
                  <a:pt x="1056" y="185"/>
                </a:cubicBezTo>
                <a:cubicBezTo>
                  <a:pt x="1055" y="187"/>
                  <a:pt x="1055" y="190"/>
                  <a:pt x="1055" y="193"/>
                </a:cubicBezTo>
                <a:cubicBezTo>
                  <a:pt x="1055" y="198"/>
                  <a:pt x="1056" y="205"/>
                  <a:pt x="1063" y="209"/>
                </a:cubicBezTo>
                <a:cubicBezTo>
                  <a:pt x="1071" y="214"/>
                  <a:pt x="1085" y="222"/>
                  <a:pt x="1096" y="227"/>
                </a:cubicBezTo>
                <a:cubicBezTo>
                  <a:pt x="1102" y="230"/>
                  <a:pt x="1109" y="231"/>
                  <a:pt x="1115" y="233"/>
                </a:cubicBezTo>
                <a:cubicBezTo>
                  <a:pt x="1122" y="235"/>
                  <a:pt x="1127" y="237"/>
                  <a:pt x="1128" y="240"/>
                </a:cubicBezTo>
                <a:cubicBezTo>
                  <a:pt x="1137" y="252"/>
                  <a:pt x="1158" y="258"/>
                  <a:pt x="1158" y="258"/>
                </a:cubicBezTo>
                <a:cubicBezTo>
                  <a:pt x="1160" y="259"/>
                  <a:pt x="1160" y="259"/>
                  <a:pt x="1160" y="259"/>
                </a:cubicBezTo>
                <a:cubicBezTo>
                  <a:pt x="1184" y="261"/>
                  <a:pt x="1184" y="261"/>
                  <a:pt x="1184" y="261"/>
                </a:cubicBezTo>
                <a:cubicBezTo>
                  <a:pt x="1178" y="265"/>
                  <a:pt x="1170" y="268"/>
                  <a:pt x="1163" y="271"/>
                </a:cubicBezTo>
                <a:cubicBezTo>
                  <a:pt x="1160" y="272"/>
                  <a:pt x="1156" y="274"/>
                  <a:pt x="1153" y="276"/>
                </a:cubicBezTo>
                <a:cubicBezTo>
                  <a:pt x="1151" y="278"/>
                  <a:pt x="1148" y="282"/>
                  <a:pt x="1148" y="287"/>
                </a:cubicBezTo>
                <a:cubicBezTo>
                  <a:pt x="1147" y="289"/>
                  <a:pt x="1148" y="291"/>
                  <a:pt x="1149" y="293"/>
                </a:cubicBezTo>
                <a:cubicBezTo>
                  <a:pt x="1151" y="296"/>
                  <a:pt x="1151" y="298"/>
                  <a:pt x="1151" y="303"/>
                </a:cubicBezTo>
                <a:cubicBezTo>
                  <a:pt x="1152" y="308"/>
                  <a:pt x="1154" y="315"/>
                  <a:pt x="1161" y="320"/>
                </a:cubicBezTo>
                <a:cubicBezTo>
                  <a:pt x="1167" y="326"/>
                  <a:pt x="1172" y="329"/>
                  <a:pt x="1178" y="331"/>
                </a:cubicBezTo>
                <a:cubicBezTo>
                  <a:pt x="1178" y="331"/>
                  <a:pt x="1177" y="331"/>
                  <a:pt x="1177" y="331"/>
                </a:cubicBezTo>
                <a:cubicBezTo>
                  <a:pt x="1172" y="331"/>
                  <a:pt x="1168" y="334"/>
                  <a:pt x="1164" y="337"/>
                </a:cubicBezTo>
                <a:cubicBezTo>
                  <a:pt x="1162" y="338"/>
                  <a:pt x="1160" y="340"/>
                  <a:pt x="1159" y="341"/>
                </a:cubicBezTo>
                <a:cubicBezTo>
                  <a:pt x="1159" y="340"/>
                  <a:pt x="1158" y="339"/>
                  <a:pt x="1158" y="338"/>
                </a:cubicBezTo>
                <a:cubicBezTo>
                  <a:pt x="1153" y="327"/>
                  <a:pt x="1142" y="318"/>
                  <a:pt x="1138" y="316"/>
                </a:cubicBezTo>
                <a:cubicBezTo>
                  <a:pt x="1136" y="312"/>
                  <a:pt x="1128" y="301"/>
                  <a:pt x="1122" y="295"/>
                </a:cubicBezTo>
                <a:cubicBezTo>
                  <a:pt x="1120" y="293"/>
                  <a:pt x="1118" y="292"/>
                  <a:pt x="1116" y="290"/>
                </a:cubicBezTo>
                <a:cubicBezTo>
                  <a:pt x="1122" y="290"/>
                  <a:pt x="1129" y="289"/>
                  <a:pt x="1133" y="288"/>
                </a:cubicBezTo>
                <a:cubicBezTo>
                  <a:pt x="1142" y="287"/>
                  <a:pt x="1144" y="279"/>
                  <a:pt x="1145" y="273"/>
                </a:cubicBezTo>
                <a:cubicBezTo>
                  <a:pt x="1145" y="269"/>
                  <a:pt x="1142" y="261"/>
                  <a:pt x="1134" y="260"/>
                </a:cubicBezTo>
                <a:cubicBezTo>
                  <a:pt x="1132" y="260"/>
                  <a:pt x="1130" y="259"/>
                  <a:pt x="1127" y="257"/>
                </a:cubicBezTo>
                <a:cubicBezTo>
                  <a:pt x="1124" y="256"/>
                  <a:pt x="1121" y="254"/>
                  <a:pt x="1116" y="253"/>
                </a:cubicBezTo>
                <a:cubicBezTo>
                  <a:pt x="1115" y="253"/>
                  <a:pt x="1114" y="253"/>
                  <a:pt x="1113" y="254"/>
                </a:cubicBezTo>
                <a:cubicBezTo>
                  <a:pt x="1114" y="252"/>
                  <a:pt x="1115" y="250"/>
                  <a:pt x="1115" y="248"/>
                </a:cubicBezTo>
                <a:cubicBezTo>
                  <a:pt x="1115" y="247"/>
                  <a:pt x="1115" y="245"/>
                  <a:pt x="1115" y="244"/>
                </a:cubicBezTo>
                <a:cubicBezTo>
                  <a:pt x="1115" y="244"/>
                  <a:pt x="1115" y="244"/>
                  <a:pt x="1115" y="244"/>
                </a:cubicBezTo>
                <a:cubicBezTo>
                  <a:pt x="1111" y="235"/>
                  <a:pt x="1101" y="230"/>
                  <a:pt x="1093" y="230"/>
                </a:cubicBezTo>
                <a:cubicBezTo>
                  <a:pt x="1086" y="230"/>
                  <a:pt x="1079" y="233"/>
                  <a:pt x="1076" y="241"/>
                </a:cubicBezTo>
                <a:cubicBezTo>
                  <a:pt x="1076" y="242"/>
                  <a:pt x="1076" y="243"/>
                  <a:pt x="1076" y="244"/>
                </a:cubicBezTo>
                <a:cubicBezTo>
                  <a:pt x="1076" y="251"/>
                  <a:pt x="1081" y="254"/>
                  <a:pt x="1086" y="256"/>
                </a:cubicBezTo>
                <a:cubicBezTo>
                  <a:pt x="1090" y="258"/>
                  <a:pt x="1095" y="259"/>
                  <a:pt x="1100" y="259"/>
                </a:cubicBezTo>
                <a:cubicBezTo>
                  <a:pt x="1101" y="259"/>
                  <a:pt x="1101" y="259"/>
                  <a:pt x="1102" y="259"/>
                </a:cubicBezTo>
                <a:cubicBezTo>
                  <a:pt x="1099" y="260"/>
                  <a:pt x="1096" y="262"/>
                  <a:pt x="1093" y="263"/>
                </a:cubicBezTo>
                <a:cubicBezTo>
                  <a:pt x="1089" y="266"/>
                  <a:pt x="1086" y="268"/>
                  <a:pt x="1084" y="270"/>
                </a:cubicBezTo>
                <a:cubicBezTo>
                  <a:pt x="1081" y="273"/>
                  <a:pt x="1078" y="275"/>
                  <a:pt x="1078" y="280"/>
                </a:cubicBezTo>
                <a:cubicBezTo>
                  <a:pt x="1078" y="281"/>
                  <a:pt x="1078" y="282"/>
                  <a:pt x="1079" y="283"/>
                </a:cubicBezTo>
                <a:cubicBezTo>
                  <a:pt x="1081" y="289"/>
                  <a:pt x="1086" y="292"/>
                  <a:pt x="1094" y="293"/>
                </a:cubicBezTo>
                <a:cubicBezTo>
                  <a:pt x="1093" y="295"/>
                  <a:pt x="1092" y="297"/>
                  <a:pt x="1091" y="299"/>
                </a:cubicBezTo>
                <a:cubicBezTo>
                  <a:pt x="1091" y="301"/>
                  <a:pt x="1091" y="302"/>
                  <a:pt x="1091" y="303"/>
                </a:cubicBezTo>
                <a:cubicBezTo>
                  <a:pt x="1091" y="311"/>
                  <a:pt x="1094" y="318"/>
                  <a:pt x="1098" y="329"/>
                </a:cubicBezTo>
                <a:cubicBezTo>
                  <a:pt x="1101" y="336"/>
                  <a:pt x="1103" y="347"/>
                  <a:pt x="1103" y="354"/>
                </a:cubicBezTo>
                <a:cubicBezTo>
                  <a:pt x="1103" y="356"/>
                  <a:pt x="1103" y="357"/>
                  <a:pt x="1103" y="358"/>
                </a:cubicBezTo>
                <a:cubicBezTo>
                  <a:pt x="1095" y="360"/>
                  <a:pt x="1093" y="361"/>
                  <a:pt x="1086" y="364"/>
                </a:cubicBezTo>
                <a:cubicBezTo>
                  <a:pt x="1085" y="364"/>
                  <a:pt x="1085" y="364"/>
                  <a:pt x="1084" y="364"/>
                </a:cubicBezTo>
                <a:cubicBezTo>
                  <a:pt x="1084" y="364"/>
                  <a:pt x="1084" y="364"/>
                  <a:pt x="1084" y="364"/>
                </a:cubicBezTo>
                <a:cubicBezTo>
                  <a:pt x="1084" y="364"/>
                  <a:pt x="1084" y="363"/>
                  <a:pt x="1083" y="362"/>
                </a:cubicBezTo>
                <a:cubicBezTo>
                  <a:pt x="1083" y="360"/>
                  <a:pt x="1082" y="357"/>
                  <a:pt x="1082" y="354"/>
                </a:cubicBezTo>
                <a:cubicBezTo>
                  <a:pt x="1082" y="345"/>
                  <a:pt x="1080" y="337"/>
                  <a:pt x="1080" y="333"/>
                </a:cubicBezTo>
                <a:cubicBezTo>
                  <a:pt x="1080" y="333"/>
                  <a:pt x="1080" y="332"/>
                  <a:pt x="1080" y="332"/>
                </a:cubicBezTo>
                <a:cubicBezTo>
                  <a:pt x="1080" y="332"/>
                  <a:pt x="1080" y="332"/>
                  <a:pt x="1080" y="332"/>
                </a:cubicBezTo>
                <a:cubicBezTo>
                  <a:pt x="1081" y="331"/>
                  <a:pt x="1081" y="330"/>
                  <a:pt x="1081" y="329"/>
                </a:cubicBezTo>
                <a:cubicBezTo>
                  <a:pt x="1082" y="327"/>
                  <a:pt x="1080" y="324"/>
                  <a:pt x="1078" y="323"/>
                </a:cubicBezTo>
                <a:cubicBezTo>
                  <a:pt x="1076" y="322"/>
                  <a:pt x="1075" y="322"/>
                  <a:pt x="1075" y="322"/>
                </a:cubicBezTo>
                <a:cubicBezTo>
                  <a:pt x="1070" y="322"/>
                  <a:pt x="1066" y="324"/>
                  <a:pt x="1060" y="324"/>
                </a:cubicBezTo>
                <a:cubicBezTo>
                  <a:pt x="1059" y="324"/>
                  <a:pt x="1057" y="324"/>
                  <a:pt x="1056" y="323"/>
                </a:cubicBezTo>
                <a:cubicBezTo>
                  <a:pt x="1054" y="323"/>
                  <a:pt x="1052" y="323"/>
                  <a:pt x="1050" y="323"/>
                </a:cubicBezTo>
                <a:cubicBezTo>
                  <a:pt x="1046" y="323"/>
                  <a:pt x="1043" y="324"/>
                  <a:pt x="1040" y="325"/>
                </a:cubicBezTo>
                <a:cubicBezTo>
                  <a:pt x="1037" y="327"/>
                  <a:pt x="1034" y="330"/>
                  <a:pt x="1034" y="334"/>
                </a:cubicBezTo>
                <a:cubicBezTo>
                  <a:pt x="1034" y="340"/>
                  <a:pt x="1039" y="343"/>
                  <a:pt x="1043" y="345"/>
                </a:cubicBezTo>
                <a:cubicBezTo>
                  <a:pt x="1047" y="346"/>
                  <a:pt x="1049" y="350"/>
                  <a:pt x="1049" y="353"/>
                </a:cubicBezTo>
                <a:cubicBezTo>
                  <a:pt x="1049" y="356"/>
                  <a:pt x="1048" y="357"/>
                  <a:pt x="1046" y="358"/>
                </a:cubicBezTo>
                <a:cubicBezTo>
                  <a:pt x="1045" y="359"/>
                  <a:pt x="1038" y="360"/>
                  <a:pt x="1031" y="360"/>
                </a:cubicBezTo>
                <a:cubicBezTo>
                  <a:pt x="1015" y="360"/>
                  <a:pt x="995" y="358"/>
                  <a:pt x="987" y="358"/>
                </a:cubicBezTo>
                <a:cubicBezTo>
                  <a:pt x="980" y="358"/>
                  <a:pt x="972" y="359"/>
                  <a:pt x="966" y="359"/>
                </a:cubicBezTo>
                <a:cubicBezTo>
                  <a:pt x="963" y="359"/>
                  <a:pt x="960" y="359"/>
                  <a:pt x="959" y="358"/>
                </a:cubicBezTo>
                <a:cubicBezTo>
                  <a:pt x="957" y="358"/>
                  <a:pt x="958" y="357"/>
                  <a:pt x="958" y="357"/>
                </a:cubicBezTo>
                <a:cubicBezTo>
                  <a:pt x="957" y="357"/>
                  <a:pt x="957" y="357"/>
                  <a:pt x="957" y="357"/>
                </a:cubicBezTo>
                <a:cubicBezTo>
                  <a:pt x="957" y="357"/>
                  <a:pt x="957" y="357"/>
                  <a:pt x="958" y="357"/>
                </a:cubicBezTo>
                <a:cubicBezTo>
                  <a:pt x="959" y="355"/>
                  <a:pt x="967" y="352"/>
                  <a:pt x="970" y="352"/>
                </a:cubicBezTo>
                <a:cubicBezTo>
                  <a:pt x="972" y="352"/>
                  <a:pt x="973" y="352"/>
                  <a:pt x="975" y="352"/>
                </a:cubicBezTo>
                <a:cubicBezTo>
                  <a:pt x="986" y="352"/>
                  <a:pt x="1006" y="352"/>
                  <a:pt x="1017" y="335"/>
                </a:cubicBezTo>
                <a:cubicBezTo>
                  <a:pt x="1019" y="332"/>
                  <a:pt x="1020" y="329"/>
                  <a:pt x="1020" y="325"/>
                </a:cubicBezTo>
                <a:cubicBezTo>
                  <a:pt x="1020" y="317"/>
                  <a:pt x="1013" y="312"/>
                  <a:pt x="1007" y="311"/>
                </a:cubicBezTo>
                <a:cubicBezTo>
                  <a:pt x="1001" y="309"/>
                  <a:pt x="995" y="308"/>
                  <a:pt x="991" y="308"/>
                </a:cubicBezTo>
                <a:cubicBezTo>
                  <a:pt x="984" y="308"/>
                  <a:pt x="980" y="306"/>
                  <a:pt x="969" y="294"/>
                </a:cubicBezTo>
                <a:cubicBezTo>
                  <a:pt x="968" y="292"/>
                  <a:pt x="967" y="291"/>
                  <a:pt x="967" y="290"/>
                </a:cubicBezTo>
                <a:cubicBezTo>
                  <a:pt x="967" y="288"/>
                  <a:pt x="968" y="286"/>
                  <a:pt x="970" y="283"/>
                </a:cubicBezTo>
                <a:cubicBezTo>
                  <a:pt x="972" y="281"/>
                  <a:pt x="975" y="279"/>
                  <a:pt x="975" y="273"/>
                </a:cubicBezTo>
                <a:cubicBezTo>
                  <a:pt x="975" y="272"/>
                  <a:pt x="975" y="270"/>
                  <a:pt x="975" y="269"/>
                </a:cubicBezTo>
                <a:cubicBezTo>
                  <a:pt x="974" y="267"/>
                  <a:pt x="973" y="268"/>
                  <a:pt x="972" y="264"/>
                </a:cubicBezTo>
                <a:cubicBezTo>
                  <a:pt x="972" y="264"/>
                  <a:pt x="972" y="264"/>
                  <a:pt x="972" y="264"/>
                </a:cubicBezTo>
                <a:cubicBezTo>
                  <a:pt x="973" y="264"/>
                  <a:pt x="974" y="265"/>
                  <a:pt x="975" y="264"/>
                </a:cubicBezTo>
                <a:cubicBezTo>
                  <a:pt x="983" y="261"/>
                  <a:pt x="984" y="255"/>
                  <a:pt x="987" y="251"/>
                </a:cubicBezTo>
                <a:cubicBezTo>
                  <a:pt x="988" y="249"/>
                  <a:pt x="989" y="247"/>
                  <a:pt x="990" y="246"/>
                </a:cubicBezTo>
                <a:cubicBezTo>
                  <a:pt x="990" y="246"/>
                  <a:pt x="990" y="246"/>
                  <a:pt x="990" y="246"/>
                </a:cubicBezTo>
                <a:cubicBezTo>
                  <a:pt x="994" y="245"/>
                  <a:pt x="1000" y="244"/>
                  <a:pt x="1007" y="244"/>
                </a:cubicBezTo>
                <a:cubicBezTo>
                  <a:pt x="1009" y="244"/>
                  <a:pt x="1011" y="244"/>
                  <a:pt x="1013" y="245"/>
                </a:cubicBezTo>
                <a:cubicBezTo>
                  <a:pt x="1014" y="245"/>
                  <a:pt x="1014" y="245"/>
                  <a:pt x="1014" y="246"/>
                </a:cubicBezTo>
                <a:cubicBezTo>
                  <a:pt x="1015" y="249"/>
                  <a:pt x="1016" y="251"/>
                  <a:pt x="1018" y="253"/>
                </a:cubicBezTo>
                <a:cubicBezTo>
                  <a:pt x="1019" y="255"/>
                  <a:pt x="1023" y="256"/>
                  <a:pt x="1025" y="256"/>
                </a:cubicBezTo>
                <a:cubicBezTo>
                  <a:pt x="1028" y="256"/>
                  <a:pt x="1029" y="256"/>
                  <a:pt x="1031" y="256"/>
                </a:cubicBezTo>
                <a:cubicBezTo>
                  <a:pt x="1032" y="256"/>
                  <a:pt x="1033" y="256"/>
                  <a:pt x="1034" y="256"/>
                </a:cubicBezTo>
                <a:cubicBezTo>
                  <a:pt x="1034" y="256"/>
                  <a:pt x="1035" y="256"/>
                  <a:pt x="1035" y="256"/>
                </a:cubicBezTo>
                <a:cubicBezTo>
                  <a:pt x="1043" y="256"/>
                  <a:pt x="1049" y="251"/>
                  <a:pt x="1053" y="247"/>
                </a:cubicBezTo>
                <a:cubicBezTo>
                  <a:pt x="1057" y="242"/>
                  <a:pt x="1059" y="238"/>
                  <a:pt x="1060" y="234"/>
                </a:cubicBezTo>
                <a:cubicBezTo>
                  <a:pt x="1060" y="233"/>
                  <a:pt x="1060" y="232"/>
                  <a:pt x="1060" y="232"/>
                </a:cubicBezTo>
                <a:cubicBezTo>
                  <a:pt x="1060" y="223"/>
                  <a:pt x="1052" y="214"/>
                  <a:pt x="1038" y="214"/>
                </a:cubicBezTo>
                <a:cubicBezTo>
                  <a:pt x="1037" y="214"/>
                  <a:pt x="1035" y="214"/>
                  <a:pt x="1034" y="215"/>
                </a:cubicBezTo>
                <a:cubicBezTo>
                  <a:pt x="1031" y="215"/>
                  <a:pt x="1028" y="215"/>
                  <a:pt x="1023" y="215"/>
                </a:cubicBezTo>
                <a:cubicBezTo>
                  <a:pt x="1015" y="215"/>
                  <a:pt x="1005" y="215"/>
                  <a:pt x="995" y="215"/>
                </a:cubicBezTo>
                <a:cubicBezTo>
                  <a:pt x="989" y="215"/>
                  <a:pt x="983" y="215"/>
                  <a:pt x="978" y="215"/>
                </a:cubicBezTo>
                <a:cubicBezTo>
                  <a:pt x="973" y="216"/>
                  <a:pt x="969" y="216"/>
                  <a:pt x="965" y="220"/>
                </a:cubicBezTo>
                <a:cubicBezTo>
                  <a:pt x="965" y="220"/>
                  <a:pt x="965" y="220"/>
                  <a:pt x="965" y="220"/>
                </a:cubicBezTo>
                <a:cubicBezTo>
                  <a:pt x="961" y="224"/>
                  <a:pt x="961" y="230"/>
                  <a:pt x="960" y="234"/>
                </a:cubicBezTo>
                <a:cubicBezTo>
                  <a:pt x="960" y="240"/>
                  <a:pt x="961" y="246"/>
                  <a:pt x="961" y="248"/>
                </a:cubicBezTo>
                <a:cubicBezTo>
                  <a:pt x="960" y="250"/>
                  <a:pt x="960" y="251"/>
                  <a:pt x="960" y="253"/>
                </a:cubicBezTo>
                <a:cubicBezTo>
                  <a:pt x="960" y="256"/>
                  <a:pt x="961" y="258"/>
                  <a:pt x="963" y="261"/>
                </a:cubicBezTo>
                <a:cubicBezTo>
                  <a:pt x="963" y="261"/>
                  <a:pt x="964" y="262"/>
                  <a:pt x="965" y="263"/>
                </a:cubicBezTo>
                <a:cubicBezTo>
                  <a:pt x="964" y="263"/>
                  <a:pt x="963" y="263"/>
                  <a:pt x="963" y="263"/>
                </a:cubicBezTo>
                <a:cubicBezTo>
                  <a:pt x="957" y="263"/>
                  <a:pt x="950" y="264"/>
                  <a:pt x="945" y="264"/>
                </a:cubicBezTo>
                <a:cubicBezTo>
                  <a:pt x="945" y="264"/>
                  <a:pt x="945" y="264"/>
                  <a:pt x="945" y="264"/>
                </a:cubicBezTo>
                <a:cubicBezTo>
                  <a:pt x="945" y="264"/>
                  <a:pt x="946" y="263"/>
                  <a:pt x="948" y="262"/>
                </a:cubicBezTo>
                <a:cubicBezTo>
                  <a:pt x="950" y="260"/>
                  <a:pt x="954" y="257"/>
                  <a:pt x="955" y="252"/>
                </a:cubicBezTo>
                <a:cubicBezTo>
                  <a:pt x="955" y="247"/>
                  <a:pt x="959" y="229"/>
                  <a:pt x="959" y="229"/>
                </a:cubicBezTo>
                <a:cubicBezTo>
                  <a:pt x="959" y="228"/>
                  <a:pt x="959" y="227"/>
                  <a:pt x="959" y="225"/>
                </a:cubicBezTo>
                <a:cubicBezTo>
                  <a:pt x="958" y="225"/>
                  <a:pt x="956" y="216"/>
                  <a:pt x="945" y="215"/>
                </a:cubicBezTo>
                <a:cubicBezTo>
                  <a:pt x="942" y="215"/>
                  <a:pt x="940" y="216"/>
                  <a:pt x="938" y="217"/>
                </a:cubicBezTo>
                <a:cubicBezTo>
                  <a:pt x="931" y="221"/>
                  <a:pt x="928" y="223"/>
                  <a:pt x="927" y="222"/>
                </a:cubicBezTo>
                <a:cubicBezTo>
                  <a:pt x="927" y="222"/>
                  <a:pt x="928" y="222"/>
                  <a:pt x="924" y="222"/>
                </a:cubicBezTo>
                <a:cubicBezTo>
                  <a:pt x="924" y="222"/>
                  <a:pt x="924" y="222"/>
                  <a:pt x="924" y="222"/>
                </a:cubicBezTo>
                <a:cubicBezTo>
                  <a:pt x="924" y="222"/>
                  <a:pt x="923" y="219"/>
                  <a:pt x="920" y="216"/>
                </a:cubicBezTo>
                <a:cubicBezTo>
                  <a:pt x="918" y="212"/>
                  <a:pt x="914" y="208"/>
                  <a:pt x="907" y="208"/>
                </a:cubicBezTo>
                <a:cubicBezTo>
                  <a:pt x="906" y="208"/>
                  <a:pt x="905" y="208"/>
                  <a:pt x="903" y="208"/>
                </a:cubicBezTo>
                <a:cubicBezTo>
                  <a:pt x="888" y="211"/>
                  <a:pt x="884" y="223"/>
                  <a:pt x="882" y="224"/>
                </a:cubicBezTo>
                <a:cubicBezTo>
                  <a:pt x="881" y="226"/>
                  <a:pt x="875" y="228"/>
                  <a:pt x="874" y="228"/>
                </a:cubicBezTo>
                <a:cubicBezTo>
                  <a:pt x="874" y="228"/>
                  <a:pt x="874" y="228"/>
                  <a:pt x="874" y="228"/>
                </a:cubicBezTo>
                <a:cubicBezTo>
                  <a:pt x="870" y="224"/>
                  <a:pt x="854" y="215"/>
                  <a:pt x="854" y="215"/>
                </a:cubicBezTo>
                <a:cubicBezTo>
                  <a:pt x="853" y="214"/>
                  <a:pt x="852" y="214"/>
                  <a:pt x="851" y="214"/>
                </a:cubicBezTo>
                <a:cubicBezTo>
                  <a:pt x="858" y="213"/>
                  <a:pt x="866" y="210"/>
                  <a:pt x="870" y="210"/>
                </a:cubicBezTo>
                <a:cubicBezTo>
                  <a:pt x="871" y="210"/>
                  <a:pt x="871" y="210"/>
                  <a:pt x="872" y="210"/>
                </a:cubicBezTo>
                <a:cubicBezTo>
                  <a:pt x="875" y="213"/>
                  <a:pt x="878" y="214"/>
                  <a:pt x="882" y="214"/>
                </a:cubicBezTo>
                <a:cubicBezTo>
                  <a:pt x="885" y="214"/>
                  <a:pt x="888" y="213"/>
                  <a:pt x="891" y="212"/>
                </a:cubicBezTo>
                <a:cubicBezTo>
                  <a:pt x="893" y="210"/>
                  <a:pt x="896" y="208"/>
                  <a:pt x="897" y="203"/>
                </a:cubicBezTo>
                <a:cubicBezTo>
                  <a:pt x="897" y="202"/>
                  <a:pt x="896" y="202"/>
                  <a:pt x="896" y="201"/>
                </a:cubicBezTo>
                <a:cubicBezTo>
                  <a:pt x="896" y="201"/>
                  <a:pt x="896" y="201"/>
                  <a:pt x="896" y="201"/>
                </a:cubicBezTo>
                <a:cubicBezTo>
                  <a:pt x="896" y="199"/>
                  <a:pt x="897" y="194"/>
                  <a:pt x="897" y="188"/>
                </a:cubicBezTo>
                <a:cubicBezTo>
                  <a:pt x="897" y="185"/>
                  <a:pt x="897" y="182"/>
                  <a:pt x="896" y="179"/>
                </a:cubicBezTo>
                <a:cubicBezTo>
                  <a:pt x="895" y="176"/>
                  <a:pt x="891" y="172"/>
                  <a:pt x="887" y="172"/>
                </a:cubicBezTo>
                <a:cubicBezTo>
                  <a:pt x="886" y="172"/>
                  <a:pt x="886" y="172"/>
                  <a:pt x="885" y="172"/>
                </a:cubicBezTo>
                <a:cubicBezTo>
                  <a:pt x="872" y="173"/>
                  <a:pt x="860" y="184"/>
                  <a:pt x="848" y="188"/>
                </a:cubicBezTo>
                <a:cubicBezTo>
                  <a:pt x="842" y="191"/>
                  <a:pt x="838" y="196"/>
                  <a:pt x="838" y="202"/>
                </a:cubicBezTo>
                <a:cubicBezTo>
                  <a:pt x="838" y="206"/>
                  <a:pt x="841" y="212"/>
                  <a:pt x="847" y="213"/>
                </a:cubicBezTo>
                <a:cubicBezTo>
                  <a:pt x="843" y="213"/>
                  <a:pt x="838" y="213"/>
                  <a:pt x="832" y="212"/>
                </a:cubicBezTo>
                <a:cubicBezTo>
                  <a:pt x="828" y="211"/>
                  <a:pt x="823" y="211"/>
                  <a:pt x="820" y="210"/>
                </a:cubicBezTo>
                <a:cubicBezTo>
                  <a:pt x="819" y="210"/>
                  <a:pt x="818" y="209"/>
                  <a:pt x="817" y="209"/>
                </a:cubicBezTo>
                <a:cubicBezTo>
                  <a:pt x="815" y="202"/>
                  <a:pt x="807" y="193"/>
                  <a:pt x="792" y="193"/>
                </a:cubicBezTo>
                <a:cubicBezTo>
                  <a:pt x="790" y="193"/>
                  <a:pt x="788" y="193"/>
                  <a:pt x="787" y="193"/>
                </a:cubicBezTo>
                <a:cubicBezTo>
                  <a:pt x="777" y="194"/>
                  <a:pt x="766" y="198"/>
                  <a:pt x="756" y="201"/>
                </a:cubicBezTo>
                <a:cubicBezTo>
                  <a:pt x="751" y="203"/>
                  <a:pt x="746" y="204"/>
                  <a:pt x="742" y="206"/>
                </a:cubicBezTo>
                <a:cubicBezTo>
                  <a:pt x="741" y="206"/>
                  <a:pt x="739" y="207"/>
                  <a:pt x="738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5" y="207"/>
                  <a:pt x="733" y="208"/>
                  <a:pt x="732" y="209"/>
                </a:cubicBezTo>
                <a:cubicBezTo>
                  <a:pt x="730" y="211"/>
                  <a:pt x="729" y="213"/>
                  <a:pt x="729" y="214"/>
                </a:cubicBezTo>
                <a:cubicBezTo>
                  <a:pt x="730" y="216"/>
                  <a:pt x="730" y="217"/>
                  <a:pt x="730" y="218"/>
                </a:cubicBezTo>
                <a:cubicBezTo>
                  <a:pt x="728" y="218"/>
                  <a:pt x="725" y="219"/>
                  <a:pt x="722" y="220"/>
                </a:cubicBezTo>
                <a:cubicBezTo>
                  <a:pt x="719" y="221"/>
                  <a:pt x="715" y="225"/>
                  <a:pt x="714" y="230"/>
                </a:cubicBezTo>
                <a:cubicBezTo>
                  <a:pt x="714" y="231"/>
                  <a:pt x="714" y="232"/>
                  <a:pt x="714" y="233"/>
                </a:cubicBezTo>
                <a:cubicBezTo>
                  <a:pt x="713" y="236"/>
                  <a:pt x="715" y="239"/>
                  <a:pt x="717" y="240"/>
                </a:cubicBezTo>
                <a:cubicBezTo>
                  <a:pt x="723" y="244"/>
                  <a:pt x="729" y="243"/>
                  <a:pt x="736" y="243"/>
                </a:cubicBezTo>
                <a:cubicBezTo>
                  <a:pt x="736" y="243"/>
                  <a:pt x="736" y="243"/>
                  <a:pt x="737" y="243"/>
                </a:cubicBezTo>
                <a:cubicBezTo>
                  <a:pt x="742" y="243"/>
                  <a:pt x="748" y="243"/>
                  <a:pt x="754" y="243"/>
                </a:cubicBezTo>
                <a:cubicBezTo>
                  <a:pt x="761" y="242"/>
                  <a:pt x="766" y="242"/>
                  <a:pt x="771" y="240"/>
                </a:cubicBezTo>
                <a:cubicBezTo>
                  <a:pt x="772" y="239"/>
                  <a:pt x="783" y="236"/>
                  <a:pt x="788" y="236"/>
                </a:cubicBezTo>
                <a:cubicBezTo>
                  <a:pt x="788" y="236"/>
                  <a:pt x="788" y="236"/>
                  <a:pt x="788" y="236"/>
                </a:cubicBezTo>
                <a:cubicBezTo>
                  <a:pt x="788" y="240"/>
                  <a:pt x="789" y="241"/>
                  <a:pt x="790" y="244"/>
                </a:cubicBezTo>
                <a:cubicBezTo>
                  <a:pt x="790" y="244"/>
                  <a:pt x="789" y="244"/>
                  <a:pt x="789" y="244"/>
                </a:cubicBezTo>
                <a:cubicBezTo>
                  <a:pt x="788" y="243"/>
                  <a:pt x="787" y="243"/>
                  <a:pt x="786" y="243"/>
                </a:cubicBezTo>
                <a:cubicBezTo>
                  <a:pt x="779" y="243"/>
                  <a:pt x="774" y="246"/>
                  <a:pt x="771" y="248"/>
                </a:cubicBezTo>
                <a:cubicBezTo>
                  <a:pt x="767" y="250"/>
                  <a:pt x="766" y="251"/>
                  <a:pt x="762" y="251"/>
                </a:cubicBezTo>
                <a:cubicBezTo>
                  <a:pt x="761" y="251"/>
                  <a:pt x="760" y="251"/>
                  <a:pt x="758" y="250"/>
                </a:cubicBezTo>
                <a:cubicBezTo>
                  <a:pt x="754" y="250"/>
                  <a:pt x="750" y="249"/>
                  <a:pt x="747" y="249"/>
                </a:cubicBezTo>
                <a:cubicBezTo>
                  <a:pt x="739" y="249"/>
                  <a:pt x="734" y="251"/>
                  <a:pt x="727" y="251"/>
                </a:cubicBezTo>
                <a:cubicBezTo>
                  <a:pt x="725" y="251"/>
                  <a:pt x="723" y="251"/>
                  <a:pt x="721" y="250"/>
                </a:cubicBezTo>
                <a:cubicBezTo>
                  <a:pt x="715" y="250"/>
                  <a:pt x="711" y="249"/>
                  <a:pt x="706" y="249"/>
                </a:cubicBezTo>
                <a:cubicBezTo>
                  <a:pt x="703" y="249"/>
                  <a:pt x="699" y="250"/>
                  <a:pt x="695" y="252"/>
                </a:cubicBezTo>
                <a:cubicBezTo>
                  <a:pt x="692" y="254"/>
                  <a:pt x="689" y="258"/>
                  <a:pt x="688" y="262"/>
                </a:cubicBezTo>
                <a:cubicBezTo>
                  <a:pt x="687" y="267"/>
                  <a:pt x="685" y="273"/>
                  <a:pt x="683" y="278"/>
                </a:cubicBezTo>
                <a:cubicBezTo>
                  <a:pt x="682" y="280"/>
                  <a:pt x="681" y="282"/>
                  <a:pt x="681" y="283"/>
                </a:cubicBezTo>
                <a:cubicBezTo>
                  <a:pt x="680" y="283"/>
                  <a:pt x="680" y="283"/>
                  <a:pt x="680" y="283"/>
                </a:cubicBezTo>
                <a:cubicBezTo>
                  <a:pt x="677" y="284"/>
                  <a:pt x="674" y="285"/>
                  <a:pt x="672" y="286"/>
                </a:cubicBezTo>
                <a:cubicBezTo>
                  <a:pt x="670" y="288"/>
                  <a:pt x="667" y="290"/>
                  <a:pt x="667" y="295"/>
                </a:cubicBezTo>
                <a:cubicBezTo>
                  <a:pt x="667" y="299"/>
                  <a:pt x="670" y="302"/>
                  <a:pt x="674" y="304"/>
                </a:cubicBezTo>
                <a:cubicBezTo>
                  <a:pt x="677" y="305"/>
                  <a:pt x="681" y="306"/>
                  <a:pt x="687" y="306"/>
                </a:cubicBezTo>
                <a:cubicBezTo>
                  <a:pt x="696" y="308"/>
                  <a:pt x="695" y="309"/>
                  <a:pt x="697" y="311"/>
                </a:cubicBezTo>
                <a:cubicBezTo>
                  <a:pt x="698" y="312"/>
                  <a:pt x="699" y="314"/>
                  <a:pt x="702" y="316"/>
                </a:cubicBezTo>
                <a:cubicBezTo>
                  <a:pt x="705" y="318"/>
                  <a:pt x="709" y="319"/>
                  <a:pt x="713" y="319"/>
                </a:cubicBezTo>
                <a:cubicBezTo>
                  <a:pt x="714" y="319"/>
                  <a:pt x="715" y="319"/>
                  <a:pt x="716" y="319"/>
                </a:cubicBezTo>
                <a:cubicBezTo>
                  <a:pt x="726" y="318"/>
                  <a:pt x="736" y="318"/>
                  <a:pt x="744" y="316"/>
                </a:cubicBezTo>
                <a:cubicBezTo>
                  <a:pt x="752" y="315"/>
                  <a:pt x="760" y="311"/>
                  <a:pt x="763" y="303"/>
                </a:cubicBezTo>
                <a:cubicBezTo>
                  <a:pt x="764" y="302"/>
                  <a:pt x="764" y="301"/>
                  <a:pt x="764" y="300"/>
                </a:cubicBezTo>
                <a:cubicBezTo>
                  <a:pt x="770" y="308"/>
                  <a:pt x="782" y="326"/>
                  <a:pt x="782" y="326"/>
                </a:cubicBezTo>
                <a:cubicBezTo>
                  <a:pt x="783" y="327"/>
                  <a:pt x="783" y="327"/>
                  <a:pt x="783" y="327"/>
                </a:cubicBezTo>
                <a:cubicBezTo>
                  <a:pt x="783" y="327"/>
                  <a:pt x="791" y="335"/>
                  <a:pt x="798" y="340"/>
                </a:cubicBezTo>
                <a:cubicBezTo>
                  <a:pt x="797" y="340"/>
                  <a:pt x="796" y="341"/>
                  <a:pt x="795" y="341"/>
                </a:cubicBezTo>
                <a:cubicBezTo>
                  <a:pt x="795" y="341"/>
                  <a:pt x="794" y="341"/>
                  <a:pt x="793" y="340"/>
                </a:cubicBezTo>
                <a:cubicBezTo>
                  <a:pt x="787" y="335"/>
                  <a:pt x="780" y="334"/>
                  <a:pt x="773" y="332"/>
                </a:cubicBezTo>
                <a:cubicBezTo>
                  <a:pt x="767" y="331"/>
                  <a:pt x="762" y="329"/>
                  <a:pt x="761" y="328"/>
                </a:cubicBezTo>
                <a:cubicBezTo>
                  <a:pt x="756" y="324"/>
                  <a:pt x="750" y="322"/>
                  <a:pt x="743" y="321"/>
                </a:cubicBezTo>
                <a:cubicBezTo>
                  <a:pt x="737" y="320"/>
                  <a:pt x="729" y="320"/>
                  <a:pt x="723" y="320"/>
                </a:cubicBezTo>
                <a:cubicBezTo>
                  <a:pt x="717" y="320"/>
                  <a:pt x="712" y="320"/>
                  <a:pt x="709" y="321"/>
                </a:cubicBezTo>
                <a:cubicBezTo>
                  <a:pt x="709" y="321"/>
                  <a:pt x="708" y="321"/>
                  <a:pt x="707" y="321"/>
                </a:cubicBezTo>
                <a:cubicBezTo>
                  <a:pt x="704" y="321"/>
                  <a:pt x="700" y="320"/>
                  <a:pt x="696" y="319"/>
                </a:cubicBezTo>
                <a:cubicBezTo>
                  <a:pt x="691" y="318"/>
                  <a:pt x="688" y="317"/>
                  <a:pt x="684" y="316"/>
                </a:cubicBezTo>
                <a:cubicBezTo>
                  <a:pt x="680" y="317"/>
                  <a:pt x="678" y="318"/>
                  <a:pt x="676" y="320"/>
                </a:cubicBezTo>
                <a:cubicBezTo>
                  <a:pt x="672" y="322"/>
                  <a:pt x="669" y="324"/>
                  <a:pt x="666" y="327"/>
                </a:cubicBezTo>
                <a:cubicBezTo>
                  <a:pt x="664" y="323"/>
                  <a:pt x="662" y="319"/>
                  <a:pt x="660" y="317"/>
                </a:cubicBezTo>
                <a:cubicBezTo>
                  <a:pt x="659" y="314"/>
                  <a:pt x="656" y="312"/>
                  <a:pt x="653" y="312"/>
                </a:cubicBezTo>
                <a:cubicBezTo>
                  <a:pt x="647" y="313"/>
                  <a:pt x="645" y="316"/>
                  <a:pt x="643" y="318"/>
                </a:cubicBezTo>
                <a:cubicBezTo>
                  <a:pt x="642" y="319"/>
                  <a:pt x="641" y="320"/>
                  <a:pt x="640" y="320"/>
                </a:cubicBezTo>
                <a:cubicBezTo>
                  <a:pt x="640" y="320"/>
                  <a:pt x="640" y="320"/>
                  <a:pt x="640" y="321"/>
                </a:cubicBezTo>
                <a:cubicBezTo>
                  <a:pt x="637" y="320"/>
                  <a:pt x="627" y="314"/>
                  <a:pt x="617" y="314"/>
                </a:cubicBezTo>
                <a:cubicBezTo>
                  <a:pt x="613" y="314"/>
                  <a:pt x="610" y="314"/>
                  <a:pt x="607" y="316"/>
                </a:cubicBezTo>
                <a:cubicBezTo>
                  <a:pt x="600" y="318"/>
                  <a:pt x="596" y="322"/>
                  <a:pt x="594" y="323"/>
                </a:cubicBezTo>
                <a:cubicBezTo>
                  <a:pt x="592" y="324"/>
                  <a:pt x="592" y="325"/>
                  <a:pt x="586" y="325"/>
                </a:cubicBezTo>
                <a:cubicBezTo>
                  <a:pt x="584" y="325"/>
                  <a:pt x="583" y="325"/>
                  <a:pt x="581" y="325"/>
                </a:cubicBezTo>
                <a:cubicBezTo>
                  <a:pt x="564" y="324"/>
                  <a:pt x="560" y="321"/>
                  <a:pt x="552" y="320"/>
                </a:cubicBezTo>
                <a:cubicBezTo>
                  <a:pt x="551" y="320"/>
                  <a:pt x="549" y="320"/>
                  <a:pt x="548" y="321"/>
                </a:cubicBezTo>
                <a:cubicBezTo>
                  <a:pt x="541" y="322"/>
                  <a:pt x="541" y="322"/>
                  <a:pt x="541" y="322"/>
                </a:cubicBezTo>
                <a:cubicBezTo>
                  <a:pt x="538" y="323"/>
                  <a:pt x="536" y="326"/>
                  <a:pt x="536" y="329"/>
                </a:cubicBezTo>
                <a:cubicBezTo>
                  <a:pt x="536" y="329"/>
                  <a:pt x="537" y="331"/>
                  <a:pt x="532" y="334"/>
                </a:cubicBezTo>
                <a:cubicBezTo>
                  <a:pt x="529" y="336"/>
                  <a:pt x="527" y="338"/>
                  <a:pt x="525" y="339"/>
                </a:cubicBezTo>
                <a:cubicBezTo>
                  <a:pt x="524" y="340"/>
                  <a:pt x="523" y="341"/>
                  <a:pt x="522" y="341"/>
                </a:cubicBezTo>
                <a:cubicBezTo>
                  <a:pt x="522" y="341"/>
                  <a:pt x="522" y="341"/>
                  <a:pt x="522" y="341"/>
                </a:cubicBezTo>
                <a:cubicBezTo>
                  <a:pt x="522" y="341"/>
                  <a:pt x="521" y="340"/>
                  <a:pt x="521" y="340"/>
                </a:cubicBezTo>
                <a:cubicBezTo>
                  <a:pt x="515" y="330"/>
                  <a:pt x="507" y="329"/>
                  <a:pt x="505" y="328"/>
                </a:cubicBezTo>
                <a:cubicBezTo>
                  <a:pt x="505" y="328"/>
                  <a:pt x="503" y="327"/>
                  <a:pt x="500" y="325"/>
                </a:cubicBezTo>
                <a:cubicBezTo>
                  <a:pt x="497" y="323"/>
                  <a:pt x="492" y="322"/>
                  <a:pt x="487" y="322"/>
                </a:cubicBezTo>
                <a:cubicBezTo>
                  <a:pt x="484" y="322"/>
                  <a:pt x="480" y="323"/>
                  <a:pt x="476" y="324"/>
                </a:cubicBezTo>
                <a:cubicBezTo>
                  <a:pt x="474" y="324"/>
                  <a:pt x="472" y="324"/>
                  <a:pt x="469" y="324"/>
                </a:cubicBezTo>
                <a:cubicBezTo>
                  <a:pt x="463" y="324"/>
                  <a:pt x="456" y="323"/>
                  <a:pt x="450" y="321"/>
                </a:cubicBezTo>
                <a:cubicBezTo>
                  <a:pt x="444" y="320"/>
                  <a:pt x="440" y="318"/>
                  <a:pt x="435" y="318"/>
                </a:cubicBezTo>
                <a:cubicBezTo>
                  <a:pt x="432" y="318"/>
                  <a:pt x="389" y="315"/>
                  <a:pt x="382" y="313"/>
                </a:cubicBezTo>
                <a:cubicBezTo>
                  <a:pt x="375" y="311"/>
                  <a:pt x="364" y="310"/>
                  <a:pt x="354" y="310"/>
                </a:cubicBezTo>
                <a:cubicBezTo>
                  <a:pt x="347" y="310"/>
                  <a:pt x="341" y="310"/>
                  <a:pt x="337" y="311"/>
                </a:cubicBezTo>
                <a:cubicBezTo>
                  <a:pt x="330" y="312"/>
                  <a:pt x="313" y="312"/>
                  <a:pt x="307" y="312"/>
                </a:cubicBezTo>
                <a:cubicBezTo>
                  <a:pt x="306" y="311"/>
                  <a:pt x="303" y="309"/>
                  <a:pt x="300" y="307"/>
                </a:cubicBezTo>
                <a:cubicBezTo>
                  <a:pt x="297" y="305"/>
                  <a:pt x="295" y="303"/>
                  <a:pt x="292" y="302"/>
                </a:cubicBezTo>
                <a:cubicBezTo>
                  <a:pt x="290" y="300"/>
                  <a:pt x="289" y="299"/>
                  <a:pt x="284" y="299"/>
                </a:cubicBezTo>
                <a:cubicBezTo>
                  <a:pt x="281" y="299"/>
                  <a:pt x="279" y="300"/>
                  <a:pt x="277" y="300"/>
                </a:cubicBezTo>
                <a:cubicBezTo>
                  <a:pt x="274" y="301"/>
                  <a:pt x="272" y="302"/>
                  <a:pt x="270" y="302"/>
                </a:cubicBezTo>
                <a:cubicBezTo>
                  <a:pt x="268" y="302"/>
                  <a:pt x="268" y="301"/>
                  <a:pt x="267" y="301"/>
                </a:cubicBezTo>
                <a:cubicBezTo>
                  <a:pt x="260" y="292"/>
                  <a:pt x="249" y="288"/>
                  <a:pt x="249" y="288"/>
                </a:cubicBezTo>
                <a:cubicBezTo>
                  <a:pt x="247" y="287"/>
                  <a:pt x="245" y="287"/>
                  <a:pt x="244" y="288"/>
                </a:cubicBezTo>
                <a:cubicBezTo>
                  <a:pt x="242" y="289"/>
                  <a:pt x="241" y="290"/>
                  <a:pt x="241" y="292"/>
                </a:cubicBezTo>
                <a:cubicBezTo>
                  <a:pt x="241" y="292"/>
                  <a:pt x="240" y="295"/>
                  <a:pt x="238" y="299"/>
                </a:cubicBezTo>
                <a:cubicBezTo>
                  <a:pt x="236" y="302"/>
                  <a:pt x="233" y="306"/>
                  <a:pt x="232" y="306"/>
                </a:cubicBezTo>
                <a:cubicBezTo>
                  <a:pt x="226" y="308"/>
                  <a:pt x="213" y="312"/>
                  <a:pt x="208" y="312"/>
                </a:cubicBezTo>
                <a:cubicBezTo>
                  <a:pt x="208" y="312"/>
                  <a:pt x="208" y="312"/>
                  <a:pt x="208" y="312"/>
                </a:cubicBezTo>
                <a:cubicBezTo>
                  <a:pt x="206" y="311"/>
                  <a:pt x="205" y="311"/>
                  <a:pt x="204" y="311"/>
                </a:cubicBezTo>
                <a:cubicBezTo>
                  <a:pt x="198" y="311"/>
                  <a:pt x="190" y="314"/>
                  <a:pt x="183" y="317"/>
                </a:cubicBezTo>
                <a:cubicBezTo>
                  <a:pt x="176" y="320"/>
                  <a:pt x="169" y="322"/>
                  <a:pt x="169" y="323"/>
                </a:cubicBezTo>
                <a:cubicBezTo>
                  <a:pt x="168" y="324"/>
                  <a:pt x="168" y="324"/>
                  <a:pt x="168" y="324"/>
                </a:cubicBezTo>
                <a:cubicBezTo>
                  <a:pt x="168" y="324"/>
                  <a:pt x="163" y="328"/>
                  <a:pt x="159" y="332"/>
                </a:cubicBezTo>
                <a:cubicBezTo>
                  <a:pt x="156" y="334"/>
                  <a:pt x="154" y="336"/>
                  <a:pt x="152" y="338"/>
                </a:cubicBezTo>
                <a:cubicBezTo>
                  <a:pt x="151" y="338"/>
                  <a:pt x="150" y="340"/>
                  <a:pt x="149" y="340"/>
                </a:cubicBezTo>
                <a:cubicBezTo>
                  <a:pt x="149" y="340"/>
                  <a:pt x="149" y="340"/>
                  <a:pt x="149" y="340"/>
                </a:cubicBezTo>
                <a:cubicBezTo>
                  <a:pt x="146" y="336"/>
                  <a:pt x="140" y="337"/>
                  <a:pt x="134" y="337"/>
                </a:cubicBezTo>
                <a:cubicBezTo>
                  <a:pt x="132" y="337"/>
                  <a:pt x="130" y="337"/>
                  <a:pt x="128" y="338"/>
                </a:cubicBezTo>
                <a:cubicBezTo>
                  <a:pt x="126" y="338"/>
                  <a:pt x="122" y="340"/>
                  <a:pt x="122" y="345"/>
                </a:cubicBezTo>
                <a:cubicBezTo>
                  <a:pt x="122" y="347"/>
                  <a:pt x="122" y="348"/>
                  <a:pt x="122" y="348"/>
                </a:cubicBezTo>
                <a:cubicBezTo>
                  <a:pt x="123" y="349"/>
                  <a:pt x="123" y="354"/>
                  <a:pt x="126" y="359"/>
                </a:cubicBezTo>
                <a:cubicBezTo>
                  <a:pt x="129" y="365"/>
                  <a:pt x="136" y="369"/>
                  <a:pt x="146" y="369"/>
                </a:cubicBezTo>
                <a:cubicBezTo>
                  <a:pt x="155" y="369"/>
                  <a:pt x="158" y="370"/>
                  <a:pt x="161" y="372"/>
                </a:cubicBezTo>
                <a:cubicBezTo>
                  <a:pt x="163" y="373"/>
                  <a:pt x="166" y="377"/>
                  <a:pt x="172" y="378"/>
                </a:cubicBezTo>
                <a:cubicBezTo>
                  <a:pt x="176" y="379"/>
                  <a:pt x="178" y="379"/>
                  <a:pt x="179" y="379"/>
                </a:cubicBezTo>
                <a:cubicBezTo>
                  <a:pt x="180" y="380"/>
                  <a:pt x="182" y="381"/>
                  <a:pt x="186" y="385"/>
                </a:cubicBezTo>
                <a:cubicBezTo>
                  <a:pt x="188" y="387"/>
                  <a:pt x="189" y="388"/>
                  <a:pt x="189" y="390"/>
                </a:cubicBezTo>
                <a:cubicBezTo>
                  <a:pt x="189" y="390"/>
                  <a:pt x="189" y="390"/>
                  <a:pt x="189" y="390"/>
                </a:cubicBezTo>
                <a:cubicBezTo>
                  <a:pt x="179" y="388"/>
                  <a:pt x="168" y="385"/>
                  <a:pt x="163" y="380"/>
                </a:cubicBezTo>
                <a:cubicBezTo>
                  <a:pt x="156" y="373"/>
                  <a:pt x="156" y="373"/>
                  <a:pt x="156" y="373"/>
                </a:cubicBezTo>
                <a:cubicBezTo>
                  <a:pt x="155" y="372"/>
                  <a:pt x="152" y="371"/>
                  <a:pt x="149" y="372"/>
                </a:cubicBezTo>
                <a:cubicBezTo>
                  <a:pt x="138" y="379"/>
                  <a:pt x="138" y="379"/>
                  <a:pt x="138" y="379"/>
                </a:cubicBezTo>
                <a:cubicBezTo>
                  <a:pt x="120" y="381"/>
                  <a:pt x="100" y="390"/>
                  <a:pt x="100" y="390"/>
                </a:cubicBezTo>
                <a:cubicBezTo>
                  <a:pt x="97" y="392"/>
                  <a:pt x="96" y="395"/>
                  <a:pt x="97" y="398"/>
                </a:cubicBezTo>
                <a:cubicBezTo>
                  <a:pt x="97" y="399"/>
                  <a:pt x="104" y="412"/>
                  <a:pt x="116" y="421"/>
                </a:cubicBezTo>
                <a:cubicBezTo>
                  <a:pt x="129" y="431"/>
                  <a:pt x="152" y="430"/>
                  <a:pt x="156" y="431"/>
                </a:cubicBezTo>
                <a:cubicBezTo>
                  <a:pt x="156" y="431"/>
                  <a:pt x="156" y="431"/>
                  <a:pt x="156" y="431"/>
                </a:cubicBezTo>
                <a:cubicBezTo>
                  <a:pt x="148" y="433"/>
                  <a:pt x="145" y="435"/>
                  <a:pt x="141" y="439"/>
                </a:cubicBezTo>
                <a:cubicBezTo>
                  <a:pt x="137" y="443"/>
                  <a:pt x="133" y="445"/>
                  <a:pt x="130" y="448"/>
                </a:cubicBezTo>
                <a:cubicBezTo>
                  <a:pt x="126" y="451"/>
                  <a:pt x="122" y="455"/>
                  <a:pt x="122" y="461"/>
                </a:cubicBezTo>
                <a:cubicBezTo>
                  <a:pt x="122" y="463"/>
                  <a:pt x="123" y="466"/>
                  <a:pt x="124" y="468"/>
                </a:cubicBezTo>
                <a:cubicBezTo>
                  <a:pt x="126" y="473"/>
                  <a:pt x="129" y="477"/>
                  <a:pt x="132" y="481"/>
                </a:cubicBezTo>
                <a:cubicBezTo>
                  <a:pt x="131" y="480"/>
                  <a:pt x="129" y="480"/>
                  <a:pt x="128" y="480"/>
                </a:cubicBezTo>
                <a:cubicBezTo>
                  <a:pt x="127" y="480"/>
                  <a:pt x="127" y="480"/>
                  <a:pt x="127" y="480"/>
                </a:cubicBezTo>
                <a:cubicBezTo>
                  <a:pt x="123" y="480"/>
                  <a:pt x="121" y="480"/>
                  <a:pt x="119" y="481"/>
                </a:cubicBezTo>
                <a:cubicBezTo>
                  <a:pt x="116" y="482"/>
                  <a:pt x="115" y="483"/>
                  <a:pt x="110" y="485"/>
                </a:cubicBezTo>
                <a:cubicBezTo>
                  <a:pt x="108" y="485"/>
                  <a:pt x="105" y="489"/>
                  <a:pt x="105" y="492"/>
                </a:cubicBezTo>
                <a:cubicBezTo>
                  <a:pt x="105" y="496"/>
                  <a:pt x="107" y="497"/>
                  <a:pt x="108" y="499"/>
                </a:cubicBezTo>
                <a:cubicBezTo>
                  <a:pt x="110" y="501"/>
                  <a:pt x="113" y="503"/>
                  <a:pt x="115" y="505"/>
                </a:cubicBezTo>
                <a:cubicBezTo>
                  <a:pt x="118" y="506"/>
                  <a:pt x="121" y="508"/>
                  <a:pt x="125" y="508"/>
                </a:cubicBezTo>
                <a:cubicBezTo>
                  <a:pt x="130" y="507"/>
                  <a:pt x="132" y="504"/>
                  <a:pt x="135" y="501"/>
                </a:cubicBezTo>
                <a:cubicBezTo>
                  <a:pt x="137" y="498"/>
                  <a:pt x="138" y="495"/>
                  <a:pt x="138" y="491"/>
                </a:cubicBezTo>
                <a:cubicBezTo>
                  <a:pt x="138" y="490"/>
                  <a:pt x="138" y="489"/>
                  <a:pt x="138" y="488"/>
                </a:cubicBezTo>
                <a:cubicBezTo>
                  <a:pt x="140" y="491"/>
                  <a:pt x="142" y="493"/>
                  <a:pt x="144" y="495"/>
                </a:cubicBezTo>
                <a:cubicBezTo>
                  <a:pt x="145" y="496"/>
                  <a:pt x="145" y="497"/>
                  <a:pt x="146" y="498"/>
                </a:cubicBezTo>
                <a:cubicBezTo>
                  <a:pt x="146" y="498"/>
                  <a:pt x="146" y="499"/>
                  <a:pt x="146" y="499"/>
                </a:cubicBezTo>
                <a:cubicBezTo>
                  <a:pt x="147" y="503"/>
                  <a:pt x="152" y="506"/>
                  <a:pt x="155" y="506"/>
                </a:cubicBezTo>
                <a:cubicBezTo>
                  <a:pt x="161" y="506"/>
                  <a:pt x="165" y="503"/>
                  <a:pt x="170" y="500"/>
                </a:cubicBezTo>
                <a:cubicBezTo>
                  <a:pt x="174" y="497"/>
                  <a:pt x="178" y="495"/>
                  <a:pt x="180" y="490"/>
                </a:cubicBezTo>
                <a:cubicBezTo>
                  <a:pt x="180" y="491"/>
                  <a:pt x="180" y="492"/>
                  <a:pt x="180" y="494"/>
                </a:cubicBezTo>
                <a:cubicBezTo>
                  <a:pt x="179" y="495"/>
                  <a:pt x="179" y="497"/>
                  <a:pt x="179" y="499"/>
                </a:cubicBezTo>
                <a:cubicBezTo>
                  <a:pt x="179" y="507"/>
                  <a:pt x="184" y="513"/>
                  <a:pt x="188" y="515"/>
                </a:cubicBezTo>
                <a:cubicBezTo>
                  <a:pt x="192" y="518"/>
                  <a:pt x="196" y="519"/>
                  <a:pt x="196" y="519"/>
                </a:cubicBezTo>
                <a:cubicBezTo>
                  <a:pt x="199" y="519"/>
                  <a:pt x="201" y="518"/>
                  <a:pt x="202" y="515"/>
                </a:cubicBezTo>
                <a:cubicBezTo>
                  <a:pt x="202" y="515"/>
                  <a:pt x="204" y="513"/>
                  <a:pt x="205" y="510"/>
                </a:cubicBezTo>
                <a:cubicBezTo>
                  <a:pt x="206" y="510"/>
                  <a:pt x="206" y="510"/>
                  <a:pt x="206" y="509"/>
                </a:cubicBezTo>
                <a:cubicBezTo>
                  <a:pt x="208" y="511"/>
                  <a:pt x="210" y="513"/>
                  <a:pt x="212" y="515"/>
                </a:cubicBezTo>
                <a:cubicBezTo>
                  <a:pt x="215" y="518"/>
                  <a:pt x="218" y="521"/>
                  <a:pt x="218" y="521"/>
                </a:cubicBezTo>
                <a:cubicBezTo>
                  <a:pt x="220" y="523"/>
                  <a:pt x="224" y="524"/>
                  <a:pt x="226" y="522"/>
                </a:cubicBezTo>
                <a:cubicBezTo>
                  <a:pt x="226" y="522"/>
                  <a:pt x="228" y="520"/>
                  <a:pt x="231" y="519"/>
                </a:cubicBezTo>
                <a:cubicBezTo>
                  <a:pt x="233" y="517"/>
                  <a:pt x="236" y="516"/>
                  <a:pt x="237" y="516"/>
                </a:cubicBezTo>
                <a:cubicBezTo>
                  <a:pt x="237" y="516"/>
                  <a:pt x="237" y="516"/>
                  <a:pt x="237" y="517"/>
                </a:cubicBezTo>
                <a:cubicBezTo>
                  <a:pt x="237" y="517"/>
                  <a:pt x="236" y="519"/>
                  <a:pt x="234" y="521"/>
                </a:cubicBezTo>
                <a:cubicBezTo>
                  <a:pt x="231" y="523"/>
                  <a:pt x="228" y="525"/>
                  <a:pt x="225" y="527"/>
                </a:cubicBezTo>
                <a:cubicBezTo>
                  <a:pt x="222" y="529"/>
                  <a:pt x="214" y="532"/>
                  <a:pt x="206" y="536"/>
                </a:cubicBezTo>
                <a:cubicBezTo>
                  <a:pt x="198" y="540"/>
                  <a:pt x="191" y="544"/>
                  <a:pt x="187" y="546"/>
                </a:cubicBezTo>
                <a:cubicBezTo>
                  <a:pt x="184" y="548"/>
                  <a:pt x="177" y="552"/>
                  <a:pt x="171" y="556"/>
                </a:cubicBezTo>
                <a:cubicBezTo>
                  <a:pt x="167" y="558"/>
                  <a:pt x="164" y="559"/>
                  <a:pt x="161" y="560"/>
                </a:cubicBezTo>
                <a:cubicBezTo>
                  <a:pt x="160" y="561"/>
                  <a:pt x="159" y="560"/>
                  <a:pt x="158" y="561"/>
                </a:cubicBezTo>
                <a:cubicBezTo>
                  <a:pt x="157" y="561"/>
                  <a:pt x="157" y="560"/>
                  <a:pt x="157" y="560"/>
                </a:cubicBezTo>
                <a:cubicBezTo>
                  <a:pt x="157" y="560"/>
                  <a:pt x="157" y="560"/>
                  <a:pt x="157" y="560"/>
                </a:cubicBezTo>
                <a:cubicBezTo>
                  <a:pt x="152" y="560"/>
                  <a:pt x="149" y="564"/>
                  <a:pt x="148" y="567"/>
                </a:cubicBezTo>
                <a:cubicBezTo>
                  <a:pt x="147" y="569"/>
                  <a:pt x="146" y="573"/>
                  <a:pt x="146" y="576"/>
                </a:cubicBezTo>
                <a:cubicBezTo>
                  <a:pt x="146" y="578"/>
                  <a:pt x="146" y="582"/>
                  <a:pt x="148" y="584"/>
                </a:cubicBezTo>
                <a:cubicBezTo>
                  <a:pt x="150" y="587"/>
                  <a:pt x="154" y="589"/>
                  <a:pt x="158" y="589"/>
                </a:cubicBezTo>
                <a:cubicBezTo>
                  <a:pt x="158" y="589"/>
                  <a:pt x="159" y="589"/>
                  <a:pt x="160" y="589"/>
                </a:cubicBezTo>
                <a:cubicBezTo>
                  <a:pt x="172" y="587"/>
                  <a:pt x="200" y="576"/>
                  <a:pt x="209" y="571"/>
                </a:cubicBezTo>
                <a:cubicBezTo>
                  <a:pt x="210" y="571"/>
                  <a:pt x="210" y="572"/>
                  <a:pt x="210" y="572"/>
                </a:cubicBezTo>
                <a:cubicBezTo>
                  <a:pt x="210" y="572"/>
                  <a:pt x="210" y="572"/>
                  <a:pt x="210" y="572"/>
                </a:cubicBezTo>
                <a:cubicBezTo>
                  <a:pt x="210" y="572"/>
                  <a:pt x="210" y="571"/>
                  <a:pt x="211" y="571"/>
                </a:cubicBezTo>
                <a:cubicBezTo>
                  <a:pt x="212" y="571"/>
                  <a:pt x="213" y="571"/>
                  <a:pt x="215" y="571"/>
                </a:cubicBezTo>
                <a:cubicBezTo>
                  <a:pt x="220" y="571"/>
                  <a:pt x="225" y="569"/>
                  <a:pt x="235" y="564"/>
                </a:cubicBezTo>
                <a:cubicBezTo>
                  <a:pt x="245" y="558"/>
                  <a:pt x="253" y="552"/>
                  <a:pt x="259" y="548"/>
                </a:cubicBezTo>
                <a:cubicBezTo>
                  <a:pt x="262" y="546"/>
                  <a:pt x="265" y="544"/>
                  <a:pt x="267" y="543"/>
                </a:cubicBezTo>
                <a:cubicBezTo>
                  <a:pt x="268" y="543"/>
                  <a:pt x="269" y="542"/>
                  <a:pt x="269" y="542"/>
                </a:cubicBezTo>
                <a:cubicBezTo>
                  <a:pt x="270" y="542"/>
                  <a:pt x="270" y="542"/>
                  <a:pt x="270" y="543"/>
                </a:cubicBezTo>
                <a:cubicBezTo>
                  <a:pt x="272" y="544"/>
                  <a:pt x="275" y="553"/>
                  <a:pt x="285" y="556"/>
                </a:cubicBezTo>
                <a:cubicBezTo>
                  <a:pt x="287" y="556"/>
                  <a:pt x="288" y="557"/>
                  <a:pt x="290" y="557"/>
                </a:cubicBezTo>
                <a:cubicBezTo>
                  <a:pt x="302" y="556"/>
                  <a:pt x="309" y="545"/>
                  <a:pt x="313" y="543"/>
                </a:cubicBezTo>
                <a:cubicBezTo>
                  <a:pt x="320" y="537"/>
                  <a:pt x="323" y="529"/>
                  <a:pt x="323" y="522"/>
                </a:cubicBezTo>
                <a:cubicBezTo>
                  <a:pt x="323" y="520"/>
                  <a:pt x="323" y="518"/>
                  <a:pt x="322" y="516"/>
                </a:cubicBezTo>
                <a:cubicBezTo>
                  <a:pt x="321" y="514"/>
                  <a:pt x="318" y="512"/>
                  <a:pt x="315" y="512"/>
                </a:cubicBezTo>
                <a:cubicBezTo>
                  <a:pt x="314" y="512"/>
                  <a:pt x="314" y="512"/>
                  <a:pt x="313" y="512"/>
                </a:cubicBezTo>
                <a:cubicBezTo>
                  <a:pt x="312" y="513"/>
                  <a:pt x="311" y="513"/>
                  <a:pt x="310" y="513"/>
                </a:cubicBezTo>
                <a:cubicBezTo>
                  <a:pt x="313" y="510"/>
                  <a:pt x="315" y="506"/>
                  <a:pt x="316" y="500"/>
                </a:cubicBezTo>
                <a:cubicBezTo>
                  <a:pt x="316" y="496"/>
                  <a:pt x="317" y="489"/>
                  <a:pt x="321" y="486"/>
                </a:cubicBezTo>
                <a:cubicBezTo>
                  <a:pt x="321" y="487"/>
                  <a:pt x="320" y="489"/>
                  <a:pt x="319" y="492"/>
                </a:cubicBezTo>
                <a:cubicBezTo>
                  <a:pt x="318" y="494"/>
                  <a:pt x="318" y="497"/>
                  <a:pt x="318" y="499"/>
                </a:cubicBezTo>
                <a:cubicBezTo>
                  <a:pt x="318" y="502"/>
                  <a:pt x="318" y="505"/>
                  <a:pt x="321" y="507"/>
                </a:cubicBezTo>
                <a:cubicBezTo>
                  <a:pt x="323" y="509"/>
                  <a:pt x="326" y="510"/>
                  <a:pt x="328" y="510"/>
                </a:cubicBezTo>
                <a:cubicBezTo>
                  <a:pt x="336" y="509"/>
                  <a:pt x="342" y="505"/>
                  <a:pt x="347" y="501"/>
                </a:cubicBezTo>
                <a:cubicBezTo>
                  <a:pt x="350" y="498"/>
                  <a:pt x="350" y="499"/>
                  <a:pt x="354" y="498"/>
                </a:cubicBezTo>
                <a:cubicBezTo>
                  <a:pt x="358" y="497"/>
                  <a:pt x="364" y="495"/>
                  <a:pt x="371" y="490"/>
                </a:cubicBezTo>
                <a:cubicBezTo>
                  <a:pt x="378" y="485"/>
                  <a:pt x="381" y="481"/>
                  <a:pt x="384" y="478"/>
                </a:cubicBezTo>
                <a:cubicBezTo>
                  <a:pt x="386" y="476"/>
                  <a:pt x="385" y="476"/>
                  <a:pt x="387" y="476"/>
                </a:cubicBezTo>
                <a:cubicBezTo>
                  <a:pt x="387" y="476"/>
                  <a:pt x="387" y="476"/>
                  <a:pt x="387" y="476"/>
                </a:cubicBezTo>
                <a:cubicBezTo>
                  <a:pt x="389" y="477"/>
                  <a:pt x="392" y="479"/>
                  <a:pt x="396" y="482"/>
                </a:cubicBezTo>
                <a:cubicBezTo>
                  <a:pt x="400" y="484"/>
                  <a:pt x="404" y="487"/>
                  <a:pt x="410" y="487"/>
                </a:cubicBezTo>
                <a:cubicBezTo>
                  <a:pt x="412" y="487"/>
                  <a:pt x="415" y="488"/>
                  <a:pt x="417" y="484"/>
                </a:cubicBezTo>
                <a:cubicBezTo>
                  <a:pt x="417" y="484"/>
                  <a:pt x="417" y="484"/>
                  <a:pt x="417" y="484"/>
                </a:cubicBezTo>
                <a:cubicBezTo>
                  <a:pt x="417" y="484"/>
                  <a:pt x="418" y="484"/>
                  <a:pt x="418" y="484"/>
                </a:cubicBezTo>
                <a:cubicBezTo>
                  <a:pt x="421" y="484"/>
                  <a:pt x="427" y="486"/>
                  <a:pt x="433" y="488"/>
                </a:cubicBezTo>
                <a:cubicBezTo>
                  <a:pt x="439" y="490"/>
                  <a:pt x="445" y="492"/>
                  <a:pt x="451" y="493"/>
                </a:cubicBezTo>
                <a:cubicBezTo>
                  <a:pt x="455" y="492"/>
                  <a:pt x="467" y="497"/>
                  <a:pt x="479" y="501"/>
                </a:cubicBezTo>
                <a:cubicBezTo>
                  <a:pt x="484" y="503"/>
                  <a:pt x="490" y="506"/>
                  <a:pt x="495" y="507"/>
                </a:cubicBezTo>
                <a:cubicBezTo>
                  <a:pt x="500" y="509"/>
                  <a:pt x="503" y="510"/>
                  <a:pt x="507" y="511"/>
                </a:cubicBezTo>
                <a:cubicBezTo>
                  <a:pt x="508" y="510"/>
                  <a:pt x="514" y="512"/>
                  <a:pt x="520" y="516"/>
                </a:cubicBezTo>
                <a:cubicBezTo>
                  <a:pt x="525" y="520"/>
                  <a:pt x="529" y="526"/>
                  <a:pt x="529" y="532"/>
                </a:cubicBezTo>
                <a:cubicBezTo>
                  <a:pt x="530" y="541"/>
                  <a:pt x="531" y="546"/>
                  <a:pt x="535" y="550"/>
                </a:cubicBezTo>
                <a:cubicBezTo>
                  <a:pt x="539" y="555"/>
                  <a:pt x="544" y="555"/>
                  <a:pt x="548" y="555"/>
                </a:cubicBezTo>
                <a:cubicBezTo>
                  <a:pt x="549" y="555"/>
                  <a:pt x="550" y="555"/>
                  <a:pt x="550" y="555"/>
                </a:cubicBezTo>
                <a:cubicBezTo>
                  <a:pt x="552" y="555"/>
                  <a:pt x="558" y="556"/>
                  <a:pt x="562" y="558"/>
                </a:cubicBezTo>
                <a:cubicBezTo>
                  <a:pt x="564" y="559"/>
                  <a:pt x="565" y="561"/>
                  <a:pt x="566" y="562"/>
                </a:cubicBezTo>
                <a:cubicBezTo>
                  <a:pt x="567" y="562"/>
                  <a:pt x="567" y="562"/>
                  <a:pt x="567" y="563"/>
                </a:cubicBezTo>
                <a:cubicBezTo>
                  <a:pt x="567" y="565"/>
                  <a:pt x="566" y="573"/>
                  <a:pt x="566" y="580"/>
                </a:cubicBezTo>
                <a:cubicBezTo>
                  <a:pt x="567" y="590"/>
                  <a:pt x="567" y="602"/>
                  <a:pt x="577" y="609"/>
                </a:cubicBezTo>
                <a:cubicBezTo>
                  <a:pt x="582" y="612"/>
                  <a:pt x="587" y="616"/>
                  <a:pt x="591" y="619"/>
                </a:cubicBezTo>
                <a:cubicBezTo>
                  <a:pt x="596" y="622"/>
                  <a:pt x="599" y="625"/>
                  <a:pt x="605" y="625"/>
                </a:cubicBezTo>
                <a:cubicBezTo>
                  <a:pt x="607" y="625"/>
                  <a:pt x="608" y="625"/>
                  <a:pt x="610" y="624"/>
                </a:cubicBezTo>
                <a:cubicBezTo>
                  <a:pt x="615" y="620"/>
                  <a:pt x="614" y="616"/>
                  <a:pt x="615" y="613"/>
                </a:cubicBezTo>
                <a:cubicBezTo>
                  <a:pt x="615" y="610"/>
                  <a:pt x="614" y="607"/>
                  <a:pt x="614" y="604"/>
                </a:cubicBezTo>
                <a:cubicBezTo>
                  <a:pt x="614" y="605"/>
                  <a:pt x="615" y="605"/>
                  <a:pt x="616" y="606"/>
                </a:cubicBezTo>
                <a:cubicBezTo>
                  <a:pt x="618" y="608"/>
                  <a:pt x="620" y="611"/>
                  <a:pt x="625" y="611"/>
                </a:cubicBezTo>
                <a:cubicBezTo>
                  <a:pt x="625" y="611"/>
                  <a:pt x="626" y="612"/>
                  <a:pt x="627" y="613"/>
                </a:cubicBezTo>
                <a:cubicBezTo>
                  <a:pt x="630" y="616"/>
                  <a:pt x="635" y="624"/>
                  <a:pt x="635" y="628"/>
                </a:cubicBezTo>
                <a:cubicBezTo>
                  <a:pt x="635" y="628"/>
                  <a:pt x="635" y="629"/>
                  <a:pt x="634" y="629"/>
                </a:cubicBezTo>
                <a:cubicBezTo>
                  <a:pt x="634" y="632"/>
                  <a:pt x="633" y="634"/>
                  <a:pt x="633" y="637"/>
                </a:cubicBezTo>
                <a:cubicBezTo>
                  <a:pt x="633" y="648"/>
                  <a:pt x="641" y="660"/>
                  <a:pt x="654" y="661"/>
                </a:cubicBezTo>
                <a:cubicBezTo>
                  <a:pt x="655" y="660"/>
                  <a:pt x="661" y="664"/>
                  <a:pt x="666" y="669"/>
                </a:cubicBezTo>
                <a:cubicBezTo>
                  <a:pt x="668" y="671"/>
                  <a:pt x="670" y="674"/>
                  <a:pt x="672" y="676"/>
                </a:cubicBezTo>
                <a:cubicBezTo>
                  <a:pt x="675" y="678"/>
                  <a:pt x="676" y="680"/>
                  <a:pt x="680" y="681"/>
                </a:cubicBezTo>
                <a:cubicBezTo>
                  <a:pt x="680" y="681"/>
                  <a:pt x="682" y="683"/>
                  <a:pt x="684" y="684"/>
                </a:cubicBezTo>
                <a:cubicBezTo>
                  <a:pt x="685" y="685"/>
                  <a:pt x="685" y="686"/>
                  <a:pt x="685" y="687"/>
                </a:cubicBezTo>
                <a:cubicBezTo>
                  <a:pt x="686" y="687"/>
                  <a:pt x="686" y="688"/>
                  <a:pt x="686" y="688"/>
                </a:cubicBezTo>
                <a:cubicBezTo>
                  <a:pt x="686" y="688"/>
                  <a:pt x="686" y="688"/>
                  <a:pt x="686" y="688"/>
                </a:cubicBezTo>
                <a:cubicBezTo>
                  <a:pt x="686" y="692"/>
                  <a:pt x="687" y="698"/>
                  <a:pt x="689" y="706"/>
                </a:cubicBezTo>
                <a:cubicBezTo>
                  <a:pt x="690" y="713"/>
                  <a:pt x="692" y="721"/>
                  <a:pt x="692" y="725"/>
                </a:cubicBezTo>
                <a:cubicBezTo>
                  <a:pt x="692" y="734"/>
                  <a:pt x="688" y="773"/>
                  <a:pt x="687" y="788"/>
                </a:cubicBezTo>
                <a:cubicBezTo>
                  <a:pt x="687" y="789"/>
                  <a:pt x="687" y="790"/>
                  <a:pt x="687" y="791"/>
                </a:cubicBezTo>
                <a:cubicBezTo>
                  <a:pt x="687" y="809"/>
                  <a:pt x="697" y="833"/>
                  <a:pt x="709" y="847"/>
                </a:cubicBezTo>
                <a:cubicBezTo>
                  <a:pt x="714" y="854"/>
                  <a:pt x="720" y="863"/>
                  <a:pt x="725" y="872"/>
                </a:cubicBezTo>
                <a:cubicBezTo>
                  <a:pt x="730" y="881"/>
                  <a:pt x="733" y="889"/>
                  <a:pt x="739" y="894"/>
                </a:cubicBezTo>
                <a:cubicBezTo>
                  <a:pt x="741" y="895"/>
                  <a:pt x="744" y="900"/>
                  <a:pt x="747" y="904"/>
                </a:cubicBezTo>
                <a:cubicBezTo>
                  <a:pt x="750" y="909"/>
                  <a:pt x="755" y="914"/>
                  <a:pt x="763" y="915"/>
                </a:cubicBezTo>
                <a:cubicBezTo>
                  <a:pt x="764" y="915"/>
                  <a:pt x="764" y="914"/>
                  <a:pt x="765" y="914"/>
                </a:cubicBezTo>
                <a:cubicBezTo>
                  <a:pt x="766" y="914"/>
                  <a:pt x="766" y="914"/>
                  <a:pt x="766" y="914"/>
                </a:cubicBezTo>
                <a:cubicBezTo>
                  <a:pt x="769" y="914"/>
                  <a:pt x="771" y="915"/>
                  <a:pt x="774" y="919"/>
                </a:cubicBezTo>
                <a:cubicBezTo>
                  <a:pt x="777" y="923"/>
                  <a:pt x="781" y="930"/>
                  <a:pt x="785" y="939"/>
                </a:cubicBezTo>
                <a:cubicBezTo>
                  <a:pt x="790" y="948"/>
                  <a:pt x="794" y="961"/>
                  <a:pt x="799" y="971"/>
                </a:cubicBezTo>
                <a:cubicBezTo>
                  <a:pt x="801" y="977"/>
                  <a:pt x="803" y="982"/>
                  <a:pt x="805" y="986"/>
                </a:cubicBezTo>
                <a:cubicBezTo>
                  <a:pt x="808" y="990"/>
                  <a:pt x="809" y="993"/>
                  <a:pt x="814" y="995"/>
                </a:cubicBezTo>
                <a:cubicBezTo>
                  <a:pt x="816" y="996"/>
                  <a:pt x="819" y="998"/>
                  <a:pt x="821" y="1000"/>
                </a:cubicBezTo>
                <a:cubicBezTo>
                  <a:pt x="824" y="1002"/>
                  <a:pt x="824" y="1005"/>
                  <a:pt x="824" y="1005"/>
                </a:cubicBezTo>
                <a:cubicBezTo>
                  <a:pt x="824" y="1005"/>
                  <a:pt x="824" y="1005"/>
                  <a:pt x="824" y="1005"/>
                </a:cubicBezTo>
                <a:cubicBezTo>
                  <a:pt x="820" y="1011"/>
                  <a:pt x="814" y="1018"/>
                  <a:pt x="813" y="1027"/>
                </a:cubicBezTo>
                <a:cubicBezTo>
                  <a:pt x="813" y="1029"/>
                  <a:pt x="814" y="1032"/>
                  <a:pt x="816" y="1034"/>
                </a:cubicBezTo>
                <a:cubicBezTo>
                  <a:pt x="819" y="1037"/>
                  <a:pt x="822" y="1037"/>
                  <a:pt x="824" y="1037"/>
                </a:cubicBezTo>
                <a:cubicBezTo>
                  <a:pt x="831" y="1037"/>
                  <a:pt x="836" y="1035"/>
                  <a:pt x="836" y="1035"/>
                </a:cubicBezTo>
                <a:cubicBezTo>
                  <a:pt x="837" y="1035"/>
                  <a:pt x="837" y="1035"/>
                  <a:pt x="841" y="1040"/>
                </a:cubicBezTo>
                <a:cubicBezTo>
                  <a:pt x="845" y="1046"/>
                  <a:pt x="849" y="1051"/>
                  <a:pt x="852" y="1055"/>
                </a:cubicBezTo>
                <a:cubicBezTo>
                  <a:pt x="856" y="1059"/>
                  <a:pt x="856" y="1062"/>
                  <a:pt x="856" y="1063"/>
                </a:cubicBezTo>
                <a:cubicBezTo>
                  <a:pt x="856" y="1063"/>
                  <a:pt x="856" y="1063"/>
                  <a:pt x="856" y="1063"/>
                </a:cubicBezTo>
                <a:cubicBezTo>
                  <a:pt x="856" y="1064"/>
                  <a:pt x="856" y="1065"/>
                  <a:pt x="856" y="1065"/>
                </a:cubicBezTo>
                <a:cubicBezTo>
                  <a:pt x="856" y="1072"/>
                  <a:pt x="861" y="1076"/>
                  <a:pt x="865" y="1079"/>
                </a:cubicBezTo>
                <a:cubicBezTo>
                  <a:pt x="869" y="1080"/>
                  <a:pt x="872" y="1082"/>
                  <a:pt x="875" y="1082"/>
                </a:cubicBezTo>
                <a:cubicBezTo>
                  <a:pt x="875" y="1082"/>
                  <a:pt x="875" y="1082"/>
                  <a:pt x="875" y="1083"/>
                </a:cubicBezTo>
                <a:cubicBezTo>
                  <a:pt x="877" y="1084"/>
                  <a:pt x="879" y="1088"/>
                  <a:pt x="883" y="1092"/>
                </a:cubicBezTo>
                <a:cubicBezTo>
                  <a:pt x="886" y="1096"/>
                  <a:pt x="890" y="1100"/>
                  <a:pt x="897" y="1101"/>
                </a:cubicBezTo>
                <a:cubicBezTo>
                  <a:pt x="901" y="1101"/>
                  <a:pt x="904" y="1099"/>
                  <a:pt x="907" y="1096"/>
                </a:cubicBezTo>
                <a:cubicBezTo>
                  <a:pt x="910" y="1093"/>
                  <a:pt x="911" y="1089"/>
                  <a:pt x="911" y="1086"/>
                </a:cubicBezTo>
                <a:cubicBezTo>
                  <a:pt x="911" y="1077"/>
                  <a:pt x="905" y="1071"/>
                  <a:pt x="900" y="1065"/>
                </a:cubicBezTo>
                <a:cubicBezTo>
                  <a:pt x="894" y="1060"/>
                  <a:pt x="888" y="1055"/>
                  <a:pt x="886" y="1053"/>
                </a:cubicBezTo>
                <a:cubicBezTo>
                  <a:pt x="885" y="1052"/>
                  <a:pt x="884" y="1048"/>
                  <a:pt x="883" y="1041"/>
                </a:cubicBezTo>
                <a:cubicBezTo>
                  <a:pt x="882" y="1034"/>
                  <a:pt x="879" y="1024"/>
                  <a:pt x="870" y="1016"/>
                </a:cubicBezTo>
                <a:cubicBezTo>
                  <a:pt x="863" y="1009"/>
                  <a:pt x="860" y="1004"/>
                  <a:pt x="857" y="999"/>
                </a:cubicBezTo>
                <a:cubicBezTo>
                  <a:pt x="866" y="1010"/>
                  <a:pt x="877" y="1020"/>
                  <a:pt x="883" y="1027"/>
                </a:cubicBezTo>
                <a:cubicBezTo>
                  <a:pt x="887" y="1031"/>
                  <a:pt x="895" y="1044"/>
                  <a:pt x="901" y="1055"/>
                </a:cubicBezTo>
                <a:cubicBezTo>
                  <a:pt x="905" y="1060"/>
                  <a:pt x="908" y="1066"/>
                  <a:pt x="911" y="1070"/>
                </a:cubicBezTo>
                <a:cubicBezTo>
                  <a:pt x="912" y="1072"/>
                  <a:pt x="914" y="1074"/>
                  <a:pt x="915" y="1075"/>
                </a:cubicBezTo>
                <a:cubicBezTo>
                  <a:pt x="917" y="1076"/>
                  <a:pt x="918" y="1078"/>
                  <a:pt x="921" y="1078"/>
                </a:cubicBezTo>
                <a:cubicBezTo>
                  <a:pt x="923" y="1079"/>
                  <a:pt x="928" y="1084"/>
                  <a:pt x="931" y="1088"/>
                </a:cubicBezTo>
                <a:cubicBezTo>
                  <a:pt x="935" y="1092"/>
                  <a:pt x="938" y="1096"/>
                  <a:pt x="939" y="1098"/>
                </a:cubicBezTo>
                <a:cubicBezTo>
                  <a:pt x="939" y="1099"/>
                  <a:pt x="940" y="1101"/>
                  <a:pt x="942" y="1104"/>
                </a:cubicBezTo>
                <a:cubicBezTo>
                  <a:pt x="943" y="1108"/>
                  <a:pt x="944" y="1113"/>
                  <a:pt x="944" y="1114"/>
                </a:cubicBezTo>
                <a:cubicBezTo>
                  <a:pt x="944" y="1115"/>
                  <a:pt x="944" y="1115"/>
                  <a:pt x="944" y="1115"/>
                </a:cubicBezTo>
                <a:cubicBezTo>
                  <a:pt x="943" y="1117"/>
                  <a:pt x="943" y="1120"/>
                  <a:pt x="943" y="1122"/>
                </a:cubicBezTo>
                <a:cubicBezTo>
                  <a:pt x="943" y="1133"/>
                  <a:pt x="949" y="1147"/>
                  <a:pt x="959" y="1155"/>
                </a:cubicBezTo>
                <a:cubicBezTo>
                  <a:pt x="968" y="1161"/>
                  <a:pt x="999" y="1178"/>
                  <a:pt x="1004" y="1181"/>
                </a:cubicBezTo>
                <a:cubicBezTo>
                  <a:pt x="1005" y="1182"/>
                  <a:pt x="1009" y="1188"/>
                  <a:pt x="1013" y="1193"/>
                </a:cubicBezTo>
                <a:cubicBezTo>
                  <a:pt x="1018" y="1199"/>
                  <a:pt x="1024" y="1205"/>
                  <a:pt x="1034" y="1205"/>
                </a:cubicBezTo>
                <a:cubicBezTo>
                  <a:pt x="1046" y="1205"/>
                  <a:pt x="1054" y="1208"/>
                  <a:pt x="1054" y="1209"/>
                </a:cubicBezTo>
                <a:cubicBezTo>
                  <a:pt x="1055" y="1210"/>
                  <a:pt x="1058" y="1214"/>
                  <a:pt x="1061" y="1217"/>
                </a:cubicBezTo>
                <a:cubicBezTo>
                  <a:pt x="1064" y="1220"/>
                  <a:pt x="1068" y="1224"/>
                  <a:pt x="1075" y="1225"/>
                </a:cubicBezTo>
                <a:cubicBezTo>
                  <a:pt x="1079" y="1225"/>
                  <a:pt x="1082" y="1223"/>
                  <a:pt x="1085" y="1219"/>
                </a:cubicBezTo>
                <a:cubicBezTo>
                  <a:pt x="1088" y="1214"/>
                  <a:pt x="1090" y="1211"/>
                  <a:pt x="1092" y="1210"/>
                </a:cubicBezTo>
                <a:cubicBezTo>
                  <a:pt x="1093" y="1209"/>
                  <a:pt x="1094" y="1208"/>
                  <a:pt x="1098" y="1208"/>
                </a:cubicBezTo>
                <a:cubicBezTo>
                  <a:pt x="1101" y="1208"/>
                  <a:pt x="1103" y="1209"/>
                  <a:pt x="1106" y="1212"/>
                </a:cubicBezTo>
                <a:cubicBezTo>
                  <a:pt x="1108" y="1215"/>
                  <a:pt x="1111" y="1219"/>
                  <a:pt x="1114" y="1222"/>
                </a:cubicBezTo>
                <a:cubicBezTo>
                  <a:pt x="1117" y="1226"/>
                  <a:pt x="1122" y="1232"/>
                  <a:pt x="1128" y="1237"/>
                </a:cubicBezTo>
                <a:cubicBezTo>
                  <a:pt x="1134" y="1243"/>
                  <a:pt x="1140" y="1248"/>
                  <a:pt x="1148" y="1248"/>
                </a:cubicBezTo>
                <a:cubicBezTo>
                  <a:pt x="1148" y="1248"/>
                  <a:pt x="1149" y="1248"/>
                  <a:pt x="1150" y="1248"/>
                </a:cubicBezTo>
                <a:cubicBezTo>
                  <a:pt x="1150" y="1248"/>
                  <a:pt x="1150" y="1248"/>
                  <a:pt x="1150" y="1248"/>
                </a:cubicBezTo>
                <a:cubicBezTo>
                  <a:pt x="1151" y="1248"/>
                  <a:pt x="1154" y="1249"/>
                  <a:pt x="1158" y="1251"/>
                </a:cubicBezTo>
                <a:cubicBezTo>
                  <a:pt x="1161" y="1253"/>
                  <a:pt x="1165" y="1256"/>
                  <a:pt x="1170" y="1256"/>
                </a:cubicBezTo>
                <a:cubicBezTo>
                  <a:pt x="1172" y="1256"/>
                  <a:pt x="1175" y="1255"/>
                  <a:pt x="1176" y="1254"/>
                </a:cubicBezTo>
                <a:cubicBezTo>
                  <a:pt x="1177" y="1254"/>
                  <a:pt x="1177" y="1254"/>
                  <a:pt x="1177" y="1254"/>
                </a:cubicBezTo>
                <a:cubicBezTo>
                  <a:pt x="1179" y="1253"/>
                  <a:pt x="1186" y="1257"/>
                  <a:pt x="1189" y="1260"/>
                </a:cubicBezTo>
                <a:cubicBezTo>
                  <a:pt x="1194" y="1262"/>
                  <a:pt x="1206" y="1271"/>
                  <a:pt x="1206" y="1282"/>
                </a:cubicBezTo>
                <a:cubicBezTo>
                  <a:pt x="1206" y="1282"/>
                  <a:pt x="1206" y="1283"/>
                  <a:pt x="1206" y="1283"/>
                </a:cubicBezTo>
                <a:cubicBezTo>
                  <a:pt x="1206" y="1284"/>
                  <a:pt x="1206" y="1285"/>
                  <a:pt x="1206" y="1286"/>
                </a:cubicBezTo>
                <a:cubicBezTo>
                  <a:pt x="1206" y="1304"/>
                  <a:pt x="1219" y="1310"/>
                  <a:pt x="1225" y="1313"/>
                </a:cubicBezTo>
                <a:cubicBezTo>
                  <a:pt x="1231" y="1317"/>
                  <a:pt x="1240" y="1326"/>
                  <a:pt x="1245" y="1333"/>
                </a:cubicBezTo>
                <a:cubicBezTo>
                  <a:pt x="1250" y="1338"/>
                  <a:pt x="1255" y="1340"/>
                  <a:pt x="1260" y="1342"/>
                </a:cubicBezTo>
                <a:cubicBezTo>
                  <a:pt x="1262" y="1343"/>
                  <a:pt x="1264" y="1343"/>
                  <a:pt x="1265" y="1344"/>
                </a:cubicBezTo>
                <a:cubicBezTo>
                  <a:pt x="1266" y="1344"/>
                  <a:pt x="1267" y="1345"/>
                  <a:pt x="1267" y="1345"/>
                </a:cubicBezTo>
                <a:cubicBezTo>
                  <a:pt x="1267" y="1345"/>
                  <a:pt x="1267" y="1345"/>
                  <a:pt x="1267" y="1345"/>
                </a:cubicBezTo>
                <a:cubicBezTo>
                  <a:pt x="1268" y="1346"/>
                  <a:pt x="1269" y="1348"/>
                  <a:pt x="1271" y="1350"/>
                </a:cubicBezTo>
                <a:cubicBezTo>
                  <a:pt x="1273" y="1353"/>
                  <a:pt x="1276" y="1355"/>
                  <a:pt x="1281" y="1355"/>
                </a:cubicBezTo>
                <a:cubicBezTo>
                  <a:pt x="1285" y="1355"/>
                  <a:pt x="1288" y="1354"/>
                  <a:pt x="1291" y="1351"/>
                </a:cubicBezTo>
                <a:cubicBezTo>
                  <a:pt x="1299" y="1346"/>
                  <a:pt x="1302" y="1340"/>
                  <a:pt x="1302" y="1332"/>
                </a:cubicBezTo>
                <a:cubicBezTo>
                  <a:pt x="1302" y="1332"/>
                  <a:pt x="1302" y="1332"/>
                  <a:pt x="1302" y="1332"/>
                </a:cubicBezTo>
                <a:cubicBezTo>
                  <a:pt x="1305" y="1332"/>
                  <a:pt x="1308" y="1333"/>
                  <a:pt x="1309" y="1334"/>
                </a:cubicBezTo>
                <a:cubicBezTo>
                  <a:pt x="1310" y="1335"/>
                  <a:pt x="1313" y="1341"/>
                  <a:pt x="1315" y="1346"/>
                </a:cubicBezTo>
                <a:cubicBezTo>
                  <a:pt x="1316" y="1349"/>
                  <a:pt x="1317" y="1352"/>
                  <a:pt x="1318" y="1354"/>
                </a:cubicBezTo>
                <a:cubicBezTo>
                  <a:pt x="1319" y="1357"/>
                  <a:pt x="1319" y="1359"/>
                  <a:pt x="1322" y="1361"/>
                </a:cubicBezTo>
                <a:cubicBezTo>
                  <a:pt x="1322" y="1361"/>
                  <a:pt x="1322" y="1361"/>
                  <a:pt x="1322" y="1361"/>
                </a:cubicBezTo>
                <a:cubicBezTo>
                  <a:pt x="1322" y="1362"/>
                  <a:pt x="1324" y="1365"/>
                  <a:pt x="1325" y="1369"/>
                </a:cubicBezTo>
                <a:cubicBezTo>
                  <a:pt x="1326" y="1373"/>
                  <a:pt x="1327" y="1378"/>
                  <a:pt x="1327" y="1384"/>
                </a:cubicBezTo>
                <a:cubicBezTo>
                  <a:pt x="1327" y="1387"/>
                  <a:pt x="1327" y="1390"/>
                  <a:pt x="1326" y="1393"/>
                </a:cubicBezTo>
                <a:cubicBezTo>
                  <a:pt x="1323" y="1402"/>
                  <a:pt x="1323" y="1409"/>
                  <a:pt x="1322" y="1415"/>
                </a:cubicBezTo>
                <a:cubicBezTo>
                  <a:pt x="1321" y="1417"/>
                  <a:pt x="1321" y="1419"/>
                  <a:pt x="1321" y="1420"/>
                </a:cubicBezTo>
                <a:cubicBezTo>
                  <a:pt x="1318" y="1421"/>
                  <a:pt x="1316" y="1423"/>
                  <a:pt x="1315" y="1425"/>
                </a:cubicBezTo>
                <a:cubicBezTo>
                  <a:pt x="1313" y="1428"/>
                  <a:pt x="1311" y="1432"/>
                  <a:pt x="1308" y="1435"/>
                </a:cubicBezTo>
                <a:cubicBezTo>
                  <a:pt x="1306" y="1439"/>
                  <a:pt x="1304" y="1442"/>
                  <a:pt x="1303" y="1442"/>
                </a:cubicBezTo>
                <a:cubicBezTo>
                  <a:pt x="1299" y="1445"/>
                  <a:pt x="1293" y="1451"/>
                  <a:pt x="1287" y="1457"/>
                </a:cubicBezTo>
                <a:cubicBezTo>
                  <a:pt x="1282" y="1464"/>
                  <a:pt x="1277" y="1469"/>
                  <a:pt x="1276" y="1477"/>
                </a:cubicBezTo>
                <a:cubicBezTo>
                  <a:pt x="1276" y="1478"/>
                  <a:pt x="1276" y="1478"/>
                  <a:pt x="1276" y="1479"/>
                </a:cubicBezTo>
                <a:cubicBezTo>
                  <a:pt x="1277" y="1483"/>
                  <a:pt x="1279" y="1489"/>
                  <a:pt x="1282" y="1495"/>
                </a:cubicBezTo>
                <a:cubicBezTo>
                  <a:pt x="1284" y="1501"/>
                  <a:pt x="1286" y="1508"/>
                  <a:pt x="1286" y="1512"/>
                </a:cubicBezTo>
                <a:cubicBezTo>
                  <a:pt x="1286" y="1513"/>
                  <a:pt x="1286" y="1513"/>
                  <a:pt x="1286" y="1514"/>
                </a:cubicBezTo>
                <a:cubicBezTo>
                  <a:pt x="1285" y="1516"/>
                  <a:pt x="1282" y="1520"/>
                  <a:pt x="1278" y="1526"/>
                </a:cubicBezTo>
                <a:cubicBezTo>
                  <a:pt x="1275" y="1531"/>
                  <a:pt x="1271" y="1538"/>
                  <a:pt x="1271" y="1546"/>
                </a:cubicBezTo>
                <a:cubicBezTo>
                  <a:pt x="1271" y="1548"/>
                  <a:pt x="1271" y="1550"/>
                  <a:pt x="1272" y="1552"/>
                </a:cubicBezTo>
                <a:cubicBezTo>
                  <a:pt x="1274" y="1563"/>
                  <a:pt x="1283" y="1568"/>
                  <a:pt x="1289" y="1573"/>
                </a:cubicBezTo>
                <a:cubicBezTo>
                  <a:pt x="1296" y="1577"/>
                  <a:pt x="1300" y="1581"/>
                  <a:pt x="1300" y="1584"/>
                </a:cubicBezTo>
                <a:cubicBezTo>
                  <a:pt x="1301" y="1593"/>
                  <a:pt x="1306" y="1604"/>
                  <a:pt x="1311" y="1615"/>
                </a:cubicBezTo>
                <a:cubicBezTo>
                  <a:pt x="1316" y="1626"/>
                  <a:pt x="1320" y="1637"/>
                  <a:pt x="1321" y="1643"/>
                </a:cubicBezTo>
                <a:cubicBezTo>
                  <a:pt x="1323" y="1652"/>
                  <a:pt x="1329" y="1659"/>
                  <a:pt x="1334" y="1667"/>
                </a:cubicBezTo>
                <a:cubicBezTo>
                  <a:pt x="1339" y="1675"/>
                  <a:pt x="1343" y="1682"/>
                  <a:pt x="1343" y="1690"/>
                </a:cubicBezTo>
                <a:cubicBezTo>
                  <a:pt x="1343" y="1703"/>
                  <a:pt x="1352" y="1712"/>
                  <a:pt x="1360" y="1718"/>
                </a:cubicBezTo>
                <a:cubicBezTo>
                  <a:pt x="1368" y="1724"/>
                  <a:pt x="1377" y="1728"/>
                  <a:pt x="1381" y="1729"/>
                </a:cubicBezTo>
                <a:cubicBezTo>
                  <a:pt x="1381" y="1729"/>
                  <a:pt x="1385" y="1732"/>
                  <a:pt x="1390" y="1736"/>
                </a:cubicBezTo>
                <a:cubicBezTo>
                  <a:pt x="1394" y="1739"/>
                  <a:pt x="1399" y="1744"/>
                  <a:pt x="1404" y="1746"/>
                </a:cubicBezTo>
                <a:cubicBezTo>
                  <a:pt x="1410" y="1750"/>
                  <a:pt x="1416" y="1757"/>
                  <a:pt x="1422" y="1767"/>
                </a:cubicBezTo>
                <a:cubicBezTo>
                  <a:pt x="1425" y="1773"/>
                  <a:pt x="1426" y="1784"/>
                  <a:pt x="1426" y="1790"/>
                </a:cubicBezTo>
                <a:cubicBezTo>
                  <a:pt x="1426" y="1793"/>
                  <a:pt x="1426" y="1795"/>
                  <a:pt x="1426" y="1796"/>
                </a:cubicBezTo>
                <a:cubicBezTo>
                  <a:pt x="1426" y="1799"/>
                  <a:pt x="1422" y="1843"/>
                  <a:pt x="1419" y="1867"/>
                </a:cubicBezTo>
                <a:cubicBezTo>
                  <a:pt x="1418" y="1872"/>
                  <a:pt x="1418" y="1877"/>
                  <a:pt x="1418" y="1882"/>
                </a:cubicBezTo>
                <a:cubicBezTo>
                  <a:pt x="1418" y="1893"/>
                  <a:pt x="1420" y="1902"/>
                  <a:pt x="1419" y="1909"/>
                </a:cubicBezTo>
                <a:cubicBezTo>
                  <a:pt x="1420" y="1913"/>
                  <a:pt x="1419" y="1914"/>
                  <a:pt x="1418" y="1915"/>
                </a:cubicBezTo>
                <a:cubicBezTo>
                  <a:pt x="1414" y="1920"/>
                  <a:pt x="1406" y="1925"/>
                  <a:pt x="1405" y="1935"/>
                </a:cubicBezTo>
                <a:cubicBezTo>
                  <a:pt x="1405" y="1938"/>
                  <a:pt x="1406" y="1942"/>
                  <a:pt x="1409" y="1945"/>
                </a:cubicBezTo>
                <a:cubicBezTo>
                  <a:pt x="1409" y="1945"/>
                  <a:pt x="1409" y="1945"/>
                  <a:pt x="1409" y="1945"/>
                </a:cubicBezTo>
                <a:cubicBezTo>
                  <a:pt x="1409" y="1946"/>
                  <a:pt x="1407" y="1948"/>
                  <a:pt x="1405" y="1949"/>
                </a:cubicBezTo>
                <a:cubicBezTo>
                  <a:pt x="1404" y="1950"/>
                  <a:pt x="1403" y="1951"/>
                  <a:pt x="1402" y="1952"/>
                </a:cubicBezTo>
                <a:cubicBezTo>
                  <a:pt x="1401" y="1954"/>
                  <a:pt x="1399" y="1955"/>
                  <a:pt x="1399" y="1959"/>
                </a:cubicBezTo>
                <a:cubicBezTo>
                  <a:pt x="1399" y="1963"/>
                  <a:pt x="1401" y="1966"/>
                  <a:pt x="1402" y="1972"/>
                </a:cubicBezTo>
                <a:cubicBezTo>
                  <a:pt x="1404" y="1977"/>
                  <a:pt x="1405" y="1983"/>
                  <a:pt x="1405" y="1988"/>
                </a:cubicBezTo>
                <a:cubicBezTo>
                  <a:pt x="1405" y="1990"/>
                  <a:pt x="1405" y="1991"/>
                  <a:pt x="1404" y="1992"/>
                </a:cubicBezTo>
                <a:cubicBezTo>
                  <a:pt x="1399" y="2003"/>
                  <a:pt x="1396" y="2016"/>
                  <a:pt x="1393" y="2024"/>
                </a:cubicBezTo>
                <a:cubicBezTo>
                  <a:pt x="1391" y="2030"/>
                  <a:pt x="1383" y="2038"/>
                  <a:pt x="1383" y="2051"/>
                </a:cubicBezTo>
                <a:cubicBezTo>
                  <a:pt x="1383" y="2053"/>
                  <a:pt x="1383" y="2055"/>
                  <a:pt x="1383" y="2056"/>
                </a:cubicBezTo>
                <a:cubicBezTo>
                  <a:pt x="1383" y="2057"/>
                  <a:pt x="1384" y="2058"/>
                  <a:pt x="1384" y="2058"/>
                </a:cubicBezTo>
                <a:cubicBezTo>
                  <a:pt x="1383" y="2060"/>
                  <a:pt x="1384" y="2059"/>
                  <a:pt x="1381" y="2062"/>
                </a:cubicBezTo>
                <a:cubicBezTo>
                  <a:pt x="1378" y="2063"/>
                  <a:pt x="1374" y="2069"/>
                  <a:pt x="1374" y="2076"/>
                </a:cubicBezTo>
                <a:cubicBezTo>
                  <a:pt x="1374" y="2083"/>
                  <a:pt x="1378" y="2088"/>
                  <a:pt x="1380" y="2090"/>
                </a:cubicBezTo>
                <a:cubicBezTo>
                  <a:pt x="1382" y="2092"/>
                  <a:pt x="1382" y="2091"/>
                  <a:pt x="1382" y="2094"/>
                </a:cubicBezTo>
                <a:cubicBezTo>
                  <a:pt x="1382" y="2095"/>
                  <a:pt x="1382" y="2096"/>
                  <a:pt x="1382" y="2097"/>
                </a:cubicBezTo>
                <a:cubicBezTo>
                  <a:pt x="1381" y="2104"/>
                  <a:pt x="1379" y="2108"/>
                  <a:pt x="1378" y="2113"/>
                </a:cubicBezTo>
                <a:cubicBezTo>
                  <a:pt x="1376" y="2117"/>
                  <a:pt x="1374" y="2122"/>
                  <a:pt x="1374" y="2128"/>
                </a:cubicBezTo>
                <a:cubicBezTo>
                  <a:pt x="1374" y="2135"/>
                  <a:pt x="1376" y="2142"/>
                  <a:pt x="1377" y="2148"/>
                </a:cubicBezTo>
                <a:cubicBezTo>
                  <a:pt x="1379" y="2153"/>
                  <a:pt x="1380" y="2159"/>
                  <a:pt x="1380" y="2159"/>
                </a:cubicBezTo>
                <a:cubicBezTo>
                  <a:pt x="1380" y="2159"/>
                  <a:pt x="1379" y="2163"/>
                  <a:pt x="1376" y="2168"/>
                </a:cubicBezTo>
                <a:cubicBezTo>
                  <a:pt x="1374" y="2173"/>
                  <a:pt x="1371" y="2179"/>
                  <a:pt x="1367" y="2184"/>
                </a:cubicBezTo>
                <a:cubicBezTo>
                  <a:pt x="1360" y="2194"/>
                  <a:pt x="1354" y="2201"/>
                  <a:pt x="1353" y="2211"/>
                </a:cubicBezTo>
                <a:cubicBezTo>
                  <a:pt x="1353" y="2212"/>
                  <a:pt x="1353" y="2213"/>
                  <a:pt x="1353" y="2214"/>
                </a:cubicBezTo>
                <a:cubicBezTo>
                  <a:pt x="1354" y="2218"/>
                  <a:pt x="1357" y="2222"/>
                  <a:pt x="1359" y="2226"/>
                </a:cubicBezTo>
                <a:cubicBezTo>
                  <a:pt x="1360" y="2227"/>
                  <a:pt x="1360" y="2229"/>
                  <a:pt x="1361" y="2230"/>
                </a:cubicBezTo>
                <a:cubicBezTo>
                  <a:pt x="1361" y="2230"/>
                  <a:pt x="1361" y="2231"/>
                  <a:pt x="1361" y="2231"/>
                </a:cubicBezTo>
                <a:cubicBezTo>
                  <a:pt x="1361" y="2232"/>
                  <a:pt x="1358" y="2236"/>
                  <a:pt x="1356" y="2240"/>
                </a:cubicBezTo>
                <a:cubicBezTo>
                  <a:pt x="1354" y="2245"/>
                  <a:pt x="1351" y="2251"/>
                  <a:pt x="1351" y="2258"/>
                </a:cubicBezTo>
                <a:cubicBezTo>
                  <a:pt x="1351" y="2259"/>
                  <a:pt x="1351" y="2259"/>
                  <a:pt x="1351" y="2260"/>
                </a:cubicBezTo>
                <a:cubicBezTo>
                  <a:pt x="1352" y="2268"/>
                  <a:pt x="1358" y="2272"/>
                  <a:pt x="1361" y="2272"/>
                </a:cubicBezTo>
                <a:cubicBezTo>
                  <a:pt x="1363" y="2273"/>
                  <a:pt x="1364" y="2273"/>
                  <a:pt x="1365" y="2273"/>
                </a:cubicBezTo>
                <a:cubicBezTo>
                  <a:pt x="1364" y="2274"/>
                  <a:pt x="1363" y="2276"/>
                  <a:pt x="1361" y="2277"/>
                </a:cubicBezTo>
                <a:cubicBezTo>
                  <a:pt x="1359" y="2279"/>
                  <a:pt x="1356" y="2282"/>
                  <a:pt x="1356" y="2287"/>
                </a:cubicBezTo>
                <a:cubicBezTo>
                  <a:pt x="1356" y="2290"/>
                  <a:pt x="1358" y="2293"/>
                  <a:pt x="1360" y="2295"/>
                </a:cubicBezTo>
                <a:cubicBezTo>
                  <a:pt x="1364" y="2299"/>
                  <a:pt x="1368" y="2301"/>
                  <a:pt x="1370" y="2302"/>
                </a:cubicBezTo>
                <a:cubicBezTo>
                  <a:pt x="1371" y="2304"/>
                  <a:pt x="1372" y="2304"/>
                  <a:pt x="1372" y="2308"/>
                </a:cubicBezTo>
                <a:cubicBezTo>
                  <a:pt x="1372" y="2310"/>
                  <a:pt x="1372" y="2311"/>
                  <a:pt x="1372" y="2312"/>
                </a:cubicBezTo>
                <a:cubicBezTo>
                  <a:pt x="1372" y="2314"/>
                  <a:pt x="1371" y="2315"/>
                  <a:pt x="1371" y="2317"/>
                </a:cubicBezTo>
                <a:cubicBezTo>
                  <a:pt x="1371" y="2335"/>
                  <a:pt x="1390" y="2341"/>
                  <a:pt x="1389" y="2342"/>
                </a:cubicBezTo>
                <a:cubicBezTo>
                  <a:pt x="1391" y="2344"/>
                  <a:pt x="1393" y="2347"/>
                  <a:pt x="1397" y="2351"/>
                </a:cubicBezTo>
                <a:cubicBezTo>
                  <a:pt x="1400" y="2354"/>
                  <a:pt x="1403" y="2357"/>
                  <a:pt x="1409" y="2358"/>
                </a:cubicBezTo>
                <a:cubicBezTo>
                  <a:pt x="1409" y="2359"/>
                  <a:pt x="1410" y="2361"/>
                  <a:pt x="1412" y="2362"/>
                </a:cubicBezTo>
                <a:cubicBezTo>
                  <a:pt x="1413" y="2363"/>
                  <a:pt x="1414" y="2363"/>
                  <a:pt x="1415" y="2363"/>
                </a:cubicBezTo>
                <a:cubicBezTo>
                  <a:pt x="1416" y="2364"/>
                  <a:pt x="1422" y="2366"/>
                  <a:pt x="1427" y="2369"/>
                </a:cubicBezTo>
                <a:cubicBezTo>
                  <a:pt x="1433" y="2371"/>
                  <a:pt x="1439" y="2374"/>
                  <a:pt x="1446" y="2374"/>
                </a:cubicBezTo>
                <a:cubicBezTo>
                  <a:pt x="1457" y="2374"/>
                  <a:pt x="1474" y="2369"/>
                  <a:pt x="1479" y="2367"/>
                </a:cubicBezTo>
                <a:cubicBezTo>
                  <a:pt x="1479" y="2367"/>
                  <a:pt x="1487" y="2365"/>
                  <a:pt x="1494" y="2363"/>
                </a:cubicBezTo>
                <a:cubicBezTo>
                  <a:pt x="1498" y="2363"/>
                  <a:pt x="1501" y="2362"/>
                  <a:pt x="1504" y="2360"/>
                </a:cubicBezTo>
                <a:cubicBezTo>
                  <a:pt x="1508" y="2359"/>
                  <a:pt x="1510" y="2359"/>
                  <a:pt x="1513" y="2355"/>
                </a:cubicBezTo>
                <a:cubicBezTo>
                  <a:pt x="1514" y="2354"/>
                  <a:pt x="1514" y="2352"/>
                  <a:pt x="1514" y="2351"/>
                </a:cubicBezTo>
                <a:cubicBezTo>
                  <a:pt x="1514" y="2347"/>
                  <a:pt x="1511" y="2345"/>
                  <a:pt x="1510" y="2345"/>
                </a:cubicBezTo>
                <a:cubicBezTo>
                  <a:pt x="1505" y="2343"/>
                  <a:pt x="1501" y="2343"/>
                  <a:pt x="1495" y="2342"/>
                </a:cubicBezTo>
                <a:cubicBezTo>
                  <a:pt x="1489" y="2341"/>
                  <a:pt x="1483" y="2340"/>
                  <a:pt x="1480" y="2339"/>
                </a:cubicBezTo>
                <a:cubicBezTo>
                  <a:pt x="1477" y="2338"/>
                  <a:pt x="1469" y="2332"/>
                  <a:pt x="1464" y="2326"/>
                </a:cubicBezTo>
                <a:cubicBezTo>
                  <a:pt x="1458" y="2320"/>
                  <a:pt x="1453" y="2312"/>
                  <a:pt x="1453" y="2310"/>
                </a:cubicBezTo>
                <a:cubicBezTo>
                  <a:pt x="1452" y="2308"/>
                  <a:pt x="1451" y="2304"/>
                  <a:pt x="1451" y="2301"/>
                </a:cubicBezTo>
                <a:cubicBezTo>
                  <a:pt x="1451" y="2294"/>
                  <a:pt x="1454" y="2288"/>
                  <a:pt x="1456" y="2286"/>
                </a:cubicBezTo>
                <a:cubicBezTo>
                  <a:pt x="1465" y="2280"/>
                  <a:pt x="1484" y="2261"/>
                  <a:pt x="1489" y="2257"/>
                </a:cubicBezTo>
                <a:cubicBezTo>
                  <a:pt x="1492" y="2254"/>
                  <a:pt x="1494" y="2249"/>
                  <a:pt x="1496" y="2244"/>
                </a:cubicBezTo>
                <a:cubicBezTo>
                  <a:pt x="1498" y="2239"/>
                  <a:pt x="1500" y="2234"/>
                  <a:pt x="1500" y="2229"/>
                </a:cubicBezTo>
                <a:cubicBezTo>
                  <a:pt x="1500" y="2227"/>
                  <a:pt x="1500" y="2225"/>
                  <a:pt x="1497" y="2221"/>
                </a:cubicBezTo>
                <a:cubicBezTo>
                  <a:pt x="1493" y="2219"/>
                  <a:pt x="1491" y="2219"/>
                  <a:pt x="1489" y="2219"/>
                </a:cubicBezTo>
                <a:cubicBezTo>
                  <a:pt x="1485" y="2219"/>
                  <a:pt x="1481" y="2219"/>
                  <a:pt x="1478" y="2219"/>
                </a:cubicBezTo>
                <a:cubicBezTo>
                  <a:pt x="1477" y="2218"/>
                  <a:pt x="1476" y="2218"/>
                  <a:pt x="1476" y="2218"/>
                </a:cubicBezTo>
                <a:cubicBezTo>
                  <a:pt x="1476" y="2218"/>
                  <a:pt x="1476" y="2218"/>
                  <a:pt x="1476" y="2218"/>
                </a:cubicBezTo>
                <a:cubicBezTo>
                  <a:pt x="1476" y="2217"/>
                  <a:pt x="1476" y="2214"/>
                  <a:pt x="1484" y="2208"/>
                </a:cubicBezTo>
                <a:cubicBezTo>
                  <a:pt x="1490" y="2202"/>
                  <a:pt x="1494" y="2196"/>
                  <a:pt x="1498" y="2190"/>
                </a:cubicBezTo>
                <a:cubicBezTo>
                  <a:pt x="1501" y="2185"/>
                  <a:pt x="1504" y="2180"/>
                  <a:pt x="1505" y="2180"/>
                </a:cubicBezTo>
                <a:cubicBezTo>
                  <a:pt x="1510" y="2176"/>
                  <a:pt x="1520" y="2167"/>
                  <a:pt x="1524" y="2155"/>
                </a:cubicBezTo>
                <a:cubicBezTo>
                  <a:pt x="1525" y="2153"/>
                  <a:pt x="1525" y="2152"/>
                  <a:pt x="1525" y="2149"/>
                </a:cubicBezTo>
                <a:cubicBezTo>
                  <a:pt x="1525" y="2148"/>
                  <a:pt x="1525" y="2145"/>
                  <a:pt x="1523" y="2143"/>
                </a:cubicBezTo>
                <a:cubicBezTo>
                  <a:pt x="1521" y="2142"/>
                  <a:pt x="1519" y="2141"/>
                  <a:pt x="1517" y="2141"/>
                </a:cubicBezTo>
                <a:cubicBezTo>
                  <a:pt x="1513" y="2142"/>
                  <a:pt x="1510" y="2143"/>
                  <a:pt x="1508" y="2143"/>
                </a:cubicBezTo>
                <a:cubicBezTo>
                  <a:pt x="1508" y="2143"/>
                  <a:pt x="1508" y="2142"/>
                  <a:pt x="1507" y="2142"/>
                </a:cubicBezTo>
                <a:cubicBezTo>
                  <a:pt x="1506" y="2139"/>
                  <a:pt x="1504" y="2135"/>
                  <a:pt x="1504" y="2131"/>
                </a:cubicBezTo>
                <a:cubicBezTo>
                  <a:pt x="1506" y="2132"/>
                  <a:pt x="1508" y="2133"/>
                  <a:pt x="1510" y="2133"/>
                </a:cubicBezTo>
                <a:cubicBezTo>
                  <a:pt x="1515" y="2135"/>
                  <a:pt x="1521" y="2137"/>
                  <a:pt x="1526" y="2138"/>
                </a:cubicBezTo>
                <a:cubicBezTo>
                  <a:pt x="1528" y="2139"/>
                  <a:pt x="1529" y="2139"/>
                  <a:pt x="1531" y="2139"/>
                </a:cubicBezTo>
                <a:cubicBezTo>
                  <a:pt x="1534" y="2139"/>
                  <a:pt x="1537" y="2138"/>
                  <a:pt x="1539" y="2136"/>
                </a:cubicBezTo>
                <a:cubicBezTo>
                  <a:pt x="1541" y="2134"/>
                  <a:pt x="1541" y="2131"/>
                  <a:pt x="1541" y="2129"/>
                </a:cubicBezTo>
                <a:cubicBezTo>
                  <a:pt x="1541" y="2124"/>
                  <a:pt x="1539" y="2120"/>
                  <a:pt x="1539" y="2117"/>
                </a:cubicBezTo>
                <a:cubicBezTo>
                  <a:pt x="1539" y="2116"/>
                  <a:pt x="1539" y="2115"/>
                  <a:pt x="1539" y="2114"/>
                </a:cubicBezTo>
                <a:cubicBezTo>
                  <a:pt x="1539" y="2111"/>
                  <a:pt x="1539" y="2108"/>
                  <a:pt x="1540" y="2106"/>
                </a:cubicBezTo>
                <a:cubicBezTo>
                  <a:pt x="1540" y="2106"/>
                  <a:pt x="1540" y="2106"/>
                  <a:pt x="1541" y="2105"/>
                </a:cubicBezTo>
                <a:cubicBezTo>
                  <a:pt x="1544" y="2107"/>
                  <a:pt x="1548" y="2107"/>
                  <a:pt x="1553" y="2107"/>
                </a:cubicBezTo>
                <a:cubicBezTo>
                  <a:pt x="1567" y="2107"/>
                  <a:pt x="1586" y="2104"/>
                  <a:pt x="1591" y="2103"/>
                </a:cubicBezTo>
                <a:cubicBezTo>
                  <a:pt x="1596" y="2101"/>
                  <a:pt x="1597" y="2098"/>
                  <a:pt x="1599" y="2095"/>
                </a:cubicBezTo>
                <a:cubicBezTo>
                  <a:pt x="1605" y="2087"/>
                  <a:pt x="1613" y="2072"/>
                  <a:pt x="1616" y="2067"/>
                </a:cubicBezTo>
                <a:cubicBezTo>
                  <a:pt x="1619" y="2063"/>
                  <a:pt x="1621" y="2058"/>
                  <a:pt x="1621" y="2053"/>
                </a:cubicBezTo>
                <a:cubicBezTo>
                  <a:pt x="1621" y="2049"/>
                  <a:pt x="1619" y="2044"/>
                  <a:pt x="1615" y="2041"/>
                </a:cubicBezTo>
                <a:cubicBezTo>
                  <a:pt x="1614" y="2041"/>
                  <a:pt x="1614" y="2040"/>
                  <a:pt x="1613" y="2039"/>
                </a:cubicBezTo>
                <a:cubicBezTo>
                  <a:pt x="1618" y="2041"/>
                  <a:pt x="1624" y="2042"/>
                  <a:pt x="1629" y="2042"/>
                </a:cubicBezTo>
                <a:cubicBezTo>
                  <a:pt x="1639" y="2042"/>
                  <a:pt x="1647" y="2038"/>
                  <a:pt x="1656" y="2028"/>
                </a:cubicBezTo>
                <a:cubicBezTo>
                  <a:pt x="1671" y="2011"/>
                  <a:pt x="1683" y="2000"/>
                  <a:pt x="1685" y="1986"/>
                </a:cubicBezTo>
                <a:cubicBezTo>
                  <a:pt x="1686" y="1977"/>
                  <a:pt x="1689" y="1968"/>
                  <a:pt x="1692" y="1965"/>
                </a:cubicBezTo>
                <a:cubicBezTo>
                  <a:pt x="1693" y="1965"/>
                  <a:pt x="1695" y="1967"/>
                  <a:pt x="1699" y="1967"/>
                </a:cubicBezTo>
                <a:cubicBezTo>
                  <a:pt x="1702" y="1967"/>
                  <a:pt x="1705" y="1965"/>
                  <a:pt x="1707" y="1963"/>
                </a:cubicBezTo>
                <a:cubicBezTo>
                  <a:pt x="1708" y="1961"/>
                  <a:pt x="1710" y="1958"/>
                  <a:pt x="1711" y="1954"/>
                </a:cubicBezTo>
                <a:cubicBezTo>
                  <a:pt x="1715" y="1946"/>
                  <a:pt x="1717" y="1943"/>
                  <a:pt x="1720" y="1939"/>
                </a:cubicBezTo>
                <a:cubicBezTo>
                  <a:pt x="1724" y="1936"/>
                  <a:pt x="1728" y="1931"/>
                  <a:pt x="1732" y="1923"/>
                </a:cubicBezTo>
                <a:cubicBezTo>
                  <a:pt x="1733" y="1919"/>
                  <a:pt x="1734" y="1916"/>
                  <a:pt x="1734" y="1912"/>
                </a:cubicBezTo>
                <a:cubicBezTo>
                  <a:pt x="1734" y="1902"/>
                  <a:pt x="1729" y="1892"/>
                  <a:pt x="1729" y="1886"/>
                </a:cubicBezTo>
                <a:cubicBezTo>
                  <a:pt x="1730" y="1883"/>
                  <a:pt x="1730" y="1882"/>
                  <a:pt x="1732" y="1880"/>
                </a:cubicBezTo>
                <a:cubicBezTo>
                  <a:pt x="1746" y="1869"/>
                  <a:pt x="1770" y="1855"/>
                  <a:pt x="1770" y="1855"/>
                </a:cubicBezTo>
                <a:cubicBezTo>
                  <a:pt x="1770" y="1855"/>
                  <a:pt x="1771" y="1854"/>
                  <a:pt x="1774" y="1853"/>
                </a:cubicBezTo>
                <a:cubicBezTo>
                  <a:pt x="1778" y="1851"/>
                  <a:pt x="1782" y="1849"/>
                  <a:pt x="1789" y="1847"/>
                </a:cubicBezTo>
                <a:cubicBezTo>
                  <a:pt x="1795" y="1846"/>
                  <a:pt x="1802" y="1845"/>
                  <a:pt x="1808" y="1844"/>
                </a:cubicBezTo>
                <a:cubicBezTo>
                  <a:pt x="1815" y="1844"/>
                  <a:pt x="1822" y="1842"/>
                  <a:pt x="1826" y="1835"/>
                </a:cubicBezTo>
                <a:cubicBezTo>
                  <a:pt x="1831" y="1825"/>
                  <a:pt x="1836" y="1808"/>
                  <a:pt x="1842" y="1800"/>
                </a:cubicBezTo>
                <a:cubicBezTo>
                  <a:pt x="1848" y="1791"/>
                  <a:pt x="1855" y="1779"/>
                  <a:pt x="1855" y="1769"/>
                </a:cubicBezTo>
                <a:cubicBezTo>
                  <a:pt x="1855" y="1766"/>
                  <a:pt x="1855" y="1764"/>
                  <a:pt x="1854" y="1762"/>
                </a:cubicBezTo>
                <a:cubicBezTo>
                  <a:pt x="1854" y="1762"/>
                  <a:pt x="1854" y="1761"/>
                  <a:pt x="1854" y="1761"/>
                </a:cubicBezTo>
                <a:cubicBezTo>
                  <a:pt x="1854" y="1758"/>
                  <a:pt x="1856" y="1749"/>
                  <a:pt x="1858" y="1742"/>
                </a:cubicBezTo>
                <a:cubicBezTo>
                  <a:pt x="1860" y="1734"/>
                  <a:pt x="1862" y="1726"/>
                  <a:pt x="1863" y="1720"/>
                </a:cubicBezTo>
                <a:cubicBezTo>
                  <a:pt x="1863" y="1720"/>
                  <a:pt x="1862" y="1719"/>
                  <a:pt x="1862" y="1718"/>
                </a:cubicBezTo>
                <a:cubicBezTo>
                  <a:pt x="1861" y="1712"/>
                  <a:pt x="1858" y="1705"/>
                  <a:pt x="1858" y="1697"/>
                </a:cubicBezTo>
                <a:cubicBezTo>
                  <a:pt x="1858" y="1691"/>
                  <a:pt x="1860" y="1686"/>
                  <a:pt x="1866" y="1679"/>
                </a:cubicBezTo>
                <a:cubicBezTo>
                  <a:pt x="1875" y="1671"/>
                  <a:pt x="1884" y="1660"/>
                  <a:pt x="1891" y="1651"/>
                </a:cubicBezTo>
                <a:cubicBezTo>
                  <a:pt x="1899" y="1641"/>
                  <a:pt x="1904" y="1634"/>
                  <a:pt x="1905" y="1628"/>
                </a:cubicBezTo>
                <a:cubicBezTo>
                  <a:pt x="1905" y="1626"/>
                  <a:pt x="1909" y="1617"/>
                  <a:pt x="1913" y="1608"/>
                </a:cubicBezTo>
                <a:cubicBezTo>
                  <a:pt x="1916" y="1598"/>
                  <a:pt x="1920" y="1588"/>
                  <a:pt x="1920" y="1579"/>
                </a:cubicBezTo>
                <a:cubicBezTo>
                  <a:pt x="1920" y="1578"/>
                  <a:pt x="1920" y="1577"/>
                  <a:pt x="1920" y="1577"/>
                </a:cubicBezTo>
                <a:cubicBezTo>
                  <a:pt x="1916" y="1560"/>
                  <a:pt x="1905" y="1543"/>
                  <a:pt x="1894" y="1537"/>
                </a:cubicBezTo>
                <a:close/>
                <a:moveTo>
                  <a:pt x="1322" y="737"/>
                </a:moveTo>
                <a:cubicBezTo>
                  <a:pt x="1322" y="736"/>
                  <a:pt x="1322" y="736"/>
                  <a:pt x="1322" y="736"/>
                </a:cubicBezTo>
                <a:cubicBezTo>
                  <a:pt x="1322" y="737"/>
                  <a:pt x="1322" y="737"/>
                  <a:pt x="1322" y="737"/>
                </a:cubicBezTo>
                <a:close/>
                <a:moveTo>
                  <a:pt x="1311" y="755"/>
                </a:moveTo>
                <a:cubicBezTo>
                  <a:pt x="1314" y="751"/>
                  <a:pt x="1318" y="748"/>
                  <a:pt x="1320" y="745"/>
                </a:cubicBezTo>
                <a:cubicBezTo>
                  <a:pt x="1321" y="744"/>
                  <a:pt x="1322" y="743"/>
                  <a:pt x="1323" y="743"/>
                </a:cubicBezTo>
                <a:cubicBezTo>
                  <a:pt x="1324" y="743"/>
                  <a:pt x="1325" y="743"/>
                  <a:pt x="1326" y="743"/>
                </a:cubicBezTo>
                <a:cubicBezTo>
                  <a:pt x="1331" y="743"/>
                  <a:pt x="1338" y="742"/>
                  <a:pt x="1344" y="742"/>
                </a:cubicBezTo>
                <a:cubicBezTo>
                  <a:pt x="1345" y="742"/>
                  <a:pt x="1347" y="742"/>
                  <a:pt x="1348" y="742"/>
                </a:cubicBezTo>
                <a:cubicBezTo>
                  <a:pt x="1345" y="743"/>
                  <a:pt x="1341" y="745"/>
                  <a:pt x="1336" y="747"/>
                </a:cubicBezTo>
                <a:cubicBezTo>
                  <a:pt x="1331" y="750"/>
                  <a:pt x="1327" y="751"/>
                  <a:pt x="1324" y="752"/>
                </a:cubicBezTo>
                <a:cubicBezTo>
                  <a:pt x="1320" y="753"/>
                  <a:pt x="1317" y="756"/>
                  <a:pt x="1314" y="760"/>
                </a:cubicBezTo>
                <a:cubicBezTo>
                  <a:pt x="1313" y="762"/>
                  <a:pt x="1309" y="764"/>
                  <a:pt x="1304" y="767"/>
                </a:cubicBezTo>
                <a:cubicBezTo>
                  <a:pt x="1303" y="767"/>
                  <a:pt x="1302" y="768"/>
                  <a:pt x="1301" y="768"/>
                </a:cubicBezTo>
                <a:cubicBezTo>
                  <a:pt x="1303" y="765"/>
                  <a:pt x="1307" y="760"/>
                  <a:pt x="1311" y="755"/>
                </a:cubicBezTo>
                <a:close/>
                <a:moveTo>
                  <a:pt x="1293" y="718"/>
                </a:moveTo>
                <a:cubicBezTo>
                  <a:pt x="1294" y="720"/>
                  <a:pt x="1295" y="722"/>
                  <a:pt x="1296" y="724"/>
                </a:cubicBezTo>
                <a:cubicBezTo>
                  <a:pt x="1296" y="724"/>
                  <a:pt x="1296" y="724"/>
                  <a:pt x="1296" y="724"/>
                </a:cubicBezTo>
                <a:cubicBezTo>
                  <a:pt x="1294" y="722"/>
                  <a:pt x="1293" y="720"/>
                  <a:pt x="1293" y="717"/>
                </a:cubicBezTo>
                <a:cubicBezTo>
                  <a:pt x="1293" y="718"/>
                  <a:pt x="1293" y="718"/>
                  <a:pt x="1293" y="718"/>
                </a:cubicBezTo>
                <a:close/>
                <a:moveTo>
                  <a:pt x="1290" y="776"/>
                </a:moveTo>
                <a:cubicBezTo>
                  <a:pt x="1289" y="776"/>
                  <a:pt x="1289" y="777"/>
                  <a:pt x="1288" y="778"/>
                </a:cubicBezTo>
                <a:cubicBezTo>
                  <a:pt x="1285" y="781"/>
                  <a:pt x="1280" y="784"/>
                  <a:pt x="1277" y="785"/>
                </a:cubicBezTo>
                <a:cubicBezTo>
                  <a:pt x="1278" y="784"/>
                  <a:pt x="1278" y="784"/>
                  <a:pt x="1279" y="783"/>
                </a:cubicBezTo>
                <a:cubicBezTo>
                  <a:pt x="1279" y="783"/>
                  <a:pt x="1279" y="782"/>
                  <a:pt x="1279" y="782"/>
                </a:cubicBezTo>
                <a:cubicBezTo>
                  <a:pt x="1281" y="781"/>
                  <a:pt x="1286" y="778"/>
                  <a:pt x="1290" y="776"/>
                </a:cubicBezTo>
                <a:close/>
                <a:moveTo>
                  <a:pt x="1259" y="711"/>
                </a:moveTo>
                <a:cubicBezTo>
                  <a:pt x="1260" y="711"/>
                  <a:pt x="1261" y="711"/>
                  <a:pt x="1262" y="710"/>
                </a:cubicBezTo>
                <a:cubicBezTo>
                  <a:pt x="1260" y="704"/>
                  <a:pt x="1260" y="704"/>
                  <a:pt x="1260" y="704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4" y="710"/>
                  <a:pt x="1268" y="709"/>
                  <a:pt x="1272" y="709"/>
                </a:cubicBezTo>
                <a:cubicBezTo>
                  <a:pt x="1276" y="709"/>
                  <a:pt x="1280" y="710"/>
                  <a:pt x="1283" y="710"/>
                </a:cubicBezTo>
                <a:cubicBezTo>
                  <a:pt x="1281" y="711"/>
                  <a:pt x="1281" y="712"/>
                  <a:pt x="1281" y="712"/>
                </a:cubicBezTo>
                <a:cubicBezTo>
                  <a:pt x="1279" y="715"/>
                  <a:pt x="1278" y="718"/>
                  <a:pt x="1277" y="722"/>
                </a:cubicBezTo>
                <a:cubicBezTo>
                  <a:pt x="1277" y="726"/>
                  <a:pt x="1276" y="731"/>
                  <a:pt x="1276" y="735"/>
                </a:cubicBezTo>
                <a:cubicBezTo>
                  <a:pt x="1276" y="739"/>
                  <a:pt x="1276" y="742"/>
                  <a:pt x="1278" y="746"/>
                </a:cubicBezTo>
                <a:cubicBezTo>
                  <a:pt x="1278" y="746"/>
                  <a:pt x="1278" y="746"/>
                  <a:pt x="1278" y="747"/>
                </a:cubicBezTo>
                <a:cubicBezTo>
                  <a:pt x="1278" y="747"/>
                  <a:pt x="1277" y="751"/>
                  <a:pt x="1274" y="753"/>
                </a:cubicBezTo>
                <a:cubicBezTo>
                  <a:pt x="1273" y="754"/>
                  <a:pt x="1272" y="752"/>
                  <a:pt x="1271" y="756"/>
                </a:cubicBezTo>
                <a:cubicBezTo>
                  <a:pt x="1271" y="756"/>
                  <a:pt x="1271" y="756"/>
                  <a:pt x="1271" y="756"/>
                </a:cubicBezTo>
                <a:cubicBezTo>
                  <a:pt x="1270" y="752"/>
                  <a:pt x="1268" y="747"/>
                  <a:pt x="1268" y="742"/>
                </a:cubicBezTo>
                <a:cubicBezTo>
                  <a:pt x="1268" y="740"/>
                  <a:pt x="1269" y="739"/>
                  <a:pt x="1269" y="737"/>
                </a:cubicBezTo>
                <a:cubicBezTo>
                  <a:pt x="1269" y="736"/>
                  <a:pt x="1269" y="735"/>
                  <a:pt x="1269" y="734"/>
                </a:cubicBezTo>
                <a:cubicBezTo>
                  <a:pt x="1269" y="724"/>
                  <a:pt x="1264" y="714"/>
                  <a:pt x="1255" y="710"/>
                </a:cubicBezTo>
                <a:cubicBezTo>
                  <a:pt x="1257" y="711"/>
                  <a:pt x="1258" y="711"/>
                  <a:pt x="1259" y="711"/>
                </a:cubicBezTo>
                <a:close/>
                <a:moveTo>
                  <a:pt x="1246" y="708"/>
                </a:moveTo>
                <a:cubicBezTo>
                  <a:pt x="1246" y="708"/>
                  <a:pt x="1246" y="708"/>
                  <a:pt x="1245" y="708"/>
                </a:cubicBezTo>
                <a:cubicBezTo>
                  <a:pt x="1244" y="708"/>
                  <a:pt x="1243" y="708"/>
                  <a:pt x="1242" y="708"/>
                </a:cubicBezTo>
                <a:cubicBezTo>
                  <a:pt x="1226" y="710"/>
                  <a:pt x="1219" y="726"/>
                  <a:pt x="1216" y="727"/>
                </a:cubicBezTo>
                <a:cubicBezTo>
                  <a:pt x="1212" y="731"/>
                  <a:pt x="1212" y="736"/>
                  <a:pt x="1211" y="740"/>
                </a:cubicBezTo>
                <a:cubicBezTo>
                  <a:pt x="1210" y="745"/>
                  <a:pt x="1210" y="750"/>
                  <a:pt x="1210" y="755"/>
                </a:cubicBezTo>
                <a:cubicBezTo>
                  <a:pt x="1210" y="760"/>
                  <a:pt x="1210" y="764"/>
                  <a:pt x="1211" y="766"/>
                </a:cubicBezTo>
                <a:cubicBezTo>
                  <a:pt x="1211" y="767"/>
                  <a:pt x="1211" y="769"/>
                  <a:pt x="1211" y="771"/>
                </a:cubicBezTo>
                <a:cubicBezTo>
                  <a:pt x="1211" y="774"/>
                  <a:pt x="1211" y="779"/>
                  <a:pt x="1210" y="781"/>
                </a:cubicBezTo>
                <a:cubicBezTo>
                  <a:pt x="1208" y="783"/>
                  <a:pt x="1208" y="784"/>
                  <a:pt x="1207" y="784"/>
                </a:cubicBezTo>
                <a:cubicBezTo>
                  <a:pt x="1207" y="784"/>
                  <a:pt x="1207" y="784"/>
                  <a:pt x="1207" y="784"/>
                </a:cubicBezTo>
                <a:cubicBezTo>
                  <a:pt x="1207" y="784"/>
                  <a:pt x="1207" y="783"/>
                  <a:pt x="1206" y="781"/>
                </a:cubicBezTo>
                <a:cubicBezTo>
                  <a:pt x="1205" y="778"/>
                  <a:pt x="1204" y="774"/>
                  <a:pt x="1204" y="770"/>
                </a:cubicBezTo>
                <a:cubicBezTo>
                  <a:pt x="1204" y="765"/>
                  <a:pt x="1205" y="759"/>
                  <a:pt x="1205" y="756"/>
                </a:cubicBezTo>
                <a:cubicBezTo>
                  <a:pt x="1206" y="755"/>
                  <a:pt x="1206" y="754"/>
                  <a:pt x="1206" y="752"/>
                </a:cubicBezTo>
                <a:cubicBezTo>
                  <a:pt x="1206" y="746"/>
                  <a:pt x="1204" y="737"/>
                  <a:pt x="1204" y="730"/>
                </a:cubicBezTo>
                <a:cubicBezTo>
                  <a:pt x="1204" y="725"/>
                  <a:pt x="1205" y="720"/>
                  <a:pt x="1206" y="718"/>
                </a:cubicBezTo>
                <a:cubicBezTo>
                  <a:pt x="1209" y="710"/>
                  <a:pt x="1220" y="706"/>
                  <a:pt x="1229" y="705"/>
                </a:cubicBezTo>
                <a:cubicBezTo>
                  <a:pt x="1229" y="705"/>
                  <a:pt x="1230" y="705"/>
                  <a:pt x="1230" y="705"/>
                </a:cubicBezTo>
                <a:cubicBezTo>
                  <a:pt x="1234" y="705"/>
                  <a:pt x="1239" y="706"/>
                  <a:pt x="1245" y="708"/>
                </a:cubicBezTo>
                <a:cubicBezTo>
                  <a:pt x="1245" y="708"/>
                  <a:pt x="1246" y="708"/>
                  <a:pt x="1246" y="708"/>
                </a:cubicBezTo>
                <a:close/>
                <a:moveTo>
                  <a:pt x="1157" y="679"/>
                </a:moveTo>
                <a:cubicBezTo>
                  <a:pt x="1158" y="679"/>
                  <a:pt x="1158" y="679"/>
                  <a:pt x="1158" y="679"/>
                </a:cubicBezTo>
                <a:cubicBezTo>
                  <a:pt x="1158" y="678"/>
                  <a:pt x="1164" y="677"/>
                  <a:pt x="1173" y="673"/>
                </a:cubicBezTo>
                <a:cubicBezTo>
                  <a:pt x="1171" y="667"/>
                  <a:pt x="1171" y="667"/>
                  <a:pt x="1171" y="667"/>
                </a:cubicBezTo>
                <a:cubicBezTo>
                  <a:pt x="1173" y="673"/>
                  <a:pt x="1173" y="673"/>
                  <a:pt x="1173" y="673"/>
                </a:cubicBezTo>
                <a:cubicBezTo>
                  <a:pt x="1180" y="669"/>
                  <a:pt x="1187" y="664"/>
                  <a:pt x="1193" y="660"/>
                </a:cubicBezTo>
                <a:cubicBezTo>
                  <a:pt x="1198" y="656"/>
                  <a:pt x="1203" y="653"/>
                  <a:pt x="1204" y="653"/>
                </a:cubicBezTo>
                <a:cubicBezTo>
                  <a:pt x="1211" y="662"/>
                  <a:pt x="1222" y="671"/>
                  <a:pt x="1233" y="674"/>
                </a:cubicBezTo>
                <a:cubicBezTo>
                  <a:pt x="1232" y="675"/>
                  <a:pt x="1232" y="677"/>
                  <a:pt x="1231" y="679"/>
                </a:cubicBezTo>
                <a:cubicBezTo>
                  <a:pt x="1230" y="680"/>
                  <a:pt x="1229" y="681"/>
                  <a:pt x="1228" y="682"/>
                </a:cubicBezTo>
                <a:cubicBezTo>
                  <a:pt x="1228" y="682"/>
                  <a:pt x="1228" y="682"/>
                  <a:pt x="1228" y="682"/>
                </a:cubicBezTo>
                <a:cubicBezTo>
                  <a:pt x="1224" y="682"/>
                  <a:pt x="1214" y="679"/>
                  <a:pt x="1204" y="679"/>
                </a:cubicBezTo>
                <a:cubicBezTo>
                  <a:pt x="1201" y="679"/>
                  <a:pt x="1201" y="679"/>
                  <a:pt x="1201" y="678"/>
                </a:cubicBezTo>
                <a:cubicBezTo>
                  <a:pt x="1200" y="678"/>
                  <a:pt x="1200" y="677"/>
                  <a:pt x="1199" y="675"/>
                </a:cubicBezTo>
                <a:cubicBezTo>
                  <a:pt x="1198" y="674"/>
                  <a:pt x="1195" y="672"/>
                  <a:pt x="1192" y="672"/>
                </a:cubicBezTo>
                <a:cubicBezTo>
                  <a:pt x="1191" y="672"/>
                  <a:pt x="1190" y="672"/>
                  <a:pt x="1189" y="672"/>
                </a:cubicBezTo>
                <a:cubicBezTo>
                  <a:pt x="1185" y="674"/>
                  <a:pt x="1174" y="677"/>
                  <a:pt x="1166" y="681"/>
                </a:cubicBezTo>
                <a:cubicBezTo>
                  <a:pt x="1165" y="682"/>
                  <a:pt x="1162" y="683"/>
                  <a:pt x="1160" y="683"/>
                </a:cubicBezTo>
                <a:cubicBezTo>
                  <a:pt x="1159" y="683"/>
                  <a:pt x="1157" y="682"/>
                  <a:pt x="1157" y="682"/>
                </a:cubicBezTo>
                <a:cubicBezTo>
                  <a:pt x="1157" y="680"/>
                  <a:pt x="1157" y="679"/>
                  <a:pt x="1157" y="679"/>
                </a:cubicBezTo>
                <a:close/>
                <a:moveTo>
                  <a:pt x="1239" y="392"/>
                </a:moveTo>
                <a:cubicBezTo>
                  <a:pt x="1238" y="392"/>
                  <a:pt x="1238" y="392"/>
                  <a:pt x="1237" y="393"/>
                </a:cubicBezTo>
                <a:cubicBezTo>
                  <a:pt x="1236" y="393"/>
                  <a:pt x="1235" y="393"/>
                  <a:pt x="1234" y="393"/>
                </a:cubicBezTo>
                <a:cubicBezTo>
                  <a:pt x="1233" y="393"/>
                  <a:pt x="1233" y="393"/>
                  <a:pt x="1232" y="392"/>
                </a:cubicBezTo>
                <a:cubicBezTo>
                  <a:pt x="1232" y="392"/>
                  <a:pt x="1232" y="392"/>
                  <a:pt x="1231" y="391"/>
                </a:cubicBezTo>
                <a:cubicBezTo>
                  <a:pt x="1234" y="391"/>
                  <a:pt x="1236" y="392"/>
                  <a:pt x="1239" y="392"/>
                </a:cubicBezTo>
                <a:close/>
                <a:moveTo>
                  <a:pt x="1190" y="333"/>
                </a:moveTo>
                <a:cubicBezTo>
                  <a:pt x="1192" y="333"/>
                  <a:pt x="1194" y="333"/>
                  <a:pt x="1196" y="333"/>
                </a:cubicBezTo>
                <a:cubicBezTo>
                  <a:pt x="1198" y="333"/>
                  <a:pt x="1200" y="332"/>
                  <a:pt x="1202" y="332"/>
                </a:cubicBezTo>
                <a:cubicBezTo>
                  <a:pt x="1208" y="332"/>
                  <a:pt x="1213" y="333"/>
                  <a:pt x="1217" y="334"/>
                </a:cubicBezTo>
                <a:cubicBezTo>
                  <a:pt x="1218" y="334"/>
                  <a:pt x="1219" y="334"/>
                  <a:pt x="1219" y="334"/>
                </a:cubicBezTo>
                <a:cubicBezTo>
                  <a:pt x="1219" y="335"/>
                  <a:pt x="1219" y="336"/>
                  <a:pt x="1219" y="337"/>
                </a:cubicBezTo>
                <a:cubicBezTo>
                  <a:pt x="1219" y="339"/>
                  <a:pt x="1218" y="341"/>
                  <a:pt x="1218" y="342"/>
                </a:cubicBezTo>
                <a:cubicBezTo>
                  <a:pt x="1218" y="343"/>
                  <a:pt x="1217" y="343"/>
                  <a:pt x="1217" y="343"/>
                </a:cubicBezTo>
                <a:cubicBezTo>
                  <a:pt x="1215" y="344"/>
                  <a:pt x="1212" y="345"/>
                  <a:pt x="1208" y="347"/>
                </a:cubicBezTo>
                <a:cubicBezTo>
                  <a:pt x="1204" y="348"/>
                  <a:pt x="1199" y="352"/>
                  <a:pt x="1197" y="358"/>
                </a:cubicBezTo>
                <a:cubicBezTo>
                  <a:pt x="1197" y="358"/>
                  <a:pt x="1197" y="359"/>
                  <a:pt x="1197" y="359"/>
                </a:cubicBezTo>
                <a:cubicBezTo>
                  <a:pt x="1197" y="357"/>
                  <a:pt x="1197" y="356"/>
                  <a:pt x="1197" y="354"/>
                </a:cubicBezTo>
                <a:cubicBezTo>
                  <a:pt x="1197" y="349"/>
                  <a:pt x="1196" y="343"/>
                  <a:pt x="1191" y="339"/>
                </a:cubicBezTo>
                <a:cubicBezTo>
                  <a:pt x="1188" y="336"/>
                  <a:pt x="1185" y="334"/>
                  <a:pt x="1182" y="332"/>
                </a:cubicBezTo>
                <a:cubicBezTo>
                  <a:pt x="1184" y="333"/>
                  <a:pt x="1187" y="333"/>
                  <a:pt x="1190" y="333"/>
                </a:cubicBezTo>
                <a:close/>
                <a:moveTo>
                  <a:pt x="1102" y="289"/>
                </a:moveTo>
                <a:cubicBezTo>
                  <a:pt x="1101" y="287"/>
                  <a:pt x="1101" y="287"/>
                  <a:pt x="1101" y="287"/>
                </a:cubicBezTo>
                <a:cubicBezTo>
                  <a:pt x="1102" y="289"/>
                  <a:pt x="1102" y="289"/>
                  <a:pt x="1102" y="289"/>
                </a:cubicBezTo>
                <a:cubicBezTo>
                  <a:pt x="1102" y="289"/>
                  <a:pt x="1102" y="289"/>
                  <a:pt x="1102" y="289"/>
                </a:cubicBezTo>
                <a:close/>
                <a:moveTo>
                  <a:pt x="190" y="423"/>
                </a:moveTo>
                <a:cubicBezTo>
                  <a:pt x="188" y="425"/>
                  <a:pt x="186" y="427"/>
                  <a:pt x="184" y="427"/>
                </a:cubicBezTo>
                <a:cubicBezTo>
                  <a:pt x="183" y="427"/>
                  <a:pt x="183" y="427"/>
                  <a:pt x="183" y="427"/>
                </a:cubicBezTo>
                <a:cubicBezTo>
                  <a:pt x="181" y="427"/>
                  <a:pt x="180" y="427"/>
                  <a:pt x="179" y="426"/>
                </a:cubicBezTo>
                <a:cubicBezTo>
                  <a:pt x="180" y="426"/>
                  <a:pt x="182" y="425"/>
                  <a:pt x="183" y="423"/>
                </a:cubicBezTo>
                <a:cubicBezTo>
                  <a:pt x="186" y="420"/>
                  <a:pt x="188" y="420"/>
                  <a:pt x="191" y="420"/>
                </a:cubicBezTo>
                <a:cubicBezTo>
                  <a:pt x="192" y="420"/>
                  <a:pt x="192" y="420"/>
                  <a:pt x="193" y="420"/>
                </a:cubicBezTo>
                <a:cubicBezTo>
                  <a:pt x="192" y="421"/>
                  <a:pt x="191" y="422"/>
                  <a:pt x="190" y="423"/>
                </a:cubicBezTo>
                <a:close/>
                <a:moveTo>
                  <a:pt x="692" y="653"/>
                </a:moveTo>
                <a:cubicBezTo>
                  <a:pt x="692" y="653"/>
                  <a:pt x="692" y="652"/>
                  <a:pt x="692" y="652"/>
                </a:cubicBezTo>
                <a:cubicBezTo>
                  <a:pt x="692" y="652"/>
                  <a:pt x="692" y="652"/>
                  <a:pt x="692" y="652"/>
                </a:cubicBezTo>
                <a:cubicBezTo>
                  <a:pt x="692" y="653"/>
                  <a:pt x="693" y="653"/>
                  <a:pt x="693" y="653"/>
                </a:cubicBezTo>
                <a:cubicBezTo>
                  <a:pt x="693" y="653"/>
                  <a:pt x="692" y="653"/>
                  <a:pt x="692" y="653"/>
                </a:cubicBezTo>
                <a:close/>
                <a:moveTo>
                  <a:pt x="714" y="672"/>
                </a:moveTo>
                <a:cubicBezTo>
                  <a:pt x="714" y="673"/>
                  <a:pt x="716" y="676"/>
                  <a:pt x="716" y="680"/>
                </a:cubicBezTo>
                <a:cubicBezTo>
                  <a:pt x="715" y="677"/>
                  <a:pt x="714" y="675"/>
                  <a:pt x="714" y="672"/>
                </a:cubicBezTo>
                <a:close/>
                <a:moveTo>
                  <a:pt x="832" y="962"/>
                </a:moveTo>
                <a:cubicBezTo>
                  <a:pt x="832" y="961"/>
                  <a:pt x="832" y="960"/>
                  <a:pt x="835" y="957"/>
                </a:cubicBezTo>
                <a:cubicBezTo>
                  <a:pt x="835" y="957"/>
                  <a:pt x="836" y="957"/>
                  <a:pt x="836" y="956"/>
                </a:cubicBezTo>
                <a:cubicBezTo>
                  <a:pt x="837" y="957"/>
                  <a:pt x="838" y="960"/>
                  <a:pt x="839" y="963"/>
                </a:cubicBezTo>
                <a:cubicBezTo>
                  <a:pt x="840" y="967"/>
                  <a:pt x="841" y="972"/>
                  <a:pt x="843" y="977"/>
                </a:cubicBezTo>
                <a:cubicBezTo>
                  <a:pt x="843" y="977"/>
                  <a:pt x="843" y="977"/>
                  <a:pt x="843" y="977"/>
                </a:cubicBezTo>
                <a:cubicBezTo>
                  <a:pt x="836" y="970"/>
                  <a:pt x="831" y="964"/>
                  <a:pt x="832" y="962"/>
                </a:cubicBezTo>
                <a:close/>
                <a:moveTo>
                  <a:pt x="897" y="270"/>
                </a:moveTo>
                <a:cubicBezTo>
                  <a:pt x="897" y="270"/>
                  <a:pt x="896" y="270"/>
                  <a:pt x="896" y="270"/>
                </a:cubicBezTo>
                <a:cubicBezTo>
                  <a:pt x="892" y="270"/>
                  <a:pt x="888" y="270"/>
                  <a:pt x="883" y="271"/>
                </a:cubicBezTo>
                <a:cubicBezTo>
                  <a:pt x="873" y="272"/>
                  <a:pt x="857" y="275"/>
                  <a:pt x="850" y="275"/>
                </a:cubicBezTo>
                <a:cubicBezTo>
                  <a:pt x="849" y="275"/>
                  <a:pt x="849" y="275"/>
                  <a:pt x="849" y="275"/>
                </a:cubicBezTo>
                <a:cubicBezTo>
                  <a:pt x="848" y="275"/>
                  <a:pt x="847" y="275"/>
                  <a:pt x="847" y="275"/>
                </a:cubicBezTo>
                <a:cubicBezTo>
                  <a:pt x="846" y="274"/>
                  <a:pt x="844" y="271"/>
                  <a:pt x="836" y="268"/>
                </a:cubicBezTo>
                <a:cubicBezTo>
                  <a:pt x="824" y="261"/>
                  <a:pt x="818" y="261"/>
                  <a:pt x="812" y="258"/>
                </a:cubicBezTo>
                <a:cubicBezTo>
                  <a:pt x="816" y="256"/>
                  <a:pt x="818" y="254"/>
                  <a:pt x="821" y="252"/>
                </a:cubicBezTo>
                <a:cubicBezTo>
                  <a:pt x="823" y="251"/>
                  <a:pt x="824" y="250"/>
                  <a:pt x="825" y="249"/>
                </a:cubicBezTo>
                <a:cubicBezTo>
                  <a:pt x="826" y="249"/>
                  <a:pt x="827" y="249"/>
                  <a:pt x="827" y="249"/>
                </a:cubicBezTo>
                <a:cubicBezTo>
                  <a:pt x="828" y="250"/>
                  <a:pt x="829" y="253"/>
                  <a:pt x="831" y="256"/>
                </a:cubicBezTo>
                <a:cubicBezTo>
                  <a:pt x="832" y="259"/>
                  <a:pt x="834" y="264"/>
                  <a:pt x="839" y="267"/>
                </a:cubicBezTo>
                <a:cubicBezTo>
                  <a:pt x="844" y="269"/>
                  <a:pt x="849" y="270"/>
                  <a:pt x="855" y="270"/>
                </a:cubicBezTo>
                <a:cubicBezTo>
                  <a:pt x="860" y="270"/>
                  <a:pt x="866" y="269"/>
                  <a:pt x="871" y="268"/>
                </a:cubicBezTo>
                <a:cubicBezTo>
                  <a:pt x="873" y="267"/>
                  <a:pt x="881" y="266"/>
                  <a:pt x="887" y="266"/>
                </a:cubicBezTo>
                <a:cubicBezTo>
                  <a:pt x="893" y="266"/>
                  <a:pt x="899" y="266"/>
                  <a:pt x="902" y="267"/>
                </a:cubicBezTo>
                <a:cubicBezTo>
                  <a:pt x="904" y="267"/>
                  <a:pt x="908" y="268"/>
                  <a:pt x="913" y="269"/>
                </a:cubicBezTo>
                <a:cubicBezTo>
                  <a:pt x="913" y="270"/>
                  <a:pt x="913" y="271"/>
                  <a:pt x="913" y="272"/>
                </a:cubicBezTo>
                <a:cubicBezTo>
                  <a:pt x="913" y="273"/>
                  <a:pt x="913" y="274"/>
                  <a:pt x="913" y="276"/>
                </a:cubicBezTo>
                <a:cubicBezTo>
                  <a:pt x="908" y="272"/>
                  <a:pt x="902" y="270"/>
                  <a:pt x="897" y="270"/>
                </a:cubicBezTo>
                <a:close/>
                <a:moveTo>
                  <a:pt x="1692" y="1468"/>
                </a:moveTo>
                <a:cubicBezTo>
                  <a:pt x="1691" y="1470"/>
                  <a:pt x="1691" y="1471"/>
                  <a:pt x="1682" y="1473"/>
                </a:cubicBezTo>
                <a:cubicBezTo>
                  <a:pt x="1680" y="1474"/>
                  <a:pt x="1679" y="1474"/>
                  <a:pt x="1678" y="1474"/>
                </a:cubicBezTo>
                <a:cubicBezTo>
                  <a:pt x="1677" y="1474"/>
                  <a:pt x="1676" y="1474"/>
                  <a:pt x="1676" y="1474"/>
                </a:cubicBezTo>
                <a:cubicBezTo>
                  <a:pt x="1676" y="1473"/>
                  <a:pt x="1677" y="1473"/>
                  <a:pt x="1678" y="1473"/>
                </a:cubicBezTo>
                <a:cubicBezTo>
                  <a:pt x="1683" y="1472"/>
                  <a:pt x="1688" y="1470"/>
                  <a:pt x="1692" y="1467"/>
                </a:cubicBezTo>
                <a:cubicBezTo>
                  <a:pt x="1692" y="1467"/>
                  <a:pt x="1692" y="1468"/>
                  <a:pt x="1692" y="1468"/>
                </a:cubicBezTo>
                <a:close/>
                <a:moveTo>
                  <a:pt x="1712" y="1500"/>
                </a:move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lose/>
                <a:moveTo>
                  <a:pt x="1024" y="266"/>
                </a:moveTo>
                <a:cubicBezTo>
                  <a:pt x="1021" y="266"/>
                  <a:pt x="1014" y="264"/>
                  <a:pt x="1008" y="264"/>
                </a:cubicBezTo>
                <a:cubicBezTo>
                  <a:pt x="1003" y="264"/>
                  <a:pt x="998" y="265"/>
                  <a:pt x="994" y="268"/>
                </a:cubicBezTo>
                <a:cubicBezTo>
                  <a:pt x="990" y="271"/>
                  <a:pt x="989" y="276"/>
                  <a:pt x="989" y="279"/>
                </a:cubicBezTo>
                <a:cubicBezTo>
                  <a:pt x="989" y="287"/>
                  <a:pt x="993" y="296"/>
                  <a:pt x="1003" y="297"/>
                </a:cubicBezTo>
                <a:cubicBezTo>
                  <a:pt x="1004" y="297"/>
                  <a:pt x="1005" y="297"/>
                  <a:pt x="1005" y="297"/>
                </a:cubicBezTo>
                <a:cubicBezTo>
                  <a:pt x="1012" y="297"/>
                  <a:pt x="1019" y="295"/>
                  <a:pt x="1023" y="294"/>
                </a:cubicBezTo>
                <a:cubicBezTo>
                  <a:pt x="1024" y="297"/>
                  <a:pt x="1025" y="302"/>
                  <a:pt x="1027" y="307"/>
                </a:cubicBezTo>
                <a:cubicBezTo>
                  <a:pt x="1030" y="312"/>
                  <a:pt x="1034" y="320"/>
                  <a:pt x="1044" y="320"/>
                </a:cubicBezTo>
                <a:cubicBezTo>
                  <a:pt x="1047" y="320"/>
                  <a:pt x="1049" y="319"/>
                  <a:pt x="1052" y="318"/>
                </a:cubicBezTo>
                <a:cubicBezTo>
                  <a:pt x="1060" y="313"/>
                  <a:pt x="1064" y="308"/>
                  <a:pt x="1066" y="305"/>
                </a:cubicBezTo>
                <a:cubicBezTo>
                  <a:pt x="1067" y="303"/>
                  <a:pt x="1068" y="302"/>
                  <a:pt x="1068" y="301"/>
                </a:cubicBezTo>
                <a:cubicBezTo>
                  <a:pt x="1071" y="300"/>
                  <a:pt x="1072" y="298"/>
                  <a:pt x="1073" y="297"/>
                </a:cubicBezTo>
                <a:cubicBezTo>
                  <a:pt x="1073" y="295"/>
                  <a:pt x="1073" y="294"/>
                  <a:pt x="1073" y="292"/>
                </a:cubicBezTo>
                <a:cubicBezTo>
                  <a:pt x="1073" y="284"/>
                  <a:pt x="1070" y="272"/>
                  <a:pt x="1063" y="265"/>
                </a:cubicBezTo>
                <a:cubicBezTo>
                  <a:pt x="1058" y="262"/>
                  <a:pt x="1053" y="262"/>
                  <a:pt x="1047" y="262"/>
                </a:cubicBezTo>
                <a:cubicBezTo>
                  <a:pt x="1039" y="262"/>
                  <a:pt x="1030" y="263"/>
                  <a:pt x="1025" y="266"/>
                </a:cubicBezTo>
                <a:cubicBezTo>
                  <a:pt x="1025" y="266"/>
                  <a:pt x="1025" y="266"/>
                  <a:pt x="1025" y="266"/>
                </a:cubicBezTo>
                <a:cubicBezTo>
                  <a:pt x="1025" y="266"/>
                  <a:pt x="1024" y="266"/>
                  <a:pt x="1024" y="266"/>
                </a:cubicBezTo>
                <a:close/>
                <a:moveTo>
                  <a:pt x="2576" y="835"/>
                </a:moveTo>
                <a:cubicBezTo>
                  <a:pt x="2575" y="835"/>
                  <a:pt x="2567" y="833"/>
                  <a:pt x="2559" y="833"/>
                </a:cubicBezTo>
                <a:cubicBezTo>
                  <a:pt x="2556" y="833"/>
                  <a:pt x="2552" y="833"/>
                  <a:pt x="2548" y="836"/>
                </a:cubicBezTo>
                <a:cubicBezTo>
                  <a:pt x="2546" y="837"/>
                  <a:pt x="2544" y="840"/>
                  <a:pt x="2544" y="843"/>
                </a:cubicBezTo>
                <a:cubicBezTo>
                  <a:pt x="2545" y="849"/>
                  <a:pt x="2548" y="851"/>
                  <a:pt x="2551" y="854"/>
                </a:cubicBezTo>
                <a:cubicBezTo>
                  <a:pt x="2555" y="857"/>
                  <a:pt x="2558" y="860"/>
                  <a:pt x="2562" y="862"/>
                </a:cubicBezTo>
                <a:cubicBezTo>
                  <a:pt x="2563" y="862"/>
                  <a:pt x="2565" y="864"/>
                  <a:pt x="2568" y="867"/>
                </a:cubicBezTo>
                <a:cubicBezTo>
                  <a:pt x="2570" y="869"/>
                  <a:pt x="2572" y="873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9" y="875"/>
                  <a:pt x="2581" y="875"/>
                  <a:pt x="2583" y="875"/>
                </a:cubicBezTo>
                <a:cubicBezTo>
                  <a:pt x="2586" y="875"/>
                  <a:pt x="2590" y="874"/>
                  <a:pt x="2594" y="872"/>
                </a:cubicBezTo>
                <a:cubicBezTo>
                  <a:pt x="2598" y="870"/>
                  <a:pt x="2601" y="865"/>
                  <a:pt x="2601" y="859"/>
                </a:cubicBezTo>
                <a:cubicBezTo>
                  <a:pt x="2601" y="857"/>
                  <a:pt x="2600" y="855"/>
                  <a:pt x="2600" y="853"/>
                </a:cubicBezTo>
                <a:cubicBezTo>
                  <a:pt x="2594" y="836"/>
                  <a:pt x="2579" y="834"/>
                  <a:pt x="2576" y="835"/>
                </a:cubicBezTo>
                <a:close/>
                <a:moveTo>
                  <a:pt x="4079" y="1252"/>
                </a:moveTo>
                <a:cubicBezTo>
                  <a:pt x="4079" y="1252"/>
                  <a:pt x="4079" y="1252"/>
                  <a:pt x="4078" y="1252"/>
                </a:cubicBezTo>
                <a:cubicBezTo>
                  <a:pt x="4074" y="1252"/>
                  <a:pt x="4073" y="1255"/>
                  <a:pt x="4071" y="1256"/>
                </a:cubicBezTo>
                <a:cubicBezTo>
                  <a:pt x="4067" y="1261"/>
                  <a:pt x="4063" y="1269"/>
                  <a:pt x="4063" y="1277"/>
                </a:cubicBezTo>
                <a:cubicBezTo>
                  <a:pt x="4063" y="1280"/>
                  <a:pt x="4063" y="1282"/>
                  <a:pt x="4064" y="1284"/>
                </a:cubicBezTo>
                <a:cubicBezTo>
                  <a:pt x="4064" y="1284"/>
                  <a:pt x="4064" y="1284"/>
                  <a:pt x="4064" y="1284"/>
                </a:cubicBezTo>
                <a:cubicBezTo>
                  <a:pt x="4059" y="1279"/>
                  <a:pt x="4054" y="1273"/>
                  <a:pt x="4045" y="1272"/>
                </a:cubicBezTo>
                <a:cubicBezTo>
                  <a:pt x="4042" y="1272"/>
                  <a:pt x="4040" y="1273"/>
                  <a:pt x="4038" y="1274"/>
                </a:cubicBezTo>
                <a:cubicBezTo>
                  <a:pt x="4035" y="1275"/>
                  <a:pt x="4034" y="1277"/>
                  <a:pt x="4033" y="1278"/>
                </a:cubicBezTo>
                <a:cubicBezTo>
                  <a:pt x="4030" y="1283"/>
                  <a:pt x="4027" y="1290"/>
                  <a:pt x="4027" y="1298"/>
                </a:cubicBezTo>
                <a:cubicBezTo>
                  <a:pt x="4027" y="1301"/>
                  <a:pt x="4027" y="1304"/>
                  <a:pt x="4030" y="1307"/>
                </a:cubicBezTo>
                <a:cubicBezTo>
                  <a:pt x="4032" y="1310"/>
                  <a:pt x="4036" y="1312"/>
                  <a:pt x="4039" y="1311"/>
                </a:cubicBezTo>
                <a:cubicBezTo>
                  <a:pt x="4046" y="1311"/>
                  <a:pt x="4055" y="1313"/>
                  <a:pt x="4062" y="1313"/>
                </a:cubicBezTo>
                <a:cubicBezTo>
                  <a:pt x="4065" y="1313"/>
                  <a:pt x="4067" y="1313"/>
                  <a:pt x="4069" y="1312"/>
                </a:cubicBezTo>
                <a:cubicBezTo>
                  <a:pt x="4071" y="1312"/>
                  <a:pt x="4072" y="1311"/>
                  <a:pt x="4073" y="1310"/>
                </a:cubicBezTo>
                <a:cubicBezTo>
                  <a:pt x="4075" y="1309"/>
                  <a:pt x="4076" y="1307"/>
                  <a:pt x="4076" y="1304"/>
                </a:cubicBezTo>
                <a:cubicBezTo>
                  <a:pt x="4076" y="1302"/>
                  <a:pt x="4075" y="1301"/>
                  <a:pt x="4074" y="1299"/>
                </a:cubicBezTo>
                <a:cubicBezTo>
                  <a:pt x="4073" y="1297"/>
                  <a:pt x="4070" y="1293"/>
                  <a:pt x="4067" y="1289"/>
                </a:cubicBezTo>
                <a:cubicBezTo>
                  <a:pt x="4070" y="1291"/>
                  <a:pt x="4074" y="1292"/>
                  <a:pt x="4078" y="1292"/>
                </a:cubicBezTo>
                <a:cubicBezTo>
                  <a:pt x="4079" y="1292"/>
                  <a:pt x="4079" y="1292"/>
                  <a:pt x="4080" y="1292"/>
                </a:cubicBezTo>
                <a:cubicBezTo>
                  <a:pt x="4092" y="1292"/>
                  <a:pt x="4099" y="1283"/>
                  <a:pt x="4099" y="1274"/>
                </a:cubicBezTo>
                <a:cubicBezTo>
                  <a:pt x="4099" y="1264"/>
                  <a:pt x="4091" y="1252"/>
                  <a:pt x="4079" y="1252"/>
                </a:cubicBezTo>
                <a:close/>
                <a:moveTo>
                  <a:pt x="4392" y="2119"/>
                </a:moveTo>
                <a:cubicBezTo>
                  <a:pt x="4385" y="2120"/>
                  <a:pt x="4381" y="2124"/>
                  <a:pt x="4375" y="2127"/>
                </a:cubicBezTo>
                <a:cubicBezTo>
                  <a:pt x="4372" y="2129"/>
                  <a:pt x="4369" y="2131"/>
                  <a:pt x="4367" y="2132"/>
                </a:cubicBezTo>
                <a:cubicBezTo>
                  <a:pt x="4366" y="2133"/>
                  <a:pt x="4365" y="2133"/>
                  <a:pt x="4365" y="2133"/>
                </a:cubicBezTo>
                <a:cubicBezTo>
                  <a:pt x="4365" y="2133"/>
                  <a:pt x="4364" y="2133"/>
                  <a:pt x="4364" y="2133"/>
                </a:cubicBezTo>
                <a:cubicBezTo>
                  <a:pt x="4359" y="2132"/>
                  <a:pt x="4348" y="2127"/>
                  <a:pt x="4348" y="2127"/>
                </a:cubicBezTo>
                <a:cubicBezTo>
                  <a:pt x="4345" y="2126"/>
                  <a:pt x="4343" y="2127"/>
                  <a:pt x="4341" y="2129"/>
                </a:cubicBezTo>
                <a:cubicBezTo>
                  <a:pt x="4338" y="2132"/>
                  <a:pt x="4336" y="2136"/>
                  <a:pt x="4336" y="2140"/>
                </a:cubicBezTo>
                <a:cubicBezTo>
                  <a:pt x="4336" y="2148"/>
                  <a:pt x="4342" y="2151"/>
                  <a:pt x="4344" y="2154"/>
                </a:cubicBezTo>
                <a:cubicBezTo>
                  <a:pt x="4348" y="2157"/>
                  <a:pt x="4349" y="2158"/>
                  <a:pt x="4349" y="2160"/>
                </a:cubicBezTo>
                <a:cubicBezTo>
                  <a:pt x="4349" y="2161"/>
                  <a:pt x="4349" y="2161"/>
                  <a:pt x="4349" y="2162"/>
                </a:cubicBezTo>
                <a:cubicBezTo>
                  <a:pt x="4348" y="2163"/>
                  <a:pt x="4348" y="2165"/>
                  <a:pt x="4348" y="2166"/>
                </a:cubicBezTo>
                <a:cubicBezTo>
                  <a:pt x="4348" y="2170"/>
                  <a:pt x="4350" y="2175"/>
                  <a:pt x="4354" y="2177"/>
                </a:cubicBezTo>
                <a:cubicBezTo>
                  <a:pt x="4357" y="2179"/>
                  <a:pt x="4360" y="2179"/>
                  <a:pt x="4363" y="2179"/>
                </a:cubicBezTo>
                <a:cubicBezTo>
                  <a:pt x="4370" y="2179"/>
                  <a:pt x="4376" y="2177"/>
                  <a:pt x="4380" y="2175"/>
                </a:cubicBezTo>
                <a:cubicBezTo>
                  <a:pt x="4384" y="2173"/>
                  <a:pt x="4385" y="2171"/>
                  <a:pt x="4388" y="2167"/>
                </a:cubicBezTo>
                <a:cubicBezTo>
                  <a:pt x="4394" y="2157"/>
                  <a:pt x="4401" y="2140"/>
                  <a:pt x="4401" y="2129"/>
                </a:cubicBezTo>
                <a:cubicBezTo>
                  <a:pt x="4401" y="2128"/>
                  <a:pt x="4401" y="2127"/>
                  <a:pt x="4401" y="2125"/>
                </a:cubicBezTo>
                <a:cubicBezTo>
                  <a:pt x="4400" y="2122"/>
                  <a:pt x="4395" y="2119"/>
                  <a:pt x="4392" y="2119"/>
                </a:cubicBezTo>
                <a:close/>
                <a:moveTo>
                  <a:pt x="4086" y="1305"/>
                </a:moveTo>
                <a:cubicBezTo>
                  <a:pt x="4085" y="1304"/>
                  <a:pt x="4083" y="1303"/>
                  <a:pt x="4081" y="1304"/>
                </a:cubicBezTo>
                <a:cubicBezTo>
                  <a:pt x="4079" y="1304"/>
                  <a:pt x="4078" y="1305"/>
                  <a:pt x="4077" y="1306"/>
                </a:cubicBezTo>
                <a:cubicBezTo>
                  <a:pt x="4072" y="1313"/>
                  <a:pt x="4069" y="1318"/>
                  <a:pt x="4067" y="1320"/>
                </a:cubicBezTo>
                <a:cubicBezTo>
                  <a:pt x="4066" y="1321"/>
                  <a:pt x="4066" y="1322"/>
                  <a:pt x="4065" y="1322"/>
                </a:cubicBezTo>
                <a:cubicBezTo>
                  <a:pt x="4064" y="1321"/>
                  <a:pt x="4062" y="1320"/>
                  <a:pt x="4058" y="1318"/>
                </a:cubicBezTo>
                <a:cubicBezTo>
                  <a:pt x="4056" y="1317"/>
                  <a:pt x="4053" y="1316"/>
                  <a:pt x="4051" y="1316"/>
                </a:cubicBezTo>
                <a:cubicBezTo>
                  <a:pt x="4043" y="1316"/>
                  <a:pt x="4037" y="1320"/>
                  <a:pt x="4032" y="1324"/>
                </a:cubicBezTo>
                <a:cubicBezTo>
                  <a:pt x="4027" y="1329"/>
                  <a:pt x="4023" y="1334"/>
                  <a:pt x="4022" y="1341"/>
                </a:cubicBezTo>
                <a:cubicBezTo>
                  <a:pt x="4022" y="1342"/>
                  <a:pt x="4023" y="1344"/>
                  <a:pt x="4024" y="1346"/>
                </a:cubicBezTo>
                <a:cubicBezTo>
                  <a:pt x="4026" y="1350"/>
                  <a:pt x="4031" y="1351"/>
                  <a:pt x="4034" y="1352"/>
                </a:cubicBezTo>
                <a:cubicBezTo>
                  <a:pt x="4040" y="1352"/>
                  <a:pt x="4045" y="1352"/>
                  <a:pt x="4050" y="1353"/>
                </a:cubicBezTo>
                <a:cubicBezTo>
                  <a:pt x="4055" y="1353"/>
                  <a:pt x="4057" y="1355"/>
                  <a:pt x="4058" y="1356"/>
                </a:cubicBezTo>
                <a:cubicBezTo>
                  <a:pt x="4060" y="1361"/>
                  <a:pt x="4061" y="1364"/>
                  <a:pt x="4063" y="1367"/>
                </a:cubicBezTo>
                <a:cubicBezTo>
                  <a:pt x="4065" y="1370"/>
                  <a:pt x="4069" y="1372"/>
                  <a:pt x="4073" y="1372"/>
                </a:cubicBezTo>
                <a:cubicBezTo>
                  <a:pt x="4073" y="1372"/>
                  <a:pt x="4073" y="1372"/>
                  <a:pt x="4074" y="1372"/>
                </a:cubicBezTo>
                <a:cubicBezTo>
                  <a:pt x="4076" y="1372"/>
                  <a:pt x="4079" y="1371"/>
                  <a:pt x="4082" y="1371"/>
                </a:cubicBezTo>
                <a:cubicBezTo>
                  <a:pt x="4090" y="1369"/>
                  <a:pt x="4095" y="1363"/>
                  <a:pt x="4100" y="1357"/>
                </a:cubicBezTo>
                <a:cubicBezTo>
                  <a:pt x="4104" y="1351"/>
                  <a:pt x="4107" y="1344"/>
                  <a:pt x="4107" y="1337"/>
                </a:cubicBezTo>
                <a:cubicBezTo>
                  <a:pt x="4107" y="1335"/>
                  <a:pt x="4107" y="1333"/>
                  <a:pt x="4106" y="1331"/>
                </a:cubicBezTo>
                <a:cubicBezTo>
                  <a:pt x="4101" y="1319"/>
                  <a:pt x="4086" y="1306"/>
                  <a:pt x="4086" y="1305"/>
                </a:cubicBezTo>
                <a:close/>
                <a:moveTo>
                  <a:pt x="4425" y="1824"/>
                </a:moveTo>
                <a:cubicBezTo>
                  <a:pt x="4417" y="1815"/>
                  <a:pt x="4412" y="1805"/>
                  <a:pt x="4412" y="1803"/>
                </a:cubicBezTo>
                <a:cubicBezTo>
                  <a:pt x="4412" y="1803"/>
                  <a:pt x="4412" y="1803"/>
                  <a:pt x="4412" y="1803"/>
                </a:cubicBezTo>
                <a:cubicBezTo>
                  <a:pt x="4412" y="1802"/>
                  <a:pt x="4412" y="1802"/>
                  <a:pt x="4412" y="1802"/>
                </a:cubicBezTo>
                <a:cubicBezTo>
                  <a:pt x="4412" y="1802"/>
                  <a:pt x="4412" y="1801"/>
                  <a:pt x="4412" y="1801"/>
                </a:cubicBezTo>
                <a:cubicBezTo>
                  <a:pt x="4413" y="1796"/>
                  <a:pt x="4410" y="1792"/>
                  <a:pt x="4407" y="1789"/>
                </a:cubicBezTo>
                <a:cubicBezTo>
                  <a:pt x="4398" y="1782"/>
                  <a:pt x="4386" y="1781"/>
                  <a:pt x="4381" y="1775"/>
                </a:cubicBezTo>
                <a:cubicBezTo>
                  <a:pt x="4377" y="1772"/>
                  <a:pt x="4374" y="1764"/>
                  <a:pt x="4372" y="1753"/>
                </a:cubicBezTo>
                <a:cubicBezTo>
                  <a:pt x="4370" y="1743"/>
                  <a:pt x="4368" y="1732"/>
                  <a:pt x="4365" y="1722"/>
                </a:cubicBezTo>
                <a:cubicBezTo>
                  <a:pt x="4359" y="1704"/>
                  <a:pt x="4346" y="1693"/>
                  <a:pt x="4335" y="1678"/>
                </a:cubicBezTo>
                <a:cubicBezTo>
                  <a:pt x="4331" y="1672"/>
                  <a:pt x="4326" y="1661"/>
                  <a:pt x="4323" y="1651"/>
                </a:cubicBezTo>
                <a:cubicBezTo>
                  <a:pt x="4322" y="1646"/>
                  <a:pt x="4320" y="1642"/>
                  <a:pt x="4319" y="1638"/>
                </a:cubicBezTo>
                <a:cubicBezTo>
                  <a:pt x="4318" y="1636"/>
                  <a:pt x="4318" y="1635"/>
                  <a:pt x="4317" y="1633"/>
                </a:cubicBezTo>
                <a:cubicBezTo>
                  <a:pt x="4316" y="1633"/>
                  <a:pt x="4316" y="1631"/>
                  <a:pt x="4315" y="1630"/>
                </a:cubicBezTo>
                <a:cubicBezTo>
                  <a:pt x="4320" y="1627"/>
                  <a:pt x="4324" y="1621"/>
                  <a:pt x="4327" y="1615"/>
                </a:cubicBezTo>
                <a:cubicBezTo>
                  <a:pt x="4331" y="1607"/>
                  <a:pt x="4335" y="1599"/>
                  <a:pt x="4336" y="1597"/>
                </a:cubicBezTo>
                <a:cubicBezTo>
                  <a:pt x="4337" y="1596"/>
                  <a:pt x="4344" y="1593"/>
                  <a:pt x="4350" y="1593"/>
                </a:cubicBezTo>
                <a:cubicBezTo>
                  <a:pt x="4352" y="1593"/>
                  <a:pt x="4354" y="1594"/>
                  <a:pt x="4355" y="1594"/>
                </a:cubicBezTo>
                <a:cubicBezTo>
                  <a:pt x="4356" y="1595"/>
                  <a:pt x="4356" y="1595"/>
                  <a:pt x="4357" y="1596"/>
                </a:cubicBezTo>
                <a:cubicBezTo>
                  <a:pt x="4359" y="1610"/>
                  <a:pt x="4367" y="1624"/>
                  <a:pt x="4383" y="1633"/>
                </a:cubicBezTo>
                <a:cubicBezTo>
                  <a:pt x="4393" y="1639"/>
                  <a:pt x="4404" y="1646"/>
                  <a:pt x="4413" y="1646"/>
                </a:cubicBezTo>
                <a:cubicBezTo>
                  <a:pt x="4416" y="1647"/>
                  <a:pt x="4422" y="1644"/>
                  <a:pt x="4423" y="1639"/>
                </a:cubicBezTo>
                <a:cubicBezTo>
                  <a:pt x="4423" y="1638"/>
                  <a:pt x="4423" y="1637"/>
                  <a:pt x="4423" y="1636"/>
                </a:cubicBezTo>
                <a:cubicBezTo>
                  <a:pt x="4423" y="1630"/>
                  <a:pt x="4421" y="1622"/>
                  <a:pt x="4418" y="1614"/>
                </a:cubicBezTo>
                <a:cubicBezTo>
                  <a:pt x="4414" y="1606"/>
                  <a:pt x="4411" y="1599"/>
                  <a:pt x="4403" y="1595"/>
                </a:cubicBezTo>
                <a:cubicBezTo>
                  <a:pt x="4401" y="1594"/>
                  <a:pt x="4394" y="1588"/>
                  <a:pt x="4390" y="1580"/>
                </a:cubicBezTo>
                <a:cubicBezTo>
                  <a:pt x="4385" y="1574"/>
                  <a:pt x="4381" y="1565"/>
                  <a:pt x="4381" y="1563"/>
                </a:cubicBezTo>
                <a:cubicBezTo>
                  <a:pt x="4381" y="1555"/>
                  <a:pt x="4375" y="1550"/>
                  <a:pt x="4371" y="1547"/>
                </a:cubicBezTo>
                <a:cubicBezTo>
                  <a:pt x="4366" y="1544"/>
                  <a:pt x="4361" y="1542"/>
                  <a:pt x="4359" y="1540"/>
                </a:cubicBezTo>
                <a:cubicBezTo>
                  <a:pt x="4354" y="1536"/>
                  <a:pt x="4347" y="1513"/>
                  <a:pt x="4326" y="1508"/>
                </a:cubicBezTo>
                <a:cubicBezTo>
                  <a:pt x="4310" y="1504"/>
                  <a:pt x="4307" y="1498"/>
                  <a:pt x="4288" y="1486"/>
                </a:cubicBezTo>
                <a:cubicBezTo>
                  <a:pt x="4275" y="1479"/>
                  <a:pt x="4258" y="1477"/>
                  <a:pt x="4243" y="1477"/>
                </a:cubicBezTo>
                <a:cubicBezTo>
                  <a:pt x="4237" y="1477"/>
                  <a:pt x="4232" y="1477"/>
                  <a:pt x="4228" y="1478"/>
                </a:cubicBezTo>
                <a:cubicBezTo>
                  <a:pt x="4226" y="1478"/>
                  <a:pt x="4224" y="1479"/>
                  <a:pt x="4222" y="1480"/>
                </a:cubicBezTo>
                <a:cubicBezTo>
                  <a:pt x="4222" y="1480"/>
                  <a:pt x="4221" y="1481"/>
                  <a:pt x="4221" y="1481"/>
                </a:cubicBezTo>
                <a:cubicBezTo>
                  <a:pt x="4219" y="1479"/>
                  <a:pt x="4216" y="1478"/>
                  <a:pt x="4212" y="1476"/>
                </a:cubicBezTo>
                <a:cubicBezTo>
                  <a:pt x="4204" y="1473"/>
                  <a:pt x="4197" y="1473"/>
                  <a:pt x="4193" y="1473"/>
                </a:cubicBezTo>
                <a:cubicBezTo>
                  <a:pt x="4191" y="1472"/>
                  <a:pt x="4189" y="1472"/>
                  <a:pt x="4189" y="1472"/>
                </a:cubicBezTo>
                <a:cubicBezTo>
                  <a:pt x="4188" y="1471"/>
                  <a:pt x="4188" y="1472"/>
                  <a:pt x="4188" y="1470"/>
                </a:cubicBezTo>
                <a:cubicBezTo>
                  <a:pt x="4186" y="1464"/>
                  <a:pt x="4181" y="1458"/>
                  <a:pt x="4173" y="1458"/>
                </a:cubicBezTo>
                <a:cubicBezTo>
                  <a:pt x="4166" y="1458"/>
                  <a:pt x="4161" y="1462"/>
                  <a:pt x="4156" y="1468"/>
                </a:cubicBezTo>
                <a:cubicBezTo>
                  <a:pt x="4154" y="1471"/>
                  <a:pt x="4152" y="1473"/>
                  <a:pt x="4150" y="1474"/>
                </a:cubicBezTo>
                <a:cubicBezTo>
                  <a:pt x="4149" y="1476"/>
                  <a:pt x="4147" y="1478"/>
                  <a:pt x="4147" y="1482"/>
                </a:cubicBezTo>
                <a:cubicBezTo>
                  <a:pt x="4147" y="1484"/>
                  <a:pt x="4148" y="1487"/>
                  <a:pt x="4150" y="1488"/>
                </a:cubicBezTo>
                <a:cubicBezTo>
                  <a:pt x="4154" y="1491"/>
                  <a:pt x="4158" y="1491"/>
                  <a:pt x="4166" y="1493"/>
                </a:cubicBezTo>
                <a:cubicBezTo>
                  <a:pt x="4173" y="1495"/>
                  <a:pt x="4178" y="1496"/>
                  <a:pt x="4181" y="1497"/>
                </a:cubicBezTo>
                <a:cubicBezTo>
                  <a:pt x="4181" y="1497"/>
                  <a:pt x="4181" y="1497"/>
                  <a:pt x="4181" y="1497"/>
                </a:cubicBezTo>
                <a:cubicBezTo>
                  <a:pt x="4181" y="1497"/>
                  <a:pt x="4180" y="1498"/>
                  <a:pt x="4179" y="1499"/>
                </a:cubicBezTo>
                <a:cubicBezTo>
                  <a:pt x="4174" y="1507"/>
                  <a:pt x="4169" y="1516"/>
                  <a:pt x="4168" y="1524"/>
                </a:cubicBezTo>
                <a:cubicBezTo>
                  <a:pt x="4168" y="1528"/>
                  <a:pt x="4171" y="1534"/>
                  <a:pt x="4176" y="1535"/>
                </a:cubicBezTo>
                <a:cubicBezTo>
                  <a:pt x="4177" y="1535"/>
                  <a:pt x="4179" y="1535"/>
                  <a:pt x="4180" y="1535"/>
                </a:cubicBezTo>
                <a:cubicBezTo>
                  <a:pt x="4187" y="1535"/>
                  <a:pt x="4196" y="1533"/>
                  <a:pt x="4201" y="1533"/>
                </a:cubicBezTo>
                <a:cubicBezTo>
                  <a:pt x="4202" y="1533"/>
                  <a:pt x="4202" y="1533"/>
                  <a:pt x="4202" y="1533"/>
                </a:cubicBezTo>
                <a:cubicBezTo>
                  <a:pt x="4202" y="1533"/>
                  <a:pt x="4202" y="1535"/>
                  <a:pt x="4203" y="1537"/>
                </a:cubicBezTo>
                <a:cubicBezTo>
                  <a:pt x="4205" y="1540"/>
                  <a:pt x="4208" y="1541"/>
                  <a:pt x="4211" y="1543"/>
                </a:cubicBezTo>
                <a:cubicBezTo>
                  <a:pt x="4214" y="1544"/>
                  <a:pt x="4218" y="1545"/>
                  <a:pt x="4225" y="1546"/>
                </a:cubicBezTo>
                <a:cubicBezTo>
                  <a:pt x="4246" y="1550"/>
                  <a:pt x="4248" y="1557"/>
                  <a:pt x="4253" y="1563"/>
                </a:cubicBezTo>
                <a:cubicBezTo>
                  <a:pt x="4255" y="1565"/>
                  <a:pt x="4258" y="1569"/>
                  <a:pt x="4260" y="1572"/>
                </a:cubicBezTo>
                <a:cubicBezTo>
                  <a:pt x="4261" y="1574"/>
                  <a:pt x="4262" y="1576"/>
                  <a:pt x="4263" y="1577"/>
                </a:cubicBezTo>
                <a:cubicBezTo>
                  <a:pt x="4259" y="1578"/>
                  <a:pt x="4256" y="1580"/>
                  <a:pt x="4253" y="1583"/>
                </a:cubicBezTo>
                <a:cubicBezTo>
                  <a:pt x="4250" y="1586"/>
                  <a:pt x="4247" y="1590"/>
                  <a:pt x="4246" y="1595"/>
                </a:cubicBezTo>
                <a:cubicBezTo>
                  <a:pt x="4246" y="1599"/>
                  <a:pt x="4250" y="1603"/>
                  <a:pt x="4253" y="1604"/>
                </a:cubicBezTo>
                <a:cubicBezTo>
                  <a:pt x="4255" y="1604"/>
                  <a:pt x="4256" y="1605"/>
                  <a:pt x="4257" y="1605"/>
                </a:cubicBezTo>
                <a:cubicBezTo>
                  <a:pt x="4264" y="1605"/>
                  <a:pt x="4274" y="1604"/>
                  <a:pt x="4278" y="1604"/>
                </a:cubicBezTo>
                <a:cubicBezTo>
                  <a:pt x="4278" y="1604"/>
                  <a:pt x="4278" y="1604"/>
                  <a:pt x="4278" y="1604"/>
                </a:cubicBezTo>
                <a:cubicBezTo>
                  <a:pt x="4280" y="1604"/>
                  <a:pt x="4282" y="1612"/>
                  <a:pt x="4286" y="1618"/>
                </a:cubicBezTo>
                <a:cubicBezTo>
                  <a:pt x="4290" y="1624"/>
                  <a:pt x="4295" y="1631"/>
                  <a:pt x="4304" y="1633"/>
                </a:cubicBezTo>
                <a:cubicBezTo>
                  <a:pt x="4303" y="1635"/>
                  <a:pt x="4303" y="1636"/>
                  <a:pt x="4302" y="1638"/>
                </a:cubicBezTo>
                <a:cubicBezTo>
                  <a:pt x="4299" y="1647"/>
                  <a:pt x="4295" y="1662"/>
                  <a:pt x="4295" y="1675"/>
                </a:cubicBezTo>
                <a:cubicBezTo>
                  <a:pt x="4295" y="1682"/>
                  <a:pt x="4296" y="1688"/>
                  <a:pt x="4299" y="1693"/>
                </a:cubicBezTo>
                <a:cubicBezTo>
                  <a:pt x="4300" y="1695"/>
                  <a:pt x="4301" y="1698"/>
                  <a:pt x="4301" y="1701"/>
                </a:cubicBezTo>
                <a:cubicBezTo>
                  <a:pt x="4301" y="1712"/>
                  <a:pt x="4294" y="1729"/>
                  <a:pt x="4289" y="1742"/>
                </a:cubicBezTo>
                <a:cubicBezTo>
                  <a:pt x="4289" y="1743"/>
                  <a:pt x="4288" y="1744"/>
                  <a:pt x="4288" y="1744"/>
                </a:cubicBezTo>
                <a:cubicBezTo>
                  <a:pt x="4288" y="1744"/>
                  <a:pt x="4287" y="1744"/>
                  <a:pt x="4286" y="1743"/>
                </a:cubicBezTo>
                <a:cubicBezTo>
                  <a:pt x="4281" y="1740"/>
                  <a:pt x="4274" y="1733"/>
                  <a:pt x="4267" y="1728"/>
                </a:cubicBezTo>
                <a:cubicBezTo>
                  <a:pt x="4255" y="1719"/>
                  <a:pt x="4239" y="1713"/>
                  <a:pt x="4233" y="1705"/>
                </a:cubicBezTo>
                <a:cubicBezTo>
                  <a:pt x="4233" y="1705"/>
                  <a:pt x="4232" y="1705"/>
                  <a:pt x="4232" y="1704"/>
                </a:cubicBezTo>
                <a:cubicBezTo>
                  <a:pt x="4232" y="1701"/>
                  <a:pt x="4234" y="1694"/>
                  <a:pt x="4237" y="1688"/>
                </a:cubicBezTo>
                <a:cubicBezTo>
                  <a:pt x="4240" y="1681"/>
                  <a:pt x="4243" y="1675"/>
                  <a:pt x="4243" y="1668"/>
                </a:cubicBezTo>
                <a:cubicBezTo>
                  <a:pt x="4243" y="1666"/>
                  <a:pt x="4243" y="1663"/>
                  <a:pt x="4241" y="1661"/>
                </a:cubicBezTo>
                <a:cubicBezTo>
                  <a:pt x="4236" y="1654"/>
                  <a:pt x="4229" y="1653"/>
                  <a:pt x="4222" y="1653"/>
                </a:cubicBezTo>
                <a:cubicBezTo>
                  <a:pt x="4216" y="1653"/>
                  <a:pt x="4210" y="1654"/>
                  <a:pt x="4205" y="1655"/>
                </a:cubicBezTo>
                <a:cubicBezTo>
                  <a:pt x="4202" y="1655"/>
                  <a:pt x="4200" y="1656"/>
                  <a:pt x="4198" y="1656"/>
                </a:cubicBezTo>
                <a:cubicBezTo>
                  <a:pt x="4198" y="1656"/>
                  <a:pt x="4197" y="1656"/>
                  <a:pt x="4197" y="1656"/>
                </a:cubicBezTo>
                <a:cubicBezTo>
                  <a:pt x="4196" y="1655"/>
                  <a:pt x="4194" y="1653"/>
                  <a:pt x="4192" y="1650"/>
                </a:cubicBezTo>
                <a:cubicBezTo>
                  <a:pt x="4189" y="1647"/>
                  <a:pt x="4185" y="1643"/>
                  <a:pt x="4179" y="1643"/>
                </a:cubicBezTo>
                <a:cubicBezTo>
                  <a:pt x="4174" y="1643"/>
                  <a:pt x="4171" y="1646"/>
                  <a:pt x="4170" y="1649"/>
                </a:cubicBezTo>
                <a:cubicBezTo>
                  <a:pt x="4169" y="1652"/>
                  <a:pt x="4168" y="1655"/>
                  <a:pt x="4167" y="1659"/>
                </a:cubicBezTo>
                <a:cubicBezTo>
                  <a:pt x="4165" y="1656"/>
                  <a:pt x="4163" y="1653"/>
                  <a:pt x="4160" y="1650"/>
                </a:cubicBezTo>
                <a:cubicBezTo>
                  <a:pt x="4159" y="1649"/>
                  <a:pt x="4158" y="1648"/>
                  <a:pt x="4157" y="1647"/>
                </a:cubicBezTo>
                <a:cubicBezTo>
                  <a:pt x="4156" y="1646"/>
                  <a:pt x="4155" y="1645"/>
                  <a:pt x="4151" y="1644"/>
                </a:cubicBezTo>
                <a:cubicBezTo>
                  <a:pt x="4148" y="1644"/>
                  <a:pt x="4145" y="1648"/>
                  <a:pt x="4145" y="1649"/>
                </a:cubicBezTo>
                <a:cubicBezTo>
                  <a:pt x="4145" y="1650"/>
                  <a:pt x="4145" y="1651"/>
                  <a:pt x="4145" y="1652"/>
                </a:cubicBezTo>
                <a:cubicBezTo>
                  <a:pt x="4145" y="1654"/>
                  <a:pt x="4145" y="1657"/>
                  <a:pt x="4145" y="1659"/>
                </a:cubicBezTo>
                <a:cubicBezTo>
                  <a:pt x="4145" y="1663"/>
                  <a:pt x="4144" y="1668"/>
                  <a:pt x="4142" y="1671"/>
                </a:cubicBezTo>
                <a:cubicBezTo>
                  <a:pt x="4137" y="1677"/>
                  <a:pt x="4135" y="1679"/>
                  <a:pt x="4133" y="1683"/>
                </a:cubicBezTo>
                <a:cubicBezTo>
                  <a:pt x="4131" y="1686"/>
                  <a:pt x="4131" y="1688"/>
                  <a:pt x="4129" y="1695"/>
                </a:cubicBezTo>
                <a:cubicBezTo>
                  <a:pt x="4128" y="1697"/>
                  <a:pt x="4128" y="1699"/>
                  <a:pt x="4127" y="1699"/>
                </a:cubicBezTo>
                <a:cubicBezTo>
                  <a:pt x="4127" y="1699"/>
                  <a:pt x="4127" y="1700"/>
                  <a:pt x="4127" y="1700"/>
                </a:cubicBezTo>
                <a:cubicBezTo>
                  <a:pt x="4127" y="1700"/>
                  <a:pt x="4127" y="1700"/>
                  <a:pt x="4127" y="1700"/>
                </a:cubicBezTo>
                <a:cubicBezTo>
                  <a:pt x="4126" y="1700"/>
                  <a:pt x="4120" y="1696"/>
                  <a:pt x="4114" y="1688"/>
                </a:cubicBezTo>
                <a:cubicBezTo>
                  <a:pt x="4110" y="1682"/>
                  <a:pt x="4105" y="1679"/>
                  <a:pt x="4099" y="1678"/>
                </a:cubicBezTo>
                <a:cubicBezTo>
                  <a:pt x="4090" y="1679"/>
                  <a:pt x="4087" y="1685"/>
                  <a:pt x="4083" y="1686"/>
                </a:cubicBezTo>
                <a:cubicBezTo>
                  <a:pt x="4077" y="1691"/>
                  <a:pt x="4074" y="1698"/>
                  <a:pt x="4071" y="1705"/>
                </a:cubicBezTo>
                <a:cubicBezTo>
                  <a:pt x="4068" y="1712"/>
                  <a:pt x="4068" y="1720"/>
                  <a:pt x="4064" y="1721"/>
                </a:cubicBezTo>
                <a:cubicBezTo>
                  <a:pt x="4064" y="1721"/>
                  <a:pt x="4064" y="1721"/>
                  <a:pt x="4064" y="1721"/>
                </a:cubicBezTo>
                <a:cubicBezTo>
                  <a:pt x="4064" y="1722"/>
                  <a:pt x="4057" y="1726"/>
                  <a:pt x="4050" y="1729"/>
                </a:cubicBezTo>
                <a:cubicBezTo>
                  <a:pt x="4043" y="1732"/>
                  <a:pt x="4037" y="1735"/>
                  <a:pt x="4032" y="1740"/>
                </a:cubicBezTo>
                <a:cubicBezTo>
                  <a:pt x="4028" y="1745"/>
                  <a:pt x="4026" y="1753"/>
                  <a:pt x="4025" y="1760"/>
                </a:cubicBezTo>
                <a:cubicBezTo>
                  <a:pt x="4024" y="1766"/>
                  <a:pt x="4023" y="1772"/>
                  <a:pt x="4023" y="1775"/>
                </a:cubicBezTo>
                <a:cubicBezTo>
                  <a:pt x="4021" y="1776"/>
                  <a:pt x="4016" y="1777"/>
                  <a:pt x="4011" y="1777"/>
                </a:cubicBezTo>
                <a:cubicBezTo>
                  <a:pt x="4005" y="1778"/>
                  <a:pt x="3998" y="1779"/>
                  <a:pt x="3993" y="1783"/>
                </a:cubicBezTo>
                <a:cubicBezTo>
                  <a:pt x="3991" y="1785"/>
                  <a:pt x="3988" y="1786"/>
                  <a:pt x="3984" y="1786"/>
                </a:cubicBezTo>
                <a:cubicBezTo>
                  <a:pt x="3979" y="1786"/>
                  <a:pt x="3973" y="1785"/>
                  <a:pt x="3968" y="1785"/>
                </a:cubicBezTo>
                <a:cubicBezTo>
                  <a:pt x="3963" y="1785"/>
                  <a:pt x="3960" y="1787"/>
                  <a:pt x="3956" y="1790"/>
                </a:cubicBezTo>
                <a:cubicBezTo>
                  <a:pt x="3943" y="1798"/>
                  <a:pt x="3926" y="1814"/>
                  <a:pt x="3920" y="1819"/>
                </a:cubicBezTo>
                <a:cubicBezTo>
                  <a:pt x="3911" y="1826"/>
                  <a:pt x="3910" y="1837"/>
                  <a:pt x="3909" y="1847"/>
                </a:cubicBezTo>
                <a:cubicBezTo>
                  <a:pt x="3910" y="1854"/>
                  <a:pt x="3910" y="1861"/>
                  <a:pt x="3914" y="1866"/>
                </a:cubicBezTo>
                <a:cubicBezTo>
                  <a:pt x="3917" y="1870"/>
                  <a:pt x="3922" y="1881"/>
                  <a:pt x="3922" y="1884"/>
                </a:cubicBezTo>
                <a:cubicBezTo>
                  <a:pt x="3917" y="1888"/>
                  <a:pt x="3916" y="1895"/>
                  <a:pt x="3915" y="1902"/>
                </a:cubicBezTo>
                <a:cubicBezTo>
                  <a:pt x="3915" y="1911"/>
                  <a:pt x="3918" y="1921"/>
                  <a:pt x="3927" y="1931"/>
                </a:cubicBezTo>
                <a:cubicBezTo>
                  <a:pt x="3935" y="1942"/>
                  <a:pt x="3935" y="1945"/>
                  <a:pt x="3935" y="1949"/>
                </a:cubicBezTo>
                <a:cubicBezTo>
                  <a:pt x="3935" y="1950"/>
                  <a:pt x="3935" y="1951"/>
                  <a:pt x="3935" y="1953"/>
                </a:cubicBezTo>
                <a:cubicBezTo>
                  <a:pt x="3935" y="1954"/>
                  <a:pt x="3935" y="1955"/>
                  <a:pt x="3936" y="1957"/>
                </a:cubicBezTo>
                <a:cubicBezTo>
                  <a:pt x="3936" y="1962"/>
                  <a:pt x="3939" y="1967"/>
                  <a:pt x="3942" y="1970"/>
                </a:cubicBezTo>
                <a:cubicBezTo>
                  <a:pt x="3945" y="1974"/>
                  <a:pt x="3948" y="1978"/>
                  <a:pt x="3953" y="1984"/>
                </a:cubicBezTo>
                <a:cubicBezTo>
                  <a:pt x="3953" y="1985"/>
                  <a:pt x="3954" y="1986"/>
                  <a:pt x="3954" y="1987"/>
                </a:cubicBezTo>
                <a:cubicBezTo>
                  <a:pt x="3954" y="1989"/>
                  <a:pt x="3951" y="1993"/>
                  <a:pt x="3946" y="1997"/>
                </a:cubicBezTo>
                <a:cubicBezTo>
                  <a:pt x="3941" y="2002"/>
                  <a:pt x="3936" y="2005"/>
                  <a:pt x="3932" y="2012"/>
                </a:cubicBezTo>
                <a:cubicBezTo>
                  <a:pt x="3932" y="2013"/>
                  <a:pt x="3931" y="2015"/>
                  <a:pt x="3931" y="2017"/>
                </a:cubicBezTo>
                <a:cubicBezTo>
                  <a:pt x="3932" y="2030"/>
                  <a:pt x="3943" y="2039"/>
                  <a:pt x="3949" y="2046"/>
                </a:cubicBezTo>
                <a:cubicBezTo>
                  <a:pt x="3953" y="2050"/>
                  <a:pt x="3959" y="2051"/>
                  <a:pt x="3965" y="2051"/>
                </a:cubicBezTo>
                <a:cubicBezTo>
                  <a:pt x="3974" y="2051"/>
                  <a:pt x="3983" y="2049"/>
                  <a:pt x="3990" y="2046"/>
                </a:cubicBezTo>
                <a:cubicBezTo>
                  <a:pt x="3996" y="2043"/>
                  <a:pt x="4002" y="2039"/>
                  <a:pt x="4007" y="2036"/>
                </a:cubicBezTo>
                <a:cubicBezTo>
                  <a:pt x="4012" y="2032"/>
                  <a:pt x="4016" y="2030"/>
                  <a:pt x="4017" y="2030"/>
                </a:cubicBezTo>
                <a:cubicBezTo>
                  <a:pt x="4020" y="2029"/>
                  <a:pt x="4030" y="2028"/>
                  <a:pt x="4039" y="2028"/>
                </a:cubicBezTo>
                <a:cubicBezTo>
                  <a:pt x="4048" y="2027"/>
                  <a:pt x="4056" y="2027"/>
                  <a:pt x="4056" y="2027"/>
                </a:cubicBezTo>
                <a:cubicBezTo>
                  <a:pt x="4058" y="2027"/>
                  <a:pt x="4060" y="2026"/>
                  <a:pt x="4061" y="2024"/>
                </a:cubicBezTo>
                <a:cubicBezTo>
                  <a:pt x="4061" y="2024"/>
                  <a:pt x="4072" y="2003"/>
                  <a:pt x="4080" y="1993"/>
                </a:cubicBezTo>
                <a:cubicBezTo>
                  <a:pt x="4081" y="1991"/>
                  <a:pt x="4084" y="1990"/>
                  <a:pt x="4089" y="1990"/>
                </a:cubicBezTo>
                <a:cubicBezTo>
                  <a:pt x="4093" y="1990"/>
                  <a:pt x="4097" y="1991"/>
                  <a:pt x="4101" y="1992"/>
                </a:cubicBezTo>
                <a:cubicBezTo>
                  <a:pt x="4104" y="1993"/>
                  <a:pt x="4106" y="1993"/>
                  <a:pt x="4106" y="1993"/>
                </a:cubicBezTo>
                <a:cubicBezTo>
                  <a:pt x="4108" y="1994"/>
                  <a:pt x="4110" y="1994"/>
                  <a:pt x="4112" y="1993"/>
                </a:cubicBezTo>
                <a:cubicBezTo>
                  <a:pt x="4112" y="1993"/>
                  <a:pt x="4113" y="1992"/>
                  <a:pt x="4114" y="1992"/>
                </a:cubicBezTo>
                <a:cubicBezTo>
                  <a:pt x="4117" y="1989"/>
                  <a:pt x="4128" y="1984"/>
                  <a:pt x="4148" y="1978"/>
                </a:cubicBezTo>
                <a:cubicBezTo>
                  <a:pt x="4153" y="1977"/>
                  <a:pt x="4156" y="1977"/>
                  <a:pt x="4158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2" y="1978"/>
                  <a:pt x="4163" y="1986"/>
                  <a:pt x="4171" y="1989"/>
                </a:cubicBezTo>
                <a:cubicBezTo>
                  <a:pt x="4182" y="1994"/>
                  <a:pt x="4195" y="1997"/>
                  <a:pt x="4201" y="2002"/>
                </a:cubicBezTo>
                <a:cubicBezTo>
                  <a:pt x="4202" y="2003"/>
                  <a:pt x="4202" y="2004"/>
                  <a:pt x="4203" y="2007"/>
                </a:cubicBezTo>
                <a:cubicBezTo>
                  <a:pt x="4203" y="2012"/>
                  <a:pt x="4199" y="2021"/>
                  <a:pt x="4198" y="2027"/>
                </a:cubicBezTo>
                <a:cubicBezTo>
                  <a:pt x="4198" y="2027"/>
                  <a:pt x="4198" y="2028"/>
                  <a:pt x="4198" y="2028"/>
                </a:cubicBezTo>
                <a:cubicBezTo>
                  <a:pt x="4198" y="2032"/>
                  <a:pt x="4201" y="2036"/>
                  <a:pt x="4203" y="2036"/>
                </a:cubicBezTo>
                <a:cubicBezTo>
                  <a:pt x="4206" y="2038"/>
                  <a:pt x="4208" y="2038"/>
                  <a:pt x="4210" y="2038"/>
                </a:cubicBezTo>
                <a:cubicBezTo>
                  <a:pt x="4214" y="2038"/>
                  <a:pt x="4218" y="2037"/>
                  <a:pt x="4222" y="2036"/>
                </a:cubicBezTo>
                <a:cubicBezTo>
                  <a:pt x="4225" y="2034"/>
                  <a:pt x="4229" y="2032"/>
                  <a:pt x="4231" y="2026"/>
                </a:cubicBezTo>
                <a:cubicBezTo>
                  <a:pt x="4231" y="2022"/>
                  <a:pt x="4234" y="2017"/>
                  <a:pt x="4243" y="2011"/>
                </a:cubicBezTo>
                <a:cubicBezTo>
                  <a:pt x="4243" y="2013"/>
                  <a:pt x="4242" y="2015"/>
                  <a:pt x="4242" y="2018"/>
                </a:cubicBezTo>
                <a:cubicBezTo>
                  <a:pt x="4242" y="2022"/>
                  <a:pt x="4243" y="2026"/>
                  <a:pt x="4244" y="2030"/>
                </a:cubicBezTo>
                <a:cubicBezTo>
                  <a:pt x="4245" y="2032"/>
                  <a:pt x="4246" y="2033"/>
                  <a:pt x="4247" y="2034"/>
                </a:cubicBezTo>
                <a:cubicBezTo>
                  <a:pt x="4248" y="2036"/>
                  <a:pt x="4250" y="2037"/>
                  <a:pt x="4253" y="2037"/>
                </a:cubicBezTo>
                <a:cubicBezTo>
                  <a:pt x="4255" y="2037"/>
                  <a:pt x="4257" y="2036"/>
                  <a:pt x="4258" y="2035"/>
                </a:cubicBezTo>
                <a:cubicBezTo>
                  <a:pt x="4259" y="2037"/>
                  <a:pt x="4260" y="2038"/>
                  <a:pt x="4260" y="2039"/>
                </a:cubicBezTo>
                <a:cubicBezTo>
                  <a:pt x="4262" y="2043"/>
                  <a:pt x="4264" y="2044"/>
                  <a:pt x="4266" y="2045"/>
                </a:cubicBezTo>
                <a:cubicBezTo>
                  <a:pt x="4269" y="2047"/>
                  <a:pt x="4271" y="2048"/>
                  <a:pt x="4273" y="2050"/>
                </a:cubicBezTo>
                <a:cubicBezTo>
                  <a:pt x="4275" y="2052"/>
                  <a:pt x="4276" y="2053"/>
                  <a:pt x="4276" y="2057"/>
                </a:cubicBezTo>
                <a:cubicBezTo>
                  <a:pt x="4276" y="2064"/>
                  <a:pt x="4276" y="2069"/>
                  <a:pt x="4277" y="2074"/>
                </a:cubicBezTo>
                <a:cubicBezTo>
                  <a:pt x="4277" y="2078"/>
                  <a:pt x="4278" y="2083"/>
                  <a:pt x="4282" y="2086"/>
                </a:cubicBezTo>
                <a:cubicBezTo>
                  <a:pt x="4285" y="2089"/>
                  <a:pt x="4287" y="2088"/>
                  <a:pt x="4290" y="2089"/>
                </a:cubicBezTo>
                <a:cubicBezTo>
                  <a:pt x="4297" y="2090"/>
                  <a:pt x="4305" y="2091"/>
                  <a:pt x="4310" y="2101"/>
                </a:cubicBezTo>
                <a:cubicBezTo>
                  <a:pt x="4313" y="2107"/>
                  <a:pt x="4316" y="2111"/>
                  <a:pt x="4323" y="2112"/>
                </a:cubicBezTo>
                <a:cubicBezTo>
                  <a:pt x="4329" y="2111"/>
                  <a:pt x="4332" y="2107"/>
                  <a:pt x="4334" y="2104"/>
                </a:cubicBezTo>
                <a:cubicBezTo>
                  <a:pt x="4336" y="2101"/>
                  <a:pt x="4338" y="2100"/>
                  <a:pt x="4339" y="2096"/>
                </a:cubicBezTo>
                <a:cubicBezTo>
                  <a:pt x="4339" y="2096"/>
                  <a:pt x="4339" y="2096"/>
                  <a:pt x="4339" y="2096"/>
                </a:cubicBezTo>
                <a:cubicBezTo>
                  <a:pt x="4342" y="2096"/>
                  <a:pt x="4353" y="2102"/>
                  <a:pt x="4355" y="2105"/>
                </a:cubicBezTo>
                <a:cubicBezTo>
                  <a:pt x="4356" y="2107"/>
                  <a:pt x="4359" y="2108"/>
                  <a:pt x="4362" y="2108"/>
                </a:cubicBezTo>
                <a:cubicBezTo>
                  <a:pt x="4369" y="2107"/>
                  <a:pt x="4372" y="2103"/>
                  <a:pt x="4378" y="2100"/>
                </a:cubicBezTo>
                <a:cubicBezTo>
                  <a:pt x="4383" y="2096"/>
                  <a:pt x="4389" y="2092"/>
                  <a:pt x="4396" y="2090"/>
                </a:cubicBezTo>
                <a:cubicBezTo>
                  <a:pt x="4404" y="2087"/>
                  <a:pt x="4408" y="2086"/>
                  <a:pt x="4412" y="2084"/>
                </a:cubicBezTo>
                <a:cubicBezTo>
                  <a:pt x="4416" y="2082"/>
                  <a:pt x="4417" y="2078"/>
                  <a:pt x="4419" y="2075"/>
                </a:cubicBezTo>
                <a:cubicBezTo>
                  <a:pt x="4424" y="2064"/>
                  <a:pt x="4427" y="2043"/>
                  <a:pt x="4437" y="2028"/>
                </a:cubicBezTo>
                <a:cubicBezTo>
                  <a:pt x="4447" y="2011"/>
                  <a:pt x="4462" y="1982"/>
                  <a:pt x="4462" y="1957"/>
                </a:cubicBezTo>
                <a:cubicBezTo>
                  <a:pt x="4462" y="1935"/>
                  <a:pt x="4461" y="1884"/>
                  <a:pt x="4447" y="1858"/>
                </a:cubicBezTo>
                <a:cubicBezTo>
                  <a:pt x="4441" y="1846"/>
                  <a:pt x="4432" y="1834"/>
                  <a:pt x="4425" y="1824"/>
                </a:cubicBezTo>
                <a:close/>
                <a:moveTo>
                  <a:pt x="4055" y="1637"/>
                </a:moveTo>
                <a:cubicBezTo>
                  <a:pt x="4057" y="1639"/>
                  <a:pt x="4060" y="1640"/>
                  <a:pt x="4062" y="1640"/>
                </a:cubicBezTo>
                <a:cubicBezTo>
                  <a:pt x="4062" y="1640"/>
                  <a:pt x="4062" y="1640"/>
                  <a:pt x="4062" y="1640"/>
                </a:cubicBezTo>
                <a:cubicBezTo>
                  <a:pt x="4069" y="1640"/>
                  <a:pt x="4074" y="1635"/>
                  <a:pt x="4079" y="1632"/>
                </a:cubicBezTo>
                <a:cubicBezTo>
                  <a:pt x="4082" y="1629"/>
                  <a:pt x="4085" y="1627"/>
                  <a:pt x="4086" y="1626"/>
                </a:cubicBezTo>
                <a:cubicBezTo>
                  <a:pt x="4088" y="1625"/>
                  <a:pt x="4091" y="1624"/>
                  <a:pt x="4095" y="1623"/>
                </a:cubicBezTo>
                <a:cubicBezTo>
                  <a:pt x="4097" y="1622"/>
                  <a:pt x="4100" y="1620"/>
                  <a:pt x="4103" y="1618"/>
                </a:cubicBezTo>
                <a:cubicBezTo>
                  <a:pt x="4105" y="1616"/>
                  <a:pt x="4108" y="1612"/>
                  <a:pt x="4108" y="1607"/>
                </a:cubicBezTo>
                <a:cubicBezTo>
                  <a:pt x="4107" y="1601"/>
                  <a:pt x="4104" y="1596"/>
                  <a:pt x="4100" y="1592"/>
                </a:cubicBezTo>
                <a:cubicBezTo>
                  <a:pt x="4095" y="1589"/>
                  <a:pt x="4090" y="1586"/>
                  <a:pt x="4084" y="1586"/>
                </a:cubicBezTo>
                <a:cubicBezTo>
                  <a:pt x="4079" y="1586"/>
                  <a:pt x="4074" y="1588"/>
                  <a:pt x="4071" y="1593"/>
                </a:cubicBezTo>
                <a:cubicBezTo>
                  <a:pt x="4068" y="1598"/>
                  <a:pt x="4064" y="1603"/>
                  <a:pt x="4060" y="1608"/>
                </a:cubicBezTo>
                <a:cubicBezTo>
                  <a:pt x="4056" y="1614"/>
                  <a:pt x="4052" y="1619"/>
                  <a:pt x="4052" y="1627"/>
                </a:cubicBezTo>
                <a:cubicBezTo>
                  <a:pt x="4052" y="1627"/>
                  <a:pt x="4052" y="1628"/>
                  <a:pt x="4052" y="1629"/>
                </a:cubicBezTo>
                <a:cubicBezTo>
                  <a:pt x="4052" y="1632"/>
                  <a:pt x="4053" y="1634"/>
                  <a:pt x="4055" y="1637"/>
                </a:cubicBezTo>
                <a:close/>
                <a:moveTo>
                  <a:pt x="4022" y="1470"/>
                </a:moveTo>
                <a:cubicBezTo>
                  <a:pt x="4023" y="1470"/>
                  <a:pt x="4024" y="1470"/>
                  <a:pt x="4025" y="1470"/>
                </a:cubicBezTo>
                <a:cubicBezTo>
                  <a:pt x="4038" y="1469"/>
                  <a:pt x="4065" y="1464"/>
                  <a:pt x="4069" y="1464"/>
                </a:cubicBezTo>
                <a:cubicBezTo>
                  <a:pt x="4076" y="1464"/>
                  <a:pt x="4079" y="1459"/>
                  <a:pt x="4081" y="1455"/>
                </a:cubicBezTo>
                <a:cubicBezTo>
                  <a:pt x="4084" y="1451"/>
                  <a:pt x="4086" y="1447"/>
                  <a:pt x="4086" y="1442"/>
                </a:cubicBezTo>
                <a:cubicBezTo>
                  <a:pt x="4086" y="1441"/>
                  <a:pt x="4086" y="1440"/>
                  <a:pt x="4085" y="1438"/>
                </a:cubicBezTo>
                <a:cubicBezTo>
                  <a:pt x="4083" y="1436"/>
                  <a:pt x="4081" y="1434"/>
                  <a:pt x="4078" y="1434"/>
                </a:cubicBezTo>
                <a:cubicBezTo>
                  <a:pt x="4072" y="1435"/>
                  <a:pt x="4043" y="1441"/>
                  <a:pt x="4036" y="1443"/>
                </a:cubicBezTo>
                <a:cubicBezTo>
                  <a:pt x="4036" y="1443"/>
                  <a:pt x="4036" y="1443"/>
                  <a:pt x="4036" y="1443"/>
                </a:cubicBezTo>
                <a:cubicBezTo>
                  <a:pt x="4033" y="1443"/>
                  <a:pt x="4028" y="1442"/>
                  <a:pt x="4023" y="1442"/>
                </a:cubicBezTo>
                <a:cubicBezTo>
                  <a:pt x="4019" y="1441"/>
                  <a:pt x="4015" y="1440"/>
                  <a:pt x="4015" y="1440"/>
                </a:cubicBezTo>
                <a:cubicBezTo>
                  <a:pt x="4013" y="1440"/>
                  <a:pt x="4011" y="1440"/>
                  <a:pt x="4009" y="1442"/>
                </a:cubicBezTo>
                <a:cubicBezTo>
                  <a:pt x="4006" y="1446"/>
                  <a:pt x="4004" y="1450"/>
                  <a:pt x="4004" y="1455"/>
                </a:cubicBezTo>
                <a:cubicBezTo>
                  <a:pt x="4004" y="1459"/>
                  <a:pt x="4006" y="1463"/>
                  <a:pt x="4010" y="1466"/>
                </a:cubicBezTo>
                <a:cubicBezTo>
                  <a:pt x="4013" y="1469"/>
                  <a:pt x="4017" y="1470"/>
                  <a:pt x="4022" y="1470"/>
                </a:cubicBezTo>
                <a:close/>
                <a:moveTo>
                  <a:pt x="4825" y="1720"/>
                </a:moveTo>
                <a:cubicBezTo>
                  <a:pt x="4825" y="1720"/>
                  <a:pt x="4825" y="1720"/>
                  <a:pt x="4825" y="1720"/>
                </a:cubicBezTo>
                <a:cubicBezTo>
                  <a:pt x="4824" y="1720"/>
                  <a:pt x="4822" y="1719"/>
                  <a:pt x="4821" y="1719"/>
                </a:cubicBezTo>
                <a:cubicBezTo>
                  <a:pt x="4816" y="1720"/>
                  <a:pt x="4812" y="1722"/>
                  <a:pt x="4808" y="1725"/>
                </a:cubicBezTo>
                <a:cubicBezTo>
                  <a:pt x="4797" y="1735"/>
                  <a:pt x="4787" y="1751"/>
                  <a:pt x="4787" y="1752"/>
                </a:cubicBezTo>
                <a:cubicBezTo>
                  <a:pt x="4786" y="1753"/>
                  <a:pt x="4786" y="1755"/>
                  <a:pt x="4786" y="1757"/>
                </a:cubicBezTo>
                <a:cubicBezTo>
                  <a:pt x="4787" y="1758"/>
                  <a:pt x="4788" y="1759"/>
                  <a:pt x="4789" y="1759"/>
                </a:cubicBezTo>
                <a:cubicBezTo>
                  <a:pt x="4792" y="1760"/>
                  <a:pt x="4794" y="1760"/>
                  <a:pt x="4796" y="1760"/>
                </a:cubicBezTo>
                <a:cubicBezTo>
                  <a:pt x="4797" y="1760"/>
                  <a:pt x="4797" y="1760"/>
                  <a:pt x="4797" y="1760"/>
                </a:cubicBezTo>
                <a:cubicBezTo>
                  <a:pt x="4806" y="1760"/>
                  <a:pt x="4813" y="1755"/>
                  <a:pt x="4820" y="1749"/>
                </a:cubicBezTo>
                <a:cubicBezTo>
                  <a:pt x="4826" y="1743"/>
                  <a:pt x="4831" y="1737"/>
                  <a:pt x="4831" y="1729"/>
                </a:cubicBezTo>
                <a:cubicBezTo>
                  <a:pt x="4832" y="1726"/>
                  <a:pt x="4829" y="1722"/>
                  <a:pt x="4825" y="1720"/>
                </a:cubicBezTo>
                <a:close/>
                <a:moveTo>
                  <a:pt x="4791" y="2070"/>
                </a:moveTo>
                <a:cubicBezTo>
                  <a:pt x="4787" y="2070"/>
                  <a:pt x="4785" y="2072"/>
                  <a:pt x="4784" y="2072"/>
                </a:cubicBezTo>
                <a:cubicBezTo>
                  <a:pt x="4782" y="2073"/>
                  <a:pt x="4782" y="2073"/>
                  <a:pt x="4782" y="2073"/>
                </a:cubicBezTo>
                <a:cubicBezTo>
                  <a:pt x="4781" y="2073"/>
                  <a:pt x="4780" y="2073"/>
                  <a:pt x="4777" y="2071"/>
                </a:cubicBezTo>
                <a:cubicBezTo>
                  <a:pt x="4771" y="2067"/>
                  <a:pt x="4770" y="2066"/>
                  <a:pt x="4769" y="2066"/>
                </a:cubicBezTo>
                <a:cubicBezTo>
                  <a:pt x="4769" y="2065"/>
                  <a:pt x="4767" y="2062"/>
                  <a:pt x="4764" y="2055"/>
                </a:cubicBezTo>
                <a:cubicBezTo>
                  <a:pt x="4761" y="2050"/>
                  <a:pt x="4759" y="2044"/>
                  <a:pt x="4757" y="2038"/>
                </a:cubicBezTo>
                <a:cubicBezTo>
                  <a:pt x="4756" y="2035"/>
                  <a:pt x="4755" y="2033"/>
                  <a:pt x="4753" y="2030"/>
                </a:cubicBezTo>
                <a:cubicBezTo>
                  <a:pt x="4751" y="2028"/>
                  <a:pt x="4748" y="2026"/>
                  <a:pt x="4744" y="2026"/>
                </a:cubicBezTo>
                <a:cubicBezTo>
                  <a:pt x="4741" y="2026"/>
                  <a:pt x="4738" y="2027"/>
                  <a:pt x="4736" y="2028"/>
                </a:cubicBezTo>
                <a:cubicBezTo>
                  <a:pt x="4731" y="2031"/>
                  <a:pt x="4731" y="2035"/>
                  <a:pt x="4731" y="2038"/>
                </a:cubicBezTo>
                <a:cubicBezTo>
                  <a:pt x="4731" y="2046"/>
                  <a:pt x="4734" y="2055"/>
                  <a:pt x="4739" y="2061"/>
                </a:cubicBezTo>
                <a:cubicBezTo>
                  <a:pt x="4740" y="2061"/>
                  <a:pt x="4741" y="2065"/>
                  <a:pt x="4742" y="2070"/>
                </a:cubicBezTo>
                <a:cubicBezTo>
                  <a:pt x="4743" y="2074"/>
                  <a:pt x="4744" y="2080"/>
                  <a:pt x="4744" y="2083"/>
                </a:cubicBezTo>
                <a:cubicBezTo>
                  <a:pt x="4744" y="2084"/>
                  <a:pt x="4743" y="2085"/>
                  <a:pt x="4743" y="2085"/>
                </a:cubicBezTo>
                <a:cubicBezTo>
                  <a:pt x="4743" y="2086"/>
                  <a:pt x="4740" y="2088"/>
                  <a:pt x="4737" y="2091"/>
                </a:cubicBezTo>
                <a:cubicBezTo>
                  <a:pt x="4734" y="2093"/>
                  <a:pt x="4730" y="2096"/>
                  <a:pt x="4729" y="2102"/>
                </a:cubicBezTo>
                <a:cubicBezTo>
                  <a:pt x="4729" y="2106"/>
                  <a:pt x="4732" y="2109"/>
                  <a:pt x="4734" y="2111"/>
                </a:cubicBezTo>
                <a:cubicBezTo>
                  <a:pt x="4741" y="2116"/>
                  <a:pt x="4748" y="2116"/>
                  <a:pt x="4753" y="2116"/>
                </a:cubicBezTo>
                <a:cubicBezTo>
                  <a:pt x="4754" y="2116"/>
                  <a:pt x="4754" y="2116"/>
                  <a:pt x="4755" y="2116"/>
                </a:cubicBezTo>
                <a:cubicBezTo>
                  <a:pt x="4753" y="2120"/>
                  <a:pt x="4750" y="2125"/>
                  <a:pt x="4750" y="2131"/>
                </a:cubicBezTo>
                <a:cubicBezTo>
                  <a:pt x="4749" y="2129"/>
                  <a:pt x="4747" y="2127"/>
                  <a:pt x="4744" y="2125"/>
                </a:cubicBezTo>
                <a:cubicBezTo>
                  <a:pt x="4743" y="2123"/>
                  <a:pt x="4740" y="2121"/>
                  <a:pt x="4738" y="2119"/>
                </a:cubicBezTo>
                <a:cubicBezTo>
                  <a:pt x="4736" y="2117"/>
                  <a:pt x="4735" y="2115"/>
                  <a:pt x="4730" y="2115"/>
                </a:cubicBezTo>
                <a:cubicBezTo>
                  <a:pt x="4728" y="2114"/>
                  <a:pt x="4724" y="2118"/>
                  <a:pt x="4724" y="2120"/>
                </a:cubicBezTo>
                <a:cubicBezTo>
                  <a:pt x="4724" y="2121"/>
                  <a:pt x="4722" y="2122"/>
                  <a:pt x="4719" y="2124"/>
                </a:cubicBezTo>
                <a:cubicBezTo>
                  <a:pt x="4716" y="2126"/>
                  <a:pt x="4711" y="2128"/>
                  <a:pt x="4707" y="2132"/>
                </a:cubicBezTo>
                <a:cubicBezTo>
                  <a:pt x="4703" y="2137"/>
                  <a:pt x="4702" y="2141"/>
                  <a:pt x="4701" y="2143"/>
                </a:cubicBezTo>
                <a:cubicBezTo>
                  <a:pt x="4700" y="2145"/>
                  <a:pt x="4698" y="2148"/>
                  <a:pt x="4688" y="2155"/>
                </a:cubicBezTo>
                <a:cubicBezTo>
                  <a:pt x="4669" y="2169"/>
                  <a:pt x="4645" y="2183"/>
                  <a:pt x="4638" y="2199"/>
                </a:cubicBezTo>
                <a:cubicBezTo>
                  <a:pt x="4637" y="2202"/>
                  <a:pt x="4636" y="2205"/>
                  <a:pt x="4636" y="2207"/>
                </a:cubicBezTo>
                <a:cubicBezTo>
                  <a:pt x="4636" y="2214"/>
                  <a:pt x="4640" y="2220"/>
                  <a:pt x="4646" y="2223"/>
                </a:cubicBezTo>
                <a:cubicBezTo>
                  <a:pt x="4651" y="2226"/>
                  <a:pt x="4658" y="2228"/>
                  <a:pt x="4666" y="2228"/>
                </a:cubicBezTo>
                <a:cubicBezTo>
                  <a:pt x="4673" y="2229"/>
                  <a:pt x="4676" y="2230"/>
                  <a:pt x="4680" y="2230"/>
                </a:cubicBezTo>
                <a:cubicBezTo>
                  <a:pt x="4680" y="2230"/>
                  <a:pt x="4680" y="2230"/>
                  <a:pt x="4680" y="2230"/>
                </a:cubicBezTo>
                <a:cubicBezTo>
                  <a:pt x="4684" y="2230"/>
                  <a:pt x="4687" y="2228"/>
                  <a:pt x="4689" y="2225"/>
                </a:cubicBezTo>
                <a:cubicBezTo>
                  <a:pt x="4692" y="2223"/>
                  <a:pt x="4694" y="2220"/>
                  <a:pt x="4698" y="2215"/>
                </a:cubicBezTo>
                <a:cubicBezTo>
                  <a:pt x="4710" y="2199"/>
                  <a:pt x="4721" y="2189"/>
                  <a:pt x="4736" y="2176"/>
                </a:cubicBezTo>
                <a:cubicBezTo>
                  <a:pt x="4750" y="2162"/>
                  <a:pt x="4753" y="2145"/>
                  <a:pt x="4753" y="2139"/>
                </a:cubicBezTo>
                <a:cubicBezTo>
                  <a:pt x="4755" y="2141"/>
                  <a:pt x="4757" y="2142"/>
                  <a:pt x="4759" y="2143"/>
                </a:cubicBezTo>
                <a:cubicBezTo>
                  <a:pt x="4761" y="2143"/>
                  <a:pt x="4762" y="2143"/>
                  <a:pt x="4764" y="2143"/>
                </a:cubicBezTo>
                <a:cubicBezTo>
                  <a:pt x="4771" y="2143"/>
                  <a:pt x="4775" y="2138"/>
                  <a:pt x="4778" y="2134"/>
                </a:cubicBezTo>
                <a:cubicBezTo>
                  <a:pt x="4781" y="2129"/>
                  <a:pt x="4783" y="2124"/>
                  <a:pt x="4785" y="2120"/>
                </a:cubicBezTo>
                <a:cubicBezTo>
                  <a:pt x="4789" y="2110"/>
                  <a:pt x="4793" y="2103"/>
                  <a:pt x="4799" y="2099"/>
                </a:cubicBezTo>
                <a:cubicBezTo>
                  <a:pt x="4803" y="2096"/>
                  <a:pt x="4805" y="2091"/>
                  <a:pt x="4805" y="2088"/>
                </a:cubicBezTo>
                <a:cubicBezTo>
                  <a:pt x="4805" y="2083"/>
                  <a:pt x="4803" y="2079"/>
                  <a:pt x="4801" y="2076"/>
                </a:cubicBezTo>
                <a:cubicBezTo>
                  <a:pt x="4798" y="2073"/>
                  <a:pt x="4796" y="2070"/>
                  <a:pt x="4791" y="2070"/>
                </a:cubicBezTo>
                <a:close/>
                <a:moveTo>
                  <a:pt x="4639" y="1836"/>
                </a:moveTo>
                <a:cubicBezTo>
                  <a:pt x="4646" y="1836"/>
                  <a:pt x="4651" y="1831"/>
                  <a:pt x="4652" y="1824"/>
                </a:cubicBezTo>
                <a:cubicBezTo>
                  <a:pt x="4646" y="1823"/>
                  <a:pt x="4646" y="1823"/>
                  <a:pt x="4646" y="1823"/>
                </a:cubicBezTo>
                <a:cubicBezTo>
                  <a:pt x="4652" y="1825"/>
                  <a:pt x="4652" y="1825"/>
                  <a:pt x="4652" y="1825"/>
                </a:cubicBezTo>
                <a:cubicBezTo>
                  <a:pt x="4652" y="1823"/>
                  <a:pt x="4652" y="1822"/>
                  <a:pt x="4652" y="1821"/>
                </a:cubicBezTo>
                <a:cubicBezTo>
                  <a:pt x="4652" y="1811"/>
                  <a:pt x="4644" y="1801"/>
                  <a:pt x="4624" y="1796"/>
                </a:cubicBezTo>
                <a:cubicBezTo>
                  <a:pt x="4620" y="1795"/>
                  <a:pt x="4617" y="1794"/>
                  <a:pt x="4614" y="1794"/>
                </a:cubicBezTo>
                <a:cubicBezTo>
                  <a:pt x="4613" y="1794"/>
                  <a:pt x="4611" y="1794"/>
                  <a:pt x="4609" y="1795"/>
                </a:cubicBezTo>
                <a:cubicBezTo>
                  <a:pt x="4607" y="1796"/>
                  <a:pt x="4606" y="1799"/>
                  <a:pt x="4606" y="1802"/>
                </a:cubicBezTo>
                <a:cubicBezTo>
                  <a:pt x="4606" y="1805"/>
                  <a:pt x="4607" y="1806"/>
                  <a:pt x="4608" y="1807"/>
                </a:cubicBezTo>
                <a:cubicBezTo>
                  <a:pt x="4610" y="1812"/>
                  <a:pt x="4615" y="1816"/>
                  <a:pt x="4617" y="1821"/>
                </a:cubicBezTo>
                <a:cubicBezTo>
                  <a:pt x="4623" y="1829"/>
                  <a:pt x="4630" y="1836"/>
                  <a:pt x="4639" y="1836"/>
                </a:cubicBezTo>
                <a:cubicBezTo>
                  <a:pt x="4639" y="1836"/>
                  <a:pt x="4639" y="1836"/>
                  <a:pt x="4639" y="1836"/>
                </a:cubicBezTo>
                <a:close/>
                <a:moveTo>
                  <a:pt x="2422" y="804"/>
                </a:moveTo>
                <a:cubicBezTo>
                  <a:pt x="2416" y="804"/>
                  <a:pt x="2413" y="808"/>
                  <a:pt x="2409" y="815"/>
                </a:cubicBezTo>
                <a:cubicBezTo>
                  <a:pt x="2409" y="816"/>
                  <a:pt x="2408" y="817"/>
                  <a:pt x="2408" y="819"/>
                </a:cubicBezTo>
                <a:cubicBezTo>
                  <a:pt x="2408" y="823"/>
                  <a:pt x="2411" y="826"/>
                  <a:pt x="2413" y="827"/>
                </a:cubicBezTo>
                <a:cubicBezTo>
                  <a:pt x="2415" y="828"/>
                  <a:pt x="2417" y="828"/>
                  <a:pt x="2420" y="828"/>
                </a:cubicBezTo>
                <a:cubicBezTo>
                  <a:pt x="2424" y="828"/>
                  <a:pt x="2429" y="827"/>
                  <a:pt x="2432" y="821"/>
                </a:cubicBezTo>
                <a:cubicBezTo>
                  <a:pt x="2432" y="821"/>
                  <a:pt x="2432" y="821"/>
                  <a:pt x="2432" y="821"/>
                </a:cubicBezTo>
                <a:cubicBezTo>
                  <a:pt x="2432" y="819"/>
                  <a:pt x="2433" y="818"/>
                  <a:pt x="2433" y="816"/>
                </a:cubicBezTo>
                <a:cubicBezTo>
                  <a:pt x="2433" y="813"/>
                  <a:pt x="2432" y="811"/>
                  <a:pt x="2430" y="809"/>
                </a:cubicBezTo>
                <a:cubicBezTo>
                  <a:pt x="2429" y="806"/>
                  <a:pt x="2426" y="804"/>
                  <a:pt x="2422" y="804"/>
                </a:cubicBezTo>
                <a:close/>
                <a:moveTo>
                  <a:pt x="4023" y="1526"/>
                </a:moveTo>
                <a:cubicBezTo>
                  <a:pt x="4023" y="1530"/>
                  <a:pt x="4024" y="1536"/>
                  <a:pt x="4028" y="1543"/>
                </a:cubicBezTo>
                <a:cubicBezTo>
                  <a:pt x="4037" y="1556"/>
                  <a:pt x="4051" y="1557"/>
                  <a:pt x="4055" y="1557"/>
                </a:cubicBezTo>
                <a:cubicBezTo>
                  <a:pt x="4056" y="1557"/>
                  <a:pt x="4057" y="1557"/>
                  <a:pt x="4057" y="1557"/>
                </a:cubicBezTo>
                <a:cubicBezTo>
                  <a:pt x="4060" y="1557"/>
                  <a:pt x="4063" y="1554"/>
                  <a:pt x="4063" y="1551"/>
                </a:cubicBezTo>
                <a:cubicBezTo>
                  <a:pt x="4063" y="1550"/>
                  <a:pt x="4062" y="1542"/>
                  <a:pt x="4060" y="1532"/>
                </a:cubicBezTo>
                <a:cubicBezTo>
                  <a:pt x="4058" y="1522"/>
                  <a:pt x="4055" y="1511"/>
                  <a:pt x="4046" y="1504"/>
                </a:cubicBezTo>
                <a:cubicBezTo>
                  <a:pt x="4044" y="1503"/>
                  <a:pt x="4043" y="1502"/>
                  <a:pt x="4041" y="1501"/>
                </a:cubicBezTo>
                <a:cubicBezTo>
                  <a:pt x="4042" y="1501"/>
                  <a:pt x="4043" y="1501"/>
                  <a:pt x="4043" y="1501"/>
                </a:cubicBezTo>
                <a:cubicBezTo>
                  <a:pt x="4049" y="1501"/>
                  <a:pt x="4053" y="1500"/>
                  <a:pt x="4057" y="1497"/>
                </a:cubicBezTo>
                <a:cubicBezTo>
                  <a:pt x="4061" y="1495"/>
                  <a:pt x="4063" y="1490"/>
                  <a:pt x="4063" y="1486"/>
                </a:cubicBezTo>
                <a:cubicBezTo>
                  <a:pt x="4063" y="1484"/>
                  <a:pt x="4063" y="1482"/>
                  <a:pt x="4062" y="1480"/>
                </a:cubicBezTo>
                <a:cubicBezTo>
                  <a:pt x="4058" y="1471"/>
                  <a:pt x="4050" y="1471"/>
                  <a:pt x="4043" y="1471"/>
                </a:cubicBezTo>
                <a:cubicBezTo>
                  <a:pt x="4035" y="1471"/>
                  <a:pt x="4027" y="1472"/>
                  <a:pt x="4023" y="1473"/>
                </a:cubicBezTo>
                <a:cubicBezTo>
                  <a:pt x="4023" y="1473"/>
                  <a:pt x="4023" y="1473"/>
                  <a:pt x="4022" y="1473"/>
                </a:cubicBezTo>
                <a:cubicBezTo>
                  <a:pt x="4021" y="1473"/>
                  <a:pt x="4017" y="1472"/>
                  <a:pt x="4015" y="1471"/>
                </a:cubicBezTo>
                <a:cubicBezTo>
                  <a:pt x="4012" y="1470"/>
                  <a:pt x="4010" y="1469"/>
                  <a:pt x="4010" y="1469"/>
                </a:cubicBezTo>
                <a:cubicBezTo>
                  <a:pt x="4009" y="1467"/>
                  <a:pt x="4007" y="1467"/>
                  <a:pt x="4005" y="1468"/>
                </a:cubicBezTo>
                <a:cubicBezTo>
                  <a:pt x="3999" y="1470"/>
                  <a:pt x="3996" y="1475"/>
                  <a:pt x="3995" y="1480"/>
                </a:cubicBezTo>
                <a:cubicBezTo>
                  <a:pt x="3994" y="1485"/>
                  <a:pt x="3994" y="1489"/>
                  <a:pt x="3993" y="1496"/>
                </a:cubicBezTo>
                <a:cubicBezTo>
                  <a:pt x="3992" y="1504"/>
                  <a:pt x="3986" y="1511"/>
                  <a:pt x="3986" y="1520"/>
                </a:cubicBezTo>
                <a:cubicBezTo>
                  <a:pt x="3986" y="1525"/>
                  <a:pt x="3988" y="1529"/>
                  <a:pt x="3992" y="1532"/>
                </a:cubicBezTo>
                <a:cubicBezTo>
                  <a:pt x="3994" y="1534"/>
                  <a:pt x="3996" y="1534"/>
                  <a:pt x="3999" y="1534"/>
                </a:cubicBezTo>
                <a:cubicBezTo>
                  <a:pt x="4007" y="1534"/>
                  <a:pt x="4011" y="1529"/>
                  <a:pt x="4016" y="1525"/>
                </a:cubicBezTo>
                <a:cubicBezTo>
                  <a:pt x="4019" y="1522"/>
                  <a:pt x="4021" y="1520"/>
                  <a:pt x="4022" y="1519"/>
                </a:cubicBezTo>
                <a:cubicBezTo>
                  <a:pt x="4023" y="1521"/>
                  <a:pt x="4023" y="1523"/>
                  <a:pt x="4023" y="1526"/>
                </a:cubicBezTo>
                <a:close/>
                <a:moveTo>
                  <a:pt x="4598" y="517"/>
                </a:moveTo>
                <a:cubicBezTo>
                  <a:pt x="4598" y="516"/>
                  <a:pt x="4598" y="514"/>
                  <a:pt x="4599" y="511"/>
                </a:cubicBezTo>
                <a:cubicBezTo>
                  <a:pt x="4603" y="504"/>
                  <a:pt x="4605" y="498"/>
                  <a:pt x="4608" y="496"/>
                </a:cubicBezTo>
                <a:cubicBezTo>
                  <a:pt x="4611" y="493"/>
                  <a:pt x="4618" y="490"/>
                  <a:pt x="4634" y="490"/>
                </a:cubicBezTo>
                <a:cubicBezTo>
                  <a:pt x="4662" y="490"/>
                  <a:pt x="4659" y="492"/>
                  <a:pt x="4672" y="492"/>
                </a:cubicBezTo>
                <a:cubicBezTo>
                  <a:pt x="4676" y="492"/>
                  <a:pt x="4680" y="492"/>
                  <a:pt x="4685" y="491"/>
                </a:cubicBezTo>
                <a:cubicBezTo>
                  <a:pt x="4700" y="491"/>
                  <a:pt x="4711" y="485"/>
                  <a:pt x="4721" y="480"/>
                </a:cubicBezTo>
                <a:cubicBezTo>
                  <a:pt x="4730" y="474"/>
                  <a:pt x="4739" y="469"/>
                  <a:pt x="4751" y="465"/>
                </a:cubicBezTo>
                <a:cubicBezTo>
                  <a:pt x="4771" y="458"/>
                  <a:pt x="4788" y="454"/>
                  <a:pt x="4797" y="454"/>
                </a:cubicBezTo>
                <a:cubicBezTo>
                  <a:pt x="4800" y="454"/>
                  <a:pt x="4801" y="454"/>
                  <a:pt x="4802" y="455"/>
                </a:cubicBezTo>
                <a:cubicBezTo>
                  <a:pt x="4805" y="456"/>
                  <a:pt x="4809" y="457"/>
                  <a:pt x="4812" y="457"/>
                </a:cubicBezTo>
                <a:cubicBezTo>
                  <a:pt x="4815" y="457"/>
                  <a:pt x="4818" y="457"/>
                  <a:pt x="4821" y="455"/>
                </a:cubicBezTo>
                <a:cubicBezTo>
                  <a:pt x="4823" y="454"/>
                  <a:pt x="4826" y="450"/>
                  <a:pt x="4826" y="447"/>
                </a:cubicBezTo>
                <a:cubicBezTo>
                  <a:pt x="4826" y="443"/>
                  <a:pt x="4824" y="440"/>
                  <a:pt x="4822" y="437"/>
                </a:cubicBezTo>
                <a:cubicBezTo>
                  <a:pt x="4818" y="433"/>
                  <a:pt x="4813" y="428"/>
                  <a:pt x="4809" y="424"/>
                </a:cubicBezTo>
                <a:cubicBezTo>
                  <a:pt x="4808" y="423"/>
                  <a:pt x="4806" y="421"/>
                  <a:pt x="4805" y="420"/>
                </a:cubicBezTo>
                <a:cubicBezTo>
                  <a:pt x="4809" y="419"/>
                  <a:pt x="4812" y="418"/>
                  <a:pt x="4816" y="416"/>
                </a:cubicBezTo>
                <a:cubicBezTo>
                  <a:pt x="4821" y="413"/>
                  <a:pt x="4826" y="409"/>
                  <a:pt x="4828" y="402"/>
                </a:cubicBezTo>
                <a:cubicBezTo>
                  <a:pt x="4828" y="400"/>
                  <a:pt x="4828" y="398"/>
                  <a:pt x="4828" y="396"/>
                </a:cubicBezTo>
                <a:cubicBezTo>
                  <a:pt x="4828" y="385"/>
                  <a:pt x="4821" y="374"/>
                  <a:pt x="4822" y="367"/>
                </a:cubicBezTo>
                <a:cubicBezTo>
                  <a:pt x="4822" y="365"/>
                  <a:pt x="4822" y="364"/>
                  <a:pt x="4823" y="362"/>
                </a:cubicBezTo>
                <a:cubicBezTo>
                  <a:pt x="4826" y="359"/>
                  <a:pt x="4827" y="355"/>
                  <a:pt x="4827" y="351"/>
                </a:cubicBezTo>
                <a:cubicBezTo>
                  <a:pt x="4827" y="344"/>
                  <a:pt x="4823" y="338"/>
                  <a:pt x="4818" y="334"/>
                </a:cubicBezTo>
                <a:cubicBezTo>
                  <a:pt x="4813" y="330"/>
                  <a:pt x="4807" y="326"/>
                  <a:pt x="4801" y="325"/>
                </a:cubicBezTo>
                <a:cubicBezTo>
                  <a:pt x="4798" y="324"/>
                  <a:pt x="4793" y="324"/>
                  <a:pt x="4788" y="324"/>
                </a:cubicBezTo>
                <a:cubicBezTo>
                  <a:pt x="4778" y="324"/>
                  <a:pt x="4766" y="325"/>
                  <a:pt x="4756" y="325"/>
                </a:cubicBezTo>
                <a:cubicBezTo>
                  <a:pt x="4746" y="325"/>
                  <a:pt x="4738" y="323"/>
                  <a:pt x="4737" y="323"/>
                </a:cubicBezTo>
                <a:cubicBezTo>
                  <a:pt x="4730" y="318"/>
                  <a:pt x="4719" y="313"/>
                  <a:pt x="4710" y="312"/>
                </a:cubicBezTo>
                <a:cubicBezTo>
                  <a:pt x="4707" y="312"/>
                  <a:pt x="4704" y="313"/>
                  <a:pt x="4702" y="315"/>
                </a:cubicBezTo>
                <a:cubicBezTo>
                  <a:pt x="4698" y="319"/>
                  <a:pt x="4695" y="325"/>
                  <a:pt x="4691" y="332"/>
                </a:cubicBezTo>
                <a:cubicBezTo>
                  <a:pt x="4689" y="335"/>
                  <a:pt x="4688" y="338"/>
                  <a:pt x="4687" y="340"/>
                </a:cubicBezTo>
                <a:cubicBezTo>
                  <a:pt x="4686" y="339"/>
                  <a:pt x="4684" y="338"/>
                  <a:pt x="4681" y="333"/>
                </a:cubicBezTo>
                <a:cubicBezTo>
                  <a:pt x="4676" y="325"/>
                  <a:pt x="4666" y="323"/>
                  <a:pt x="4657" y="321"/>
                </a:cubicBezTo>
                <a:cubicBezTo>
                  <a:pt x="4647" y="319"/>
                  <a:pt x="4636" y="319"/>
                  <a:pt x="4628" y="319"/>
                </a:cubicBezTo>
                <a:cubicBezTo>
                  <a:pt x="4624" y="319"/>
                  <a:pt x="4621" y="319"/>
                  <a:pt x="4619" y="319"/>
                </a:cubicBezTo>
                <a:cubicBezTo>
                  <a:pt x="4607" y="319"/>
                  <a:pt x="4594" y="322"/>
                  <a:pt x="4582" y="323"/>
                </a:cubicBezTo>
                <a:cubicBezTo>
                  <a:pt x="4575" y="324"/>
                  <a:pt x="4570" y="326"/>
                  <a:pt x="4567" y="325"/>
                </a:cubicBezTo>
                <a:cubicBezTo>
                  <a:pt x="4564" y="325"/>
                  <a:pt x="4562" y="325"/>
                  <a:pt x="4558" y="321"/>
                </a:cubicBezTo>
                <a:cubicBezTo>
                  <a:pt x="4548" y="310"/>
                  <a:pt x="4534" y="306"/>
                  <a:pt x="4531" y="303"/>
                </a:cubicBezTo>
                <a:cubicBezTo>
                  <a:pt x="4528" y="300"/>
                  <a:pt x="4524" y="300"/>
                  <a:pt x="4520" y="299"/>
                </a:cubicBezTo>
                <a:cubicBezTo>
                  <a:pt x="4516" y="298"/>
                  <a:pt x="4511" y="298"/>
                  <a:pt x="4505" y="298"/>
                </a:cubicBezTo>
                <a:cubicBezTo>
                  <a:pt x="4496" y="298"/>
                  <a:pt x="4486" y="299"/>
                  <a:pt x="4477" y="300"/>
                </a:cubicBezTo>
                <a:cubicBezTo>
                  <a:pt x="4461" y="302"/>
                  <a:pt x="4445" y="303"/>
                  <a:pt x="4440" y="303"/>
                </a:cubicBezTo>
                <a:cubicBezTo>
                  <a:pt x="4439" y="302"/>
                  <a:pt x="4437" y="301"/>
                  <a:pt x="4435" y="300"/>
                </a:cubicBezTo>
                <a:cubicBezTo>
                  <a:pt x="4431" y="298"/>
                  <a:pt x="4426" y="295"/>
                  <a:pt x="4419" y="290"/>
                </a:cubicBezTo>
                <a:cubicBezTo>
                  <a:pt x="4412" y="285"/>
                  <a:pt x="4405" y="281"/>
                  <a:pt x="4399" y="278"/>
                </a:cubicBezTo>
                <a:cubicBezTo>
                  <a:pt x="4393" y="275"/>
                  <a:pt x="4388" y="273"/>
                  <a:pt x="4383" y="272"/>
                </a:cubicBezTo>
                <a:cubicBezTo>
                  <a:pt x="4379" y="272"/>
                  <a:pt x="4363" y="275"/>
                  <a:pt x="4350" y="275"/>
                </a:cubicBezTo>
                <a:cubicBezTo>
                  <a:pt x="4344" y="276"/>
                  <a:pt x="4339" y="274"/>
                  <a:pt x="4339" y="274"/>
                </a:cubicBezTo>
                <a:cubicBezTo>
                  <a:pt x="4331" y="267"/>
                  <a:pt x="4324" y="263"/>
                  <a:pt x="4316" y="262"/>
                </a:cubicBezTo>
                <a:cubicBezTo>
                  <a:pt x="4321" y="260"/>
                  <a:pt x="4327" y="259"/>
                  <a:pt x="4334" y="257"/>
                </a:cubicBezTo>
                <a:cubicBezTo>
                  <a:pt x="4343" y="254"/>
                  <a:pt x="4351" y="251"/>
                  <a:pt x="4351" y="251"/>
                </a:cubicBezTo>
                <a:cubicBezTo>
                  <a:pt x="4353" y="250"/>
                  <a:pt x="4354" y="249"/>
                  <a:pt x="4355" y="247"/>
                </a:cubicBezTo>
                <a:cubicBezTo>
                  <a:pt x="4355" y="246"/>
                  <a:pt x="4355" y="244"/>
                  <a:pt x="4354" y="242"/>
                </a:cubicBezTo>
                <a:cubicBezTo>
                  <a:pt x="4354" y="242"/>
                  <a:pt x="4351" y="238"/>
                  <a:pt x="4347" y="234"/>
                </a:cubicBezTo>
                <a:cubicBezTo>
                  <a:pt x="4343" y="229"/>
                  <a:pt x="4337" y="224"/>
                  <a:pt x="4328" y="224"/>
                </a:cubicBezTo>
                <a:cubicBezTo>
                  <a:pt x="4324" y="224"/>
                  <a:pt x="4316" y="223"/>
                  <a:pt x="4308" y="221"/>
                </a:cubicBezTo>
                <a:cubicBezTo>
                  <a:pt x="4301" y="219"/>
                  <a:pt x="4295" y="217"/>
                  <a:pt x="4290" y="217"/>
                </a:cubicBezTo>
                <a:cubicBezTo>
                  <a:pt x="4288" y="217"/>
                  <a:pt x="4285" y="218"/>
                  <a:pt x="4284" y="219"/>
                </a:cubicBezTo>
                <a:cubicBezTo>
                  <a:pt x="4283" y="220"/>
                  <a:pt x="4282" y="221"/>
                  <a:pt x="4282" y="222"/>
                </a:cubicBezTo>
                <a:cubicBezTo>
                  <a:pt x="4281" y="222"/>
                  <a:pt x="4280" y="222"/>
                  <a:pt x="4279" y="222"/>
                </a:cubicBezTo>
                <a:cubicBezTo>
                  <a:pt x="4271" y="220"/>
                  <a:pt x="4264" y="216"/>
                  <a:pt x="4255" y="216"/>
                </a:cubicBezTo>
                <a:cubicBezTo>
                  <a:pt x="4251" y="216"/>
                  <a:pt x="4247" y="217"/>
                  <a:pt x="4244" y="220"/>
                </a:cubicBezTo>
                <a:cubicBezTo>
                  <a:pt x="4242" y="222"/>
                  <a:pt x="4239" y="224"/>
                  <a:pt x="4235" y="226"/>
                </a:cubicBezTo>
                <a:cubicBezTo>
                  <a:pt x="4232" y="229"/>
                  <a:pt x="4229" y="232"/>
                  <a:pt x="4228" y="238"/>
                </a:cubicBezTo>
                <a:cubicBezTo>
                  <a:pt x="4228" y="241"/>
                  <a:pt x="4230" y="244"/>
                  <a:pt x="4232" y="246"/>
                </a:cubicBezTo>
                <a:cubicBezTo>
                  <a:pt x="4234" y="248"/>
                  <a:pt x="4237" y="249"/>
                  <a:pt x="4240" y="250"/>
                </a:cubicBezTo>
                <a:cubicBezTo>
                  <a:pt x="4250" y="253"/>
                  <a:pt x="4259" y="253"/>
                  <a:pt x="4265" y="253"/>
                </a:cubicBezTo>
                <a:cubicBezTo>
                  <a:pt x="4272" y="253"/>
                  <a:pt x="4275" y="255"/>
                  <a:pt x="4275" y="255"/>
                </a:cubicBezTo>
                <a:cubicBezTo>
                  <a:pt x="4276" y="257"/>
                  <a:pt x="4276" y="258"/>
                  <a:pt x="4276" y="259"/>
                </a:cubicBezTo>
                <a:cubicBezTo>
                  <a:pt x="4276" y="261"/>
                  <a:pt x="4274" y="264"/>
                  <a:pt x="4274" y="270"/>
                </a:cubicBezTo>
                <a:cubicBezTo>
                  <a:pt x="4274" y="270"/>
                  <a:pt x="4272" y="276"/>
                  <a:pt x="4269" y="280"/>
                </a:cubicBezTo>
                <a:cubicBezTo>
                  <a:pt x="4267" y="284"/>
                  <a:pt x="4263" y="288"/>
                  <a:pt x="4262" y="288"/>
                </a:cubicBezTo>
                <a:cubicBezTo>
                  <a:pt x="4262" y="288"/>
                  <a:pt x="4262" y="288"/>
                  <a:pt x="4262" y="288"/>
                </a:cubicBezTo>
                <a:cubicBezTo>
                  <a:pt x="4260" y="288"/>
                  <a:pt x="4257" y="287"/>
                  <a:pt x="4251" y="287"/>
                </a:cubicBezTo>
                <a:cubicBezTo>
                  <a:pt x="4248" y="287"/>
                  <a:pt x="4243" y="289"/>
                  <a:pt x="4238" y="292"/>
                </a:cubicBezTo>
                <a:cubicBezTo>
                  <a:pt x="4234" y="294"/>
                  <a:pt x="4224" y="296"/>
                  <a:pt x="4216" y="296"/>
                </a:cubicBezTo>
                <a:cubicBezTo>
                  <a:pt x="4213" y="296"/>
                  <a:pt x="4211" y="296"/>
                  <a:pt x="4210" y="296"/>
                </a:cubicBezTo>
                <a:cubicBezTo>
                  <a:pt x="4206" y="296"/>
                  <a:pt x="4203" y="295"/>
                  <a:pt x="4201" y="295"/>
                </a:cubicBezTo>
                <a:cubicBezTo>
                  <a:pt x="4199" y="296"/>
                  <a:pt x="4197" y="295"/>
                  <a:pt x="4196" y="296"/>
                </a:cubicBezTo>
                <a:cubicBezTo>
                  <a:pt x="4195" y="295"/>
                  <a:pt x="4194" y="294"/>
                  <a:pt x="4193" y="293"/>
                </a:cubicBezTo>
                <a:cubicBezTo>
                  <a:pt x="4190" y="291"/>
                  <a:pt x="4188" y="288"/>
                  <a:pt x="4182" y="287"/>
                </a:cubicBezTo>
                <a:cubicBezTo>
                  <a:pt x="4181" y="287"/>
                  <a:pt x="4180" y="288"/>
                  <a:pt x="4178" y="288"/>
                </a:cubicBezTo>
                <a:cubicBezTo>
                  <a:pt x="4174" y="291"/>
                  <a:pt x="4169" y="295"/>
                  <a:pt x="4164" y="300"/>
                </a:cubicBezTo>
                <a:cubicBezTo>
                  <a:pt x="4159" y="304"/>
                  <a:pt x="4152" y="307"/>
                  <a:pt x="4152" y="307"/>
                </a:cubicBezTo>
                <a:cubicBezTo>
                  <a:pt x="4152" y="307"/>
                  <a:pt x="4152" y="307"/>
                  <a:pt x="4152" y="307"/>
                </a:cubicBezTo>
                <a:cubicBezTo>
                  <a:pt x="4148" y="306"/>
                  <a:pt x="4139" y="298"/>
                  <a:pt x="4139" y="291"/>
                </a:cubicBezTo>
                <a:cubicBezTo>
                  <a:pt x="4139" y="285"/>
                  <a:pt x="4139" y="278"/>
                  <a:pt x="4137" y="272"/>
                </a:cubicBezTo>
                <a:cubicBezTo>
                  <a:pt x="4136" y="267"/>
                  <a:pt x="4135" y="262"/>
                  <a:pt x="4130" y="258"/>
                </a:cubicBezTo>
                <a:cubicBezTo>
                  <a:pt x="4128" y="257"/>
                  <a:pt x="4126" y="257"/>
                  <a:pt x="4124" y="256"/>
                </a:cubicBezTo>
                <a:cubicBezTo>
                  <a:pt x="4118" y="255"/>
                  <a:pt x="4108" y="254"/>
                  <a:pt x="4099" y="254"/>
                </a:cubicBezTo>
                <a:cubicBezTo>
                  <a:pt x="4095" y="254"/>
                  <a:pt x="4091" y="254"/>
                  <a:pt x="4088" y="255"/>
                </a:cubicBezTo>
                <a:cubicBezTo>
                  <a:pt x="4084" y="255"/>
                  <a:pt x="4074" y="256"/>
                  <a:pt x="4065" y="258"/>
                </a:cubicBezTo>
                <a:cubicBezTo>
                  <a:pt x="4060" y="259"/>
                  <a:pt x="4056" y="260"/>
                  <a:pt x="4052" y="261"/>
                </a:cubicBezTo>
                <a:cubicBezTo>
                  <a:pt x="4048" y="262"/>
                  <a:pt x="4045" y="263"/>
                  <a:pt x="4042" y="266"/>
                </a:cubicBezTo>
                <a:cubicBezTo>
                  <a:pt x="4040" y="269"/>
                  <a:pt x="4027" y="274"/>
                  <a:pt x="4021" y="274"/>
                </a:cubicBezTo>
                <a:cubicBezTo>
                  <a:pt x="4020" y="274"/>
                  <a:pt x="4016" y="272"/>
                  <a:pt x="4011" y="269"/>
                </a:cubicBezTo>
                <a:cubicBezTo>
                  <a:pt x="4006" y="267"/>
                  <a:pt x="3999" y="263"/>
                  <a:pt x="3990" y="261"/>
                </a:cubicBezTo>
                <a:cubicBezTo>
                  <a:pt x="3976" y="259"/>
                  <a:pt x="3953" y="259"/>
                  <a:pt x="3939" y="259"/>
                </a:cubicBezTo>
                <a:cubicBezTo>
                  <a:pt x="3933" y="259"/>
                  <a:pt x="3930" y="260"/>
                  <a:pt x="3927" y="260"/>
                </a:cubicBezTo>
                <a:cubicBezTo>
                  <a:pt x="3927" y="260"/>
                  <a:pt x="3927" y="260"/>
                  <a:pt x="3927" y="260"/>
                </a:cubicBezTo>
                <a:cubicBezTo>
                  <a:pt x="3926" y="260"/>
                  <a:pt x="3923" y="259"/>
                  <a:pt x="3922" y="259"/>
                </a:cubicBezTo>
                <a:cubicBezTo>
                  <a:pt x="3924" y="256"/>
                  <a:pt x="3927" y="253"/>
                  <a:pt x="3930" y="250"/>
                </a:cubicBezTo>
                <a:cubicBezTo>
                  <a:pt x="3933" y="244"/>
                  <a:pt x="3937" y="239"/>
                  <a:pt x="3937" y="232"/>
                </a:cubicBezTo>
                <a:cubicBezTo>
                  <a:pt x="3937" y="227"/>
                  <a:pt x="3935" y="223"/>
                  <a:pt x="3931" y="220"/>
                </a:cubicBezTo>
                <a:cubicBezTo>
                  <a:pt x="3918" y="210"/>
                  <a:pt x="3895" y="211"/>
                  <a:pt x="3885" y="209"/>
                </a:cubicBezTo>
                <a:cubicBezTo>
                  <a:pt x="3878" y="208"/>
                  <a:pt x="3870" y="206"/>
                  <a:pt x="3861" y="206"/>
                </a:cubicBezTo>
                <a:cubicBezTo>
                  <a:pt x="3856" y="206"/>
                  <a:pt x="3851" y="207"/>
                  <a:pt x="3846" y="208"/>
                </a:cubicBezTo>
                <a:cubicBezTo>
                  <a:pt x="3840" y="209"/>
                  <a:pt x="3835" y="211"/>
                  <a:pt x="3831" y="213"/>
                </a:cubicBezTo>
                <a:cubicBezTo>
                  <a:pt x="3830" y="213"/>
                  <a:pt x="3830" y="213"/>
                  <a:pt x="3830" y="213"/>
                </a:cubicBezTo>
                <a:cubicBezTo>
                  <a:pt x="3830" y="212"/>
                  <a:pt x="3829" y="211"/>
                  <a:pt x="3829" y="211"/>
                </a:cubicBezTo>
                <a:cubicBezTo>
                  <a:pt x="3828" y="210"/>
                  <a:pt x="3828" y="210"/>
                  <a:pt x="3827" y="210"/>
                </a:cubicBezTo>
                <a:cubicBezTo>
                  <a:pt x="3826" y="209"/>
                  <a:pt x="3823" y="207"/>
                  <a:pt x="3817" y="204"/>
                </a:cubicBezTo>
                <a:cubicBezTo>
                  <a:pt x="3802" y="197"/>
                  <a:pt x="3791" y="194"/>
                  <a:pt x="3783" y="194"/>
                </a:cubicBezTo>
                <a:cubicBezTo>
                  <a:pt x="3777" y="194"/>
                  <a:pt x="3772" y="195"/>
                  <a:pt x="3768" y="197"/>
                </a:cubicBezTo>
                <a:cubicBezTo>
                  <a:pt x="3766" y="199"/>
                  <a:pt x="3765" y="200"/>
                  <a:pt x="3764" y="201"/>
                </a:cubicBezTo>
                <a:cubicBezTo>
                  <a:pt x="3762" y="203"/>
                  <a:pt x="3763" y="202"/>
                  <a:pt x="3762" y="203"/>
                </a:cubicBezTo>
                <a:cubicBezTo>
                  <a:pt x="3761" y="203"/>
                  <a:pt x="3758" y="204"/>
                  <a:pt x="3752" y="207"/>
                </a:cubicBezTo>
                <a:cubicBezTo>
                  <a:pt x="3734" y="215"/>
                  <a:pt x="3723" y="220"/>
                  <a:pt x="3719" y="220"/>
                </a:cubicBezTo>
                <a:cubicBezTo>
                  <a:pt x="3719" y="220"/>
                  <a:pt x="3719" y="220"/>
                  <a:pt x="3719" y="220"/>
                </a:cubicBezTo>
                <a:cubicBezTo>
                  <a:pt x="3717" y="220"/>
                  <a:pt x="3709" y="219"/>
                  <a:pt x="3702" y="217"/>
                </a:cubicBezTo>
                <a:cubicBezTo>
                  <a:pt x="3698" y="216"/>
                  <a:pt x="3694" y="215"/>
                  <a:pt x="3692" y="214"/>
                </a:cubicBezTo>
                <a:cubicBezTo>
                  <a:pt x="3690" y="214"/>
                  <a:pt x="3689" y="214"/>
                  <a:pt x="3689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4" y="211"/>
                  <a:pt x="3683" y="211"/>
                  <a:pt x="3681" y="211"/>
                </a:cubicBezTo>
                <a:cubicBezTo>
                  <a:pt x="3673" y="211"/>
                  <a:pt x="3663" y="215"/>
                  <a:pt x="3654" y="219"/>
                </a:cubicBezTo>
                <a:cubicBezTo>
                  <a:pt x="3643" y="225"/>
                  <a:pt x="3636" y="231"/>
                  <a:pt x="3630" y="230"/>
                </a:cubicBezTo>
                <a:cubicBezTo>
                  <a:pt x="3629" y="230"/>
                  <a:pt x="3628" y="230"/>
                  <a:pt x="3626" y="230"/>
                </a:cubicBezTo>
                <a:cubicBezTo>
                  <a:pt x="3621" y="228"/>
                  <a:pt x="3615" y="228"/>
                  <a:pt x="3608" y="228"/>
                </a:cubicBezTo>
                <a:cubicBezTo>
                  <a:pt x="3599" y="228"/>
                  <a:pt x="3589" y="229"/>
                  <a:pt x="3581" y="233"/>
                </a:cubicBezTo>
                <a:cubicBezTo>
                  <a:pt x="3571" y="238"/>
                  <a:pt x="3562" y="238"/>
                  <a:pt x="3549" y="249"/>
                </a:cubicBezTo>
                <a:cubicBezTo>
                  <a:pt x="3544" y="253"/>
                  <a:pt x="3536" y="257"/>
                  <a:pt x="3529" y="259"/>
                </a:cubicBezTo>
                <a:cubicBezTo>
                  <a:pt x="3525" y="261"/>
                  <a:pt x="3520" y="262"/>
                  <a:pt x="3519" y="263"/>
                </a:cubicBezTo>
                <a:cubicBezTo>
                  <a:pt x="3514" y="262"/>
                  <a:pt x="3499" y="261"/>
                  <a:pt x="3489" y="261"/>
                </a:cubicBezTo>
                <a:cubicBezTo>
                  <a:pt x="3485" y="261"/>
                  <a:pt x="3481" y="261"/>
                  <a:pt x="3476" y="262"/>
                </a:cubicBezTo>
                <a:cubicBezTo>
                  <a:pt x="3474" y="262"/>
                  <a:pt x="3472" y="263"/>
                  <a:pt x="3470" y="264"/>
                </a:cubicBezTo>
                <a:cubicBezTo>
                  <a:pt x="3468" y="265"/>
                  <a:pt x="3465" y="268"/>
                  <a:pt x="3465" y="272"/>
                </a:cubicBezTo>
                <a:cubicBezTo>
                  <a:pt x="3465" y="276"/>
                  <a:pt x="3467" y="278"/>
                  <a:pt x="3470" y="281"/>
                </a:cubicBezTo>
                <a:cubicBezTo>
                  <a:pt x="3476" y="287"/>
                  <a:pt x="3485" y="292"/>
                  <a:pt x="3494" y="296"/>
                </a:cubicBezTo>
                <a:cubicBezTo>
                  <a:pt x="3494" y="296"/>
                  <a:pt x="3494" y="297"/>
                  <a:pt x="3494" y="297"/>
                </a:cubicBezTo>
                <a:cubicBezTo>
                  <a:pt x="3492" y="296"/>
                  <a:pt x="3490" y="295"/>
                  <a:pt x="3487" y="293"/>
                </a:cubicBezTo>
                <a:cubicBezTo>
                  <a:pt x="3480" y="291"/>
                  <a:pt x="3476" y="290"/>
                  <a:pt x="3474" y="289"/>
                </a:cubicBezTo>
                <a:cubicBezTo>
                  <a:pt x="3473" y="289"/>
                  <a:pt x="3471" y="287"/>
                  <a:pt x="3465" y="281"/>
                </a:cubicBezTo>
                <a:cubicBezTo>
                  <a:pt x="3458" y="274"/>
                  <a:pt x="3450" y="270"/>
                  <a:pt x="3443" y="270"/>
                </a:cubicBezTo>
                <a:cubicBezTo>
                  <a:pt x="3436" y="270"/>
                  <a:pt x="3429" y="274"/>
                  <a:pt x="3426" y="279"/>
                </a:cubicBezTo>
                <a:cubicBezTo>
                  <a:pt x="3421" y="285"/>
                  <a:pt x="3421" y="292"/>
                  <a:pt x="3420" y="297"/>
                </a:cubicBezTo>
                <a:cubicBezTo>
                  <a:pt x="3420" y="300"/>
                  <a:pt x="3420" y="302"/>
                  <a:pt x="3419" y="303"/>
                </a:cubicBezTo>
                <a:cubicBezTo>
                  <a:pt x="3419" y="303"/>
                  <a:pt x="3419" y="303"/>
                  <a:pt x="3419" y="303"/>
                </a:cubicBezTo>
                <a:cubicBezTo>
                  <a:pt x="3416" y="304"/>
                  <a:pt x="3413" y="305"/>
                  <a:pt x="3412" y="305"/>
                </a:cubicBezTo>
                <a:cubicBezTo>
                  <a:pt x="3412" y="305"/>
                  <a:pt x="3411" y="304"/>
                  <a:pt x="3411" y="303"/>
                </a:cubicBezTo>
                <a:cubicBezTo>
                  <a:pt x="3411" y="298"/>
                  <a:pt x="3411" y="291"/>
                  <a:pt x="3410" y="286"/>
                </a:cubicBezTo>
                <a:cubicBezTo>
                  <a:pt x="3410" y="283"/>
                  <a:pt x="3409" y="280"/>
                  <a:pt x="3408" y="278"/>
                </a:cubicBezTo>
                <a:cubicBezTo>
                  <a:pt x="3408" y="276"/>
                  <a:pt x="3407" y="275"/>
                  <a:pt x="3406" y="274"/>
                </a:cubicBezTo>
                <a:cubicBezTo>
                  <a:pt x="3405" y="273"/>
                  <a:pt x="3403" y="271"/>
                  <a:pt x="3400" y="271"/>
                </a:cubicBezTo>
                <a:cubicBezTo>
                  <a:pt x="3394" y="272"/>
                  <a:pt x="3393" y="275"/>
                  <a:pt x="3391" y="278"/>
                </a:cubicBezTo>
                <a:cubicBezTo>
                  <a:pt x="3387" y="285"/>
                  <a:pt x="3384" y="288"/>
                  <a:pt x="3382" y="291"/>
                </a:cubicBezTo>
                <a:cubicBezTo>
                  <a:pt x="3380" y="293"/>
                  <a:pt x="3378" y="297"/>
                  <a:pt x="3379" y="302"/>
                </a:cubicBezTo>
                <a:cubicBezTo>
                  <a:pt x="3379" y="311"/>
                  <a:pt x="3384" y="316"/>
                  <a:pt x="3384" y="323"/>
                </a:cubicBezTo>
                <a:cubicBezTo>
                  <a:pt x="3384" y="324"/>
                  <a:pt x="3384" y="326"/>
                  <a:pt x="3383" y="327"/>
                </a:cubicBezTo>
                <a:cubicBezTo>
                  <a:pt x="3382" y="333"/>
                  <a:pt x="3382" y="338"/>
                  <a:pt x="3382" y="342"/>
                </a:cubicBezTo>
                <a:cubicBezTo>
                  <a:pt x="3382" y="344"/>
                  <a:pt x="3382" y="347"/>
                  <a:pt x="3383" y="349"/>
                </a:cubicBezTo>
                <a:cubicBezTo>
                  <a:pt x="3383" y="351"/>
                  <a:pt x="3385" y="353"/>
                  <a:pt x="3387" y="354"/>
                </a:cubicBezTo>
                <a:cubicBezTo>
                  <a:pt x="3380" y="363"/>
                  <a:pt x="3372" y="375"/>
                  <a:pt x="3369" y="378"/>
                </a:cubicBezTo>
                <a:cubicBezTo>
                  <a:pt x="3367" y="380"/>
                  <a:pt x="3363" y="382"/>
                  <a:pt x="3358" y="384"/>
                </a:cubicBezTo>
                <a:cubicBezTo>
                  <a:pt x="3356" y="385"/>
                  <a:pt x="3355" y="386"/>
                  <a:pt x="3353" y="387"/>
                </a:cubicBezTo>
                <a:cubicBezTo>
                  <a:pt x="3356" y="382"/>
                  <a:pt x="3361" y="378"/>
                  <a:pt x="3364" y="376"/>
                </a:cubicBezTo>
                <a:cubicBezTo>
                  <a:pt x="3373" y="368"/>
                  <a:pt x="3380" y="357"/>
                  <a:pt x="3380" y="348"/>
                </a:cubicBezTo>
                <a:cubicBezTo>
                  <a:pt x="3380" y="346"/>
                  <a:pt x="3380" y="343"/>
                  <a:pt x="3378" y="341"/>
                </a:cubicBezTo>
                <a:cubicBezTo>
                  <a:pt x="3378" y="341"/>
                  <a:pt x="3378" y="341"/>
                  <a:pt x="3378" y="341"/>
                </a:cubicBezTo>
                <a:cubicBezTo>
                  <a:pt x="3376" y="339"/>
                  <a:pt x="3373" y="321"/>
                  <a:pt x="3373" y="313"/>
                </a:cubicBezTo>
                <a:cubicBezTo>
                  <a:pt x="3373" y="311"/>
                  <a:pt x="3373" y="309"/>
                  <a:pt x="3373" y="309"/>
                </a:cubicBezTo>
                <a:cubicBezTo>
                  <a:pt x="3374" y="306"/>
                  <a:pt x="3379" y="301"/>
                  <a:pt x="3380" y="292"/>
                </a:cubicBezTo>
                <a:cubicBezTo>
                  <a:pt x="3380" y="287"/>
                  <a:pt x="3377" y="282"/>
                  <a:pt x="3372" y="279"/>
                </a:cubicBezTo>
                <a:cubicBezTo>
                  <a:pt x="3361" y="272"/>
                  <a:pt x="3353" y="264"/>
                  <a:pt x="3342" y="259"/>
                </a:cubicBezTo>
                <a:cubicBezTo>
                  <a:pt x="3341" y="258"/>
                  <a:pt x="3339" y="258"/>
                  <a:pt x="3337" y="258"/>
                </a:cubicBezTo>
                <a:cubicBezTo>
                  <a:pt x="3329" y="259"/>
                  <a:pt x="3324" y="265"/>
                  <a:pt x="3320" y="270"/>
                </a:cubicBezTo>
                <a:cubicBezTo>
                  <a:pt x="3315" y="275"/>
                  <a:pt x="3311" y="280"/>
                  <a:pt x="3309" y="282"/>
                </a:cubicBezTo>
                <a:cubicBezTo>
                  <a:pt x="3304" y="285"/>
                  <a:pt x="3301" y="289"/>
                  <a:pt x="3300" y="291"/>
                </a:cubicBezTo>
                <a:cubicBezTo>
                  <a:pt x="3298" y="293"/>
                  <a:pt x="3298" y="294"/>
                  <a:pt x="3294" y="294"/>
                </a:cubicBezTo>
                <a:cubicBezTo>
                  <a:pt x="3285" y="296"/>
                  <a:pt x="3278" y="304"/>
                  <a:pt x="3278" y="313"/>
                </a:cubicBezTo>
                <a:cubicBezTo>
                  <a:pt x="3278" y="321"/>
                  <a:pt x="3283" y="328"/>
                  <a:pt x="3292" y="333"/>
                </a:cubicBezTo>
                <a:cubicBezTo>
                  <a:pt x="3298" y="337"/>
                  <a:pt x="3303" y="340"/>
                  <a:pt x="3306" y="343"/>
                </a:cubicBezTo>
                <a:cubicBezTo>
                  <a:pt x="3307" y="344"/>
                  <a:pt x="3308" y="345"/>
                  <a:pt x="3308" y="346"/>
                </a:cubicBezTo>
                <a:cubicBezTo>
                  <a:pt x="3308" y="346"/>
                  <a:pt x="3308" y="346"/>
                  <a:pt x="3308" y="346"/>
                </a:cubicBezTo>
                <a:cubicBezTo>
                  <a:pt x="3308" y="346"/>
                  <a:pt x="3308" y="346"/>
                  <a:pt x="3307" y="346"/>
                </a:cubicBezTo>
                <a:cubicBezTo>
                  <a:pt x="3305" y="346"/>
                  <a:pt x="3301" y="345"/>
                  <a:pt x="3297" y="344"/>
                </a:cubicBezTo>
                <a:cubicBezTo>
                  <a:pt x="3294" y="343"/>
                  <a:pt x="3291" y="342"/>
                  <a:pt x="3291" y="342"/>
                </a:cubicBezTo>
                <a:cubicBezTo>
                  <a:pt x="3291" y="342"/>
                  <a:pt x="3291" y="342"/>
                  <a:pt x="3291" y="342"/>
                </a:cubicBezTo>
                <a:cubicBezTo>
                  <a:pt x="3289" y="340"/>
                  <a:pt x="3276" y="333"/>
                  <a:pt x="3265" y="333"/>
                </a:cubicBezTo>
                <a:cubicBezTo>
                  <a:pt x="3258" y="333"/>
                  <a:pt x="3247" y="327"/>
                  <a:pt x="3236" y="325"/>
                </a:cubicBezTo>
                <a:cubicBezTo>
                  <a:pt x="3232" y="324"/>
                  <a:pt x="3228" y="324"/>
                  <a:pt x="3223" y="324"/>
                </a:cubicBezTo>
                <a:cubicBezTo>
                  <a:pt x="3214" y="324"/>
                  <a:pt x="3205" y="324"/>
                  <a:pt x="3198" y="331"/>
                </a:cubicBezTo>
                <a:cubicBezTo>
                  <a:pt x="3196" y="334"/>
                  <a:pt x="3193" y="338"/>
                  <a:pt x="3189" y="341"/>
                </a:cubicBezTo>
                <a:cubicBezTo>
                  <a:pt x="3186" y="345"/>
                  <a:pt x="3182" y="347"/>
                  <a:pt x="3181" y="347"/>
                </a:cubicBezTo>
                <a:cubicBezTo>
                  <a:pt x="3181" y="347"/>
                  <a:pt x="3181" y="346"/>
                  <a:pt x="3181" y="346"/>
                </a:cubicBezTo>
                <a:cubicBezTo>
                  <a:pt x="3178" y="345"/>
                  <a:pt x="3176" y="343"/>
                  <a:pt x="3174" y="341"/>
                </a:cubicBezTo>
                <a:cubicBezTo>
                  <a:pt x="3172" y="340"/>
                  <a:pt x="3168" y="338"/>
                  <a:pt x="3164" y="338"/>
                </a:cubicBezTo>
                <a:cubicBezTo>
                  <a:pt x="3161" y="338"/>
                  <a:pt x="3157" y="339"/>
                  <a:pt x="3153" y="340"/>
                </a:cubicBezTo>
                <a:cubicBezTo>
                  <a:pt x="3151" y="341"/>
                  <a:pt x="3149" y="342"/>
                  <a:pt x="3146" y="342"/>
                </a:cubicBezTo>
                <a:cubicBezTo>
                  <a:pt x="3142" y="342"/>
                  <a:pt x="3137" y="341"/>
                  <a:pt x="3132" y="341"/>
                </a:cubicBezTo>
                <a:cubicBezTo>
                  <a:pt x="3128" y="340"/>
                  <a:pt x="3122" y="342"/>
                  <a:pt x="3119" y="346"/>
                </a:cubicBezTo>
                <a:cubicBezTo>
                  <a:pt x="3118" y="348"/>
                  <a:pt x="3117" y="349"/>
                  <a:pt x="3116" y="350"/>
                </a:cubicBezTo>
                <a:cubicBezTo>
                  <a:pt x="3114" y="349"/>
                  <a:pt x="3109" y="347"/>
                  <a:pt x="3102" y="344"/>
                </a:cubicBezTo>
                <a:cubicBezTo>
                  <a:pt x="3097" y="342"/>
                  <a:pt x="3093" y="341"/>
                  <a:pt x="3089" y="341"/>
                </a:cubicBezTo>
                <a:cubicBezTo>
                  <a:pt x="3082" y="341"/>
                  <a:pt x="3077" y="345"/>
                  <a:pt x="3074" y="348"/>
                </a:cubicBezTo>
                <a:cubicBezTo>
                  <a:pt x="3071" y="350"/>
                  <a:pt x="3068" y="352"/>
                  <a:pt x="3061" y="354"/>
                </a:cubicBezTo>
                <a:cubicBezTo>
                  <a:pt x="3057" y="355"/>
                  <a:pt x="3053" y="355"/>
                  <a:pt x="3049" y="355"/>
                </a:cubicBezTo>
                <a:cubicBezTo>
                  <a:pt x="3043" y="355"/>
                  <a:pt x="3038" y="354"/>
                  <a:pt x="3033" y="354"/>
                </a:cubicBezTo>
                <a:cubicBezTo>
                  <a:pt x="3028" y="354"/>
                  <a:pt x="3022" y="355"/>
                  <a:pt x="3018" y="360"/>
                </a:cubicBezTo>
                <a:cubicBezTo>
                  <a:pt x="3016" y="363"/>
                  <a:pt x="3015" y="366"/>
                  <a:pt x="3013" y="369"/>
                </a:cubicBezTo>
                <a:cubicBezTo>
                  <a:pt x="3013" y="367"/>
                  <a:pt x="3014" y="365"/>
                  <a:pt x="3015" y="364"/>
                </a:cubicBezTo>
                <a:cubicBezTo>
                  <a:pt x="3017" y="359"/>
                  <a:pt x="3019" y="355"/>
                  <a:pt x="3019" y="350"/>
                </a:cubicBezTo>
                <a:cubicBezTo>
                  <a:pt x="3019" y="347"/>
                  <a:pt x="3018" y="344"/>
                  <a:pt x="3016" y="342"/>
                </a:cubicBezTo>
                <a:cubicBezTo>
                  <a:pt x="3011" y="337"/>
                  <a:pt x="3005" y="337"/>
                  <a:pt x="2999" y="337"/>
                </a:cubicBezTo>
                <a:cubicBezTo>
                  <a:pt x="2994" y="337"/>
                  <a:pt x="2989" y="337"/>
                  <a:pt x="2985" y="338"/>
                </a:cubicBezTo>
                <a:cubicBezTo>
                  <a:pt x="2980" y="339"/>
                  <a:pt x="2977" y="340"/>
                  <a:pt x="2974" y="343"/>
                </a:cubicBezTo>
                <a:cubicBezTo>
                  <a:pt x="2971" y="348"/>
                  <a:pt x="2971" y="351"/>
                  <a:pt x="2971" y="355"/>
                </a:cubicBezTo>
                <a:cubicBezTo>
                  <a:pt x="2971" y="362"/>
                  <a:pt x="2972" y="370"/>
                  <a:pt x="2974" y="375"/>
                </a:cubicBezTo>
                <a:cubicBezTo>
                  <a:pt x="2974" y="375"/>
                  <a:pt x="2974" y="376"/>
                  <a:pt x="2975" y="377"/>
                </a:cubicBezTo>
                <a:cubicBezTo>
                  <a:pt x="2973" y="375"/>
                  <a:pt x="2970" y="373"/>
                  <a:pt x="2967" y="373"/>
                </a:cubicBezTo>
                <a:cubicBezTo>
                  <a:pt x="2966" y="373"/>
                  <a:pt x="2965" y="373"/>
                  <a:pt x="2964" y="373"/>
                </a:cubicBezTo>
                <a:cubicBezTo>
                  <a:pt x="2961" y="374"/>
                  <a:pt x="2958" y="375"/>
                  <a:pt x="2956" y="376"/>
                </a:cubicBezTo>
                <a:cubicBezTo>
                  <a:pt x="2957" y="375"/>
                  <a:pt x="2957" y="373"/>
                  <a:pt x="2957" y="371"/>
                </a:cubicBezTo>
                <a:cubicBezTo>
                  <a:pt x="2957" y="365"/>
                  <a:pt x="2953" y="363"/>
                  <a:pt x="2950" y="361"/>
                </a:cubicBezTo>
                <a:cubicBezTo>
                  <a:pt x="2940" y="356"/>
                  <a:pt x="2929" y="350"/>
                  <a:pt x="2911" y="347"/>
                </a:cubicBezTo>
                <a:cubicBezTo>
                  <a:pt x="2895" y="344"/>
                  <a:pt x="2874" y="344"/>
                  <a:pt x="2850" y="334"/>
                </a:cubicBezTo>
                <a:cubicBezTo>
                  <a:pt x="2825" y="323"/>
                  <a:pt x="2819" y="318"/>
                  <a:pt x="2807" y="315"/>
                </a:cubicBezTo>
                <a:cubicBezTo>
                  <a:pt x="2798" y="313"/>
                  <a:pt x="2754" y="304"/>
                  <a:pt x="2721" y="304"/>
                </a:cubicBezTo>
                <a:cubicBezTo>
                  <a:pt x="2714" y="304"/>
                  <a:pt x="2708" y="304"/>
                  <a:pt x="2702" y="306"/>
                </a:cubicBezTo>
                <a:cubicBezTo>
                  <a:pt x="2687" y="308"/>
                  <a:pt x="2660" y="316"/>
                  <a:pt x="2636" y="323"/>
                </a:cubicBezTo>
                <a:cubicBezTo>
                  <a:pt x="2624" y="327"/>
                  <a:pt x="2613" y="331"/>
                  <a:pt x="2604" y="334"/>
                </a:cubicBezTo>
                <a:cubicBezTo>
                  <a:pt x="2600" y="335"/>
                  <a:pt x="2596" y="337"/>
                  <a:pt x="2593" y="338"/>
                </a:cubicBezTo>
                <a:cubicBezTo>
                  <a:pt x="2590" y="339"/>
                  <a:pt x="2589" y="340"/>
                  <a:pt x="2586" y="341"/>
                </a:cubicBezTo>
                <a:cubicBezTo>
                  <a:pt x="2583" y="345"/>
                  <a:pt x="2580" y="350"/>
                  <a:pt x="2576" y="356"/>
                </a:cubicBezTo>
                <a:cubicBezTo>
                  <a:pt x="2572" y="362"/>
                  <a:pt x="2567" y="370"/>
                  <a:pt x="2560" y="376"/>
                </a:cubicBezTo>
                <a:cubicBezTo>
                  <a:pt x="2545" y="390"/>
                  <a:pt x="2517" y="421"/>
                  <a:pt x="2498" y="426"/>
                </a:cubicBezTo>
                <a:cubicBezTo>
                  <a:pt x="2486" y="429"/>
                  <a:pt x="2474" y="436"/>
                  <a:pt x="2464" y="443"/>
                </a:cubicBezTo>
                <a:cubicBezTo>
                  <a:pt x="2460" y="447"/>
                  <a:pt x="2455" y="450"/>
                  <a:pt x="2452" y="454"/>
                </a:cubicBezTo>
                <a:cubicBezTo>
                  <a:pt x="2450" y="457"/>
                  <a:pt x="2447" y="459"/>
                  <a:pt x="2446" y="465"/>
                </a:cubicBezTo>
                <a:cubicBezTo>
                  <a:pt x="2447" y="469"/>
                  <a:pt x="2449" y="474"/>
                  <a:pt x="2450" y="480"/>
                </a:cubicBezTo>
                <a:cubicBezTo>
                  <a:pt x="2452" y="485"/>
                  <a:pt x="2454" y="491"/>
                  <a:pt x="2454" y="493"/>
                </a:cubicBezTo>
                <a:cubicBezTo>
                  <a:pt x="2453" y="494"/>
                  <a:pt x="2453" y="496"/>
                  <a:pt x="2453" y="497"/>
                </a:cubicBezTo>
                <a:cubicBezTo>
                  <a:pt x="2453" y="502"/>
                  <a:pt x="2455" y="509"/>
                  <a:pt x="2458" y="515"/>
                </a:cubicBezTo>
                <a:cubicBezTo>
                  <a:pt x="2462" y="521"/>
                  <a:pt x="2467" y="527"/>
                  <a:pt x="2474" y="531"/>
                </a:cubicBezTo>
                <a:cubicBezTo>
                  <a:pt x="2480" y="533"/>
                  <a:pt x="2488" y="534"/>
                  <a:pt x="2494" y="535"/>
                </a:cubicBezTo>
                <a:cubicBezTo>
                  <a:pt x="2498" y="535"/>
                  <a:pt x="2501" y="534"/>
                  <a:pt x="2503" y="534"/>
                </a:cubicBezTo>
                <a:cubicBezTo>
                  <a:pt x="2503" y="534"/>
                  <a:pt x="2503" y="534"/>
                  <a:pt x="2503" y="534"/>
                </a:cubicBezTo>
                <a:cubicBezTo>
                  <a:pt x="2498" y="536"/>
                  <a:pt x="2492" y="539"/>
                  <a:pt x="2489" y="545"/>
                </a:cubicBezTo>
                <a:cubicBezTo>
                  <a:pt x="2487" y="551"/>
                  <a:pt x="2485" y="560"/>
                  <a:pt x="2484" y="568"/>
                </a:cubicBezTo>
                <a:cubicBezTo>
                  <a:pt x="2485" y="572"/>
                  <a:pt x="2485" y="577"/>
                  <a:pt x="2488" y="581"/>
                </a:cubicBezTo>
                <a:cubicBezTo>
                  <a:pt x="2489" y="583"/>
                  <a:pt x="2490" y="584"/>
                  <a:pt x="2492" y="586"/>
                </a:cubicBezTo>
                <a:cubicBezTo>
                  <a:pt x="2488" y="585"/>
                  <a:pt x="2483" y="585"/>
                  <a:pt x="2479" y="585"/>
                </a:cubicBezTo>
                <a:cubicBezTo>
                  <a:pt x="2471" y="585"/>
                  <a:pt x="2463" y="587"/>
                  <a:pt x="2457" y="592"/>
                </a:cubicBezTo>
                <a:cubicBezTo>
                  <a:pt x="2449" y="599"/>
                  <a:pt x="2437" y="613"/>
                  <a:pt x="2432" y="617"/>
                </a:cubicBezTo>
                <a:cubicBezTo>
                  <a:pt x="2429" y="618"/>
                  <a:pt x="2425" y="618"/>
                  <a:pt x="2419" y="620"/>
                </a:cubicBezTo>
                <a:cubicBezTo>
                  <a:pt x="2418" y="620"/>
                  <a:pt x="2416" y="621"/>
                  <a:pt x="2414" y="621"/>
                </a:cubicBezTo>
                <a:cubicBezTo>
                  <a:pt x="2414" y="621"/>
                  <a:pt x="2414" y="620"/>
                  <a:pt x="2414" y="620"/>
                </a:cubicBezTo>
                <a:cubicBezTo>
                  <a:pt x="2412" y="607"/>
                  <a:pt x="2400" y="592"/>
                  <a:pt x="2387" y="585"/>
                </a:cubicBezTo>
                <a:cubicBezTo>
                  <a:pt x="2384" y="583"/>
                  <a:pt x="2379" y="576"/>
                  <a:pt x="2374" y="569"/>
                </a:cubicBezTo>
                <a:cubicBezTo>
                  <a:pt x="2369" y="561"/>
                  <a:pt x="2364" y="554"/>
                  <a:pt x="2360" y="550"/>
                </a:cubicBezTo>
                <a:cubicBezTo>
                  <a:pt x="2360" y="550"/>
                  <a:pt x="2360" y="550"/>
                  <a:pt x="2360" y="550"/>
                </a:cubicBezTo>
                <a:cubicBezTo>
                  <a:pt x="2360" y="548"/>
                  <a:pt x="2363" y="541"/>
                  <a:pt x="2363" y="533"/>
                </a:cubicBezTo>
                <a:cubicBezTo>
                  <a:pt x="2363" y="529"/>
                  <a:pt x="2362" y="525"/>
                  <a:pt x="2359" y="521"/>
                </a:cubicBezTo>
                <a:cubicBezTo>
                  <a:pt x="2355" y="516"/>
                  <a:pt x="2350" y="513"/>
                  <a:pt x="2346" y="511"/>
                </a:cubicBezTo>
                <a:cubicBezTo>
                  <a:pt x="2342" y="509"/>
                  <a:pt x="2339" y="508"/>
                  <a:pt x="2335" y="505"/>
                </a:cubicBezTo>
                <a:cubicBezTo>
                  <a:pt x="2332" y="503"/>
                  <a:pt x="2328" y="501"/>
                  <a:pt x="2325" y="501"/>
                </a:cubicBezTo>
                <a:cubicBezTo>
                  <a:pt x="2314" y="502"/>
                  <a:pt x="2308" y="510"/>
                  <a:pt x="2304" y="516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2" y="517"/>
                  <a:pt x="2298" y="515"/>
                  <a:pt x="2292" y="514"/>
                </a:cubicBezTo>
                <a:cubicBezTo>
                  <a:pt x="2290" y="514"/>
                  <a:pt x="2289" y="515"/>
                  <a:pt x="2287" y="515"/>
                </a:cubicBezTo>
                <a:cubicBezTo>
                  <a:pt x="2280" y="518"/>
                  <a:pt x="2277" y="525"/>
                  <a:pt x="2277" y="531"/>
                </a:cubicBezTo>
                <a:cubicBezTo>
                  <a:pt x="2277" y="538"/>
                  <a:pt x="2280" y="544"/>
                  <a:pt x="2283" y="549"/>
                </a:cubicBezTo>
                <a:cubicBezTo>
                  <a:pt x="2284" y="551"/>
                  <a:pt x="2286" y="554"/>
                  <a:pt x="2288" y="557"/>
                </a:cubicBezTo>
                <a:cubicBezTo>
                  <a:pt x="2285" y="556"/>
                  <a:pt x="2283" y="556"/>
                  <a:pt x="2281" y="556"/>
                </a:cubicBezTo>
                <a:cubicBezTo>
                  <a:pt x="2279" y="556"/>
                  <a:pt x="2277" y="556"/>
                  <a:pt x="2275" y="557"/>
                </a:cubicBezTo>
                <a:cubicBezTo>
                  <a:pt x="2267" y="558"/>
                  <a:pt x="2263" y="564"/>
                  <a:pt x="2261" y="567"/>
                </a:cubicBezTo>
                <a:cubicBezTo>
                  <a:pt x="2260" y="569"/>
                  <a:pt x="2259" y="571"/>
                  <a:pt x="2258" y="571"/>
                </a:cubicBezTo>
                <a:cubicBezTo>
                  <a:pt x="2258" y="571"/>
                  <a:pt x="2258" y="571"/>
                  <a:pt x="2258" y="572"/>
                </a:cubicBezTo>
                <a:cubicBezTo>
                  <a:pt x="2254" y="572"/>
                  <a:pt x="2250" y="572"/>
                  <a:pt x="2246" y="574"/>
                </a:cubicBezTo>
                <a:cubicBezTo>
                  <a:pt x="2242" y="576"/>
                  <a:pt x="2239" y="581"/>
                  <a:pt x="2239" y="587"/>
                </a:cubicBezTo>
                <a:cubicBezTo>
                  <a:pt x="2239" y="588"/>
                  <a:pt x="2239" y="590"/>
                  <a:pt x="2239" y="591"/>
                </a:cubicBezTo>
                <a:cubicBezTo>
                  <a:pt x="2241" y="598"/>
                  <a:pt x="2243" y="603"/>
                  <a:pt x="2243" y="605"/>
                </a:cubicBezTo>
                <a:cubicBezTo>
                  <a:pt x="2243" y="605"/>
                  <a:pt x="2243" y="605"/>
                  <a:pt x="2243" y="605"/>
                </a:cubicBezTo>
                <a:cubicBezTo>
                  <a:pt x="2243" y="605"/>
                  <a:pt x="2243" y="605"/>
                  <a:pt x="2242" y="605"/>
                </a:cubicBezTo>
                <a:cubicBezTo>
                  <a:pt x="2238" y="608"/>
                  <a:pt x="2237" y="612"/>
                  <a:pt x="2237" y="616"/>
                </a:cubicBezTo>
                <a:cubicBezTo>
                  <a:pt x="2237" y="621"/>
                  <a:pt x="2239" y="626"/>
                  <a:pt x="2242" y="630"/>
                </a:cubicBezTo>
                <a:cubicBezTo>
                  <a:pt x="2245" y="634"/>
                  <a:pt x="2249" y="638"/>
                  <a:pt x="2255" y="639"/>
                </a:cubicBezTo>
                <a:cubicBezTo>
                  <a:pt x="2255" y="639"/>
                  <a:pt x="2255" y="639"/>
                  <a:pt x="2255" y="639"/>
                </a:cubicBezTo>
                <a:cubicBezTo>
                  <a:pt x="2256" y="639"/>
                  <a:pt x="2257" y="639"/>
                  <a:pt x="2258" y="639"/>
                </a:cubicBezTo>
                <a:cubicBezTo>
                  <a:pt x="2270" y="639"/>
                  <a:pt x="2279" y="630"/>
                  <a:pt x="2286" y="627"/>
                </a:cubicBezTo>
                <a:cubicBezTo>
                  <a:pt x="2295" y="623"/>
                  <a:pt x="2309" y="614"/>
                  <a:pt x="2309" y="597"/>
                </a:cubicBezTo>
                <a:cubicBezTo>
                  <a:pt x="2309" y="590"/>
                  <a:pt x="2308" y="583"/>
                  <a:pt x="2307" y="577"/>
                </a:cubicBezTo>
                <a:cubicBezTo>
                  <a:pt x="2308" y="578"/>
                  <a:pt x="2309" y="578"/>
                  <a:pt x="2309" y="579"/>
                </a:cubicBezTo>
                <a:cubicBezTo>
                  <a:pt x="2312" y="573"/>
                  <a:pt x="2312" y="573"/>
                  <a:pt x="2312" y="573"/>
                </a:cubicBezTo>
                <a:cubicBezTo>
                  <a:pt x="2309" y="579"/>
                  <a:pt x="2309" y="579"/>
                  <a:pt x="2309" y="579"/>
                </a:cubicBezTo>
                <a:cubicBezTo>
                  <a:pt x="2315" y="581"/>
                  <a:pt x="2322" y="584"/>
                  <a:pt x="2328" y="586"/>
                </a:cubicBezTo>
                <a:cubicBezTo>
                  <a:pt x="2329" y="587"/>
                  <a:pt x="2330" y="587"/>
                  <a:pt x="2331" y="588"/>
                </a:cubicBezTo>
                <a:cubicBezTo>
                  <a:pt x="2327" y="591"/>
                  <a:pt x="2322" y="595"/>
                  <a:pt x="2318" y="599"/>
                </a:cubicBezTo>
                <a:cubicBezTo>
                  <a:pt x="2312" y="605"/>
                  <a:pt x="2307" y="611"/>
                  <a:pt x="2305" y="617"/>
                </a:cubicBezTo>
                <a:cubicBezTo>
                  <a:pt x="2305" y="618"/>
                  <a:pt x="2305" y="619"/>
                  <a:pt x="2305" y="620"/>
                </a:cubicBezTo>
                <a:cubicBezTo>
                  <a:pt x="2306" y="629"/>
                  <a:pt x="2312" y="633"/>
                  <a:pt x="2318" y="636"/>
                </a:cubicBezTo>
                <a:cubicBezTo>
                  <a:pt x="2319" y="637"/>
                  <a:pt x="2321" y="638"/>
                  <a:pt x="2322" y="638"/>
                </a:cubicBezTo>
                <a:cubicBezTo>
                  <a:pt x="2322" y="640"/>
                  <a:pt x="2321" y="642"/>
                  <a:pt x="2321" y="644"/>
                </a:cubicBezTo>
                <a:cubicBezTo>
                  <a:pt x="2321" y="647"/>
                  <a:pt x="2323" y="652"/>
                  <a:pt x="2327" y="653"/>
                </a:cubicBezTo>
                <a:cubicBezTo>
                  <a:pt x="2328" y="654"/>
                  <a:pt x="2330" y="654"/>
                  <a:pt x="2331" y="654"/>
                </a:cubicBezTo>
                <a:cubicBezTo>
                  <a:pt x="2338" y="654"/>
                  <a:pt x="2340" y="650"/>
                  <a:pt x="2342" y="648"/>
                </a:cubicBezTo>
                <a:cubicBezTo>
                  <a:pt x="2345" y="645"/>
                  <a:pt x="2346" y="644"/>
                  <a:pt x="2348" y="644"/>
                </a:cubicBezTo>
                <a:cubicBezTo>
                  <a:pt x="2355" y="644"/>
                  <a:pt x="2372" y="650"/>
                  <a:pt x="2383" y="651"/>
                </a:cubicBezTo>
                <a:cubicBezTo>
                  <a:pt x="2375" y="653"/>
                  <a:pt x="2366" y="655"/>
                  <a:pt x="2357" y="657"/>
                </a:cubicBezTo>
                <a:cubicBezTo>
                  <a:pt x="2349" y="659"/>
                  <a:pt x="2345" y="662"/>
                  <a:pt x="2341" y="664"/>
                </a:cubicBezTo>
                <a:cubicBezTo>
                  <a:pt x="2338" y="666"/>
                  <a:pt x="2336" y="667"/>
                  <a:pt x="2329" y="668"/>
                </a:cubicBezTo>
                <a:cubicBezTo>
                  <a:pt x="2324" y="668"/>
                  <a:pt x="2320" y="669"/>
                  <a:pt x="2317" y="671"/>
                </a:cubicBezTo>
                <a:cubicBezTo>
                  <a:pt x="2313" y="673"/>
                  <a:pt x="2310" y="675"/>
                  <a:pt x="2310" y="680"/>
                </a:cubicBezTo>
                <a:cubicBezTo>
                  <a:pt x="2310" y="685"/>
                  <a:pt x="2313" y="687"/>
                  <a:pt x="2315" y="689"/>
                </a:cubicBezTo>
                <a:cubicBezTo>
                  <a:pt x="2318" y="691"/>
                  <a:pt x="2321" y="692"/>
                  <a:pt x="2325" y="692"/>
                </a:cubicBezTo>
                <a:cubicBezTo>
                  <a:pt x="2331" y="694"/>
                  <a:pt x="2341" y="697"/>
                  <a:pt x="2348" y="701"/>
                </a:cubicBezTo>
                <a:cubicBezTo>
                  <a:pt x="2355" y="705"/>
                  <a:pt x="2359" y="711"/>
                  <a:pt x="2359" y="713"/>
                </a:cubicBezTo>
                <a:cubicBezTo>
                  <a:pt x="2359" y="715"/>
                  <a:pt x="2359" y="717"/>
                  <a:pt x="2359" y="719"/>
                </a:cubicBezTo>
                <a:cubicBezTo>
                  <a:pt x="2359" y="729"/>
                  <a:pt x="2356" y="739"/>
                  <a:pt x="2352" y="749"/>
                </a:cubicBezTo>
                <a:cubicBezTo>
                  <a:pt x="2352" y="749"/>
                  <a:pt x="2352" y="749"/>
                  <a:pt x="2352" y="749"/>
                </a:cubicBezTo>
                <a:cubicBezTo>
                  <a:pt x="2352" y="749"/>
                  <a:pt x="2349" y="750"/>
                  <a:pt x="2344" y="750"/>
                </a:cubicBezTo>
                <a:cubicBezTo>
                  <a:pt x="2336" y="750"/>
                  <a:pt x="2325" y="748"/>
                  <a:pt x="2316" y="748"/>
                </a:cubicBezTo>
                <a:cubicBezTo>
                  <a:pt x="2308" y="748"/>
                  <a:pt x="2293" y="746"/>
                  <a:pt x="2279" y="746"/>
                </a:cubicBezTo>
                <a:cubicBezTo>
                  <a:pt x="2273" y="746"/>
                  <a:pt x="2267" y="746"/>
                  <a:pt x="2261" y="749"/>
                </a:cubicBezTo>
                <a:cubicBezTo>
                  <a:pt x="2250" y="754"/>
                  <a:pt x="2249" y="767"/>
                  <a:pt x="2249" y="778"/>
                </a:cubicBezTo>
                <a:cubicBezTo>
                  <a:pt x="2249" y="786"/>
                  <a:pt x="2250" y="795"/>
                  <a:pt x="2252" y="801"/>
                </a:cubicBezTo>
                <a:cubicBezTo>
                  <a:pt x="2253" y="804"/>
                  <a:pt x="2253" y="806"/>
                  <a:pt x="2253" y="808"/>
                </a:cubicBezTo>
                <a:cubicBezTo>
                  <a:pt x="2253" y="813"/>
                  <a:pt x="2251" y="816"/>
                  <a:pt x="2248" y="818"/>
                </a:cubicBezTo>
                <a:cubicBezTo>
                  <a:pt x="2244" y="823"/>
                  <a:pt x="2242" y="828"/>
                  <a:pt x="2242" y="834"/>
                </a:cubicBezTo>
                <a:cubicBezTo>
                  <a:pt x="2242" y="839"/>
                  <a:pt x="2244" y="845"/>
                  <a:pt x="2248" y="849"/>
                </a:cubicBezTo>
                <a:cubicBezTo>
                  <a:pt x="2250" y="851"/>
                  <a:pt x="2253" y="855"/>
                  <a:pt x="2255" y="859"/>
                </a:cubicBezTo>
                <a:cubicBezTo>
                  <a:pt x="2258" y="863"/>
                  <a:pt x="2259" y="868"/>
                  <a:pt x="2265" y="870"/>
                </a:cubicBezTo>
                <a:cubicBezTo>
                  <a:pt x="2267" y="871"/>
                  <a:pt x="2268" y="871"/>
                  <a:pt x="2269" y="871"/>
                </a:cubicBezTo>
                <a:cubicBezTo>
                  <a:pt x="2274" y="871"/>
                  <a:pt x="2278" y="869"/>
                  <a:pt x="2282" y="870"/>
                </a:cubicBezTo>
                <a:cubicBezTo>
                  <a:pt x="2286" y="870"/>
                  <a:pt x="2288" y="870"/>
                  <a:pt x="2288" y="871"/>
                </a:cubicBezTo>
                <a:cubicBezTo>
                  <a:pt x="2290" y="873"/>
                  <a:pt x="2292" y="878"/>
                  <a:pt x="2295" y="882"/>
                </a:cubicBezTo>
                <a:cubicBezTo>
                  <a:pt x="2296" y="884"/>
                  <a:pt x="2297" y="887"/>
                  <a:pt x="2299" y="888"/>
                </a:cubicBezTo>
                <a:cubicBezTo>
                  <a:pt x="2299" y="889"/>
                  <a:pt x="2299" y="889"/>
                  <a:pt x="2299" y="889"/>
                </a:cubicBezTo>
                <a:cubicBezTo>
                  <a:pt x="2299" y="889"/>
                  <a:pt x="2299" y="889"/>
                  <a:pt x="2298" y="890"/>
                </a:cubicBezTo>
                <a:cubicBezTo>
                  <a:pt x="2291" y="894"/>
                  <a:pt x="2284" y="901"/>
                  <a:pt x="2279" y="905"/>
                </a:cubicBezTo>
                <a:cubicBezTo>
                  <a:pt x="2276" y="908"/>
                  <a:pt x="2274" y="910"/>
                  <a:pt x="2272" y="911"/>
                </a:cubicBezTo>
                <a:cubicBezTo>
                  <a:pt x="2272" y="911"/>
                  <a:pt x="2271" y="912"/>
                  <a:pt x="2271" y="912"/>
                </a:cubicBezTo>
                <a:cubicBezTo>
                  <a:pt x="2268" y="912"/>
                  <a:pt x="2266" y="914"/>
                  <a:pt x="2264" y="915"/>
                </a:cubicBezTo>
                <a:cubicBezTo>
                  <a:pt x="2258" y="920"/>
                  <a:pt x="2251" y="930"/>
                  <a:pt x="2245" y="946"/>
                </a:cubicBezTo>
                <a:cubicBezTo>
                  <a:pt x="2242" y="958"/>
                  <a:pt x="2242" y="968"/>
                  <a:pt x="2241" y="976"/>
                </a:cubicBezTo>
                <a:cubicBezTo>
                  <a:pt x="2241" y="984"/>
                  <a:pt x="2240" y="987"/>
                  <a:pt x="2237" y="989"/>
                </a:cubicBezTo>
                <a:cubicBezTo>
                  <a:pt x="2224" y="996"/>
                  <a:pt x="2201" y="1011"/>
                  <a:pt x="2190" y="1023"/>
                </a:cubicBezTo>
                <a:cubicBezTo>
                  <a:pt x="2184" y="1030"/>
                  <a:pt x="2179" y="1042"/>
                  <a:pt x="2174" y="1056"/>
                </a:cubicBezTo>
                <a:cubicBezTo>
                  <a:pt x="2168" y="1069"/>
                  <a:pt x="2163" y="1083"/>
                  <a:pt x="2157" y="1091"/>
                </a:cubicBezTo>
                <a:cubicBezTo>
                  <a:pt x="2153" y="1098"/>
                  <a:pt x="2151" y="1105"/>
                  <a:pt x="2151" y="1111"/>
                </a:cubicBezTo>
                <a:cubicBezTo>
                  <a:pt x="2152" y="1125"/>
                  <a:pt x="2158" y="1135"/>
                  <a:pt x="2159" y="1141"/>
                </a:cubicBezTo>
                <a:cubicBezTo>
                  <a:pt x="2160" y="1148"/>
                  <a:pt x="2163" y="1157"/>
                  <a:pt x="2163" y="1167"/>
                </a:cubicBezTo>
                <a:cubicBezTo>
                  <a:pt x="2163" y="1174"/>
                  <a:pt x="2162" y="1181"/>
                  <a:pt x="2157" y="1188"/>
                </a:cubicBezTo>
                <a:cubicBezTo>
                  <a:pt x="2151" y="1198"/>
                  <a:pt x="2148" y="1206"/>
                  <a:pt x="2146" y="1211"/>
                </a:cubicBezTo>
                <a:cubicBezTo>
                  <a:pt x="2145" y="1213"/>
                  <a:pt x="2144" y="1215"/>
                  <a:pt x="2144" y="1215"/>
                </a:cubicBezTo>
                <a:cubicBezTo>
                  <a:pt x="2143" y="1216"/>
                  <a:pt x="2143" y="1216"/>
                  <a:pt x="2143" y="1216"/>
                </a:cubicBezTo>
                <a:cubicBezTo>
                  <a:pt x="2142" y="1216"/>
                  <a:pt x="2141" y="1216"/>
                  <a:pt x="2140" y="1217"/>
                </a:cubicBezTo>
                <a:cubicBezTo>
                  <a:pt x="2139" y="1218"/>
                  <a:pt x="2138" y="1221"/>
                  <a:pt x="2138" y="1223"/>
                </a:cubicBezTo>
                <a:cubicBezTo>
                  <a:pt x="2138" y="1226"/>
                  <a:pt x="2139" y="1227"/>
                  <a:pt x="2140" y="1229"/>
                </a:cubicBezTo>
                <a:cubicBezTo>
                  <a:pt x="2143" y="1232"/>
                  <a:pt x="2146" y="1236"/>
                  <a:pt x="2147" y="1243"/>
                </a:cubicBezTo>
                <a:cubicBezTo>
                  <a:pt x="2148" y="1244"/>
                  <a:pt x="2148" y="1245"/>
                  <a:pt x="2148" y="1246"/>
                </a:cubicBezTo>
                <a:cubicBezTo>
                  <a:pt x="2148" y="1250"/>
                  <a:pt x="2146" y="1256"/>
                  <a:pt x="2146" y="1263"/>
                </a:cubicBezTo>
                <a:cubicBezTo>
                  <a:pt x="2145" y="1271"/>
                  <a:pt x="2150" y="1281"/>
                  <a:pt x="2162" y="1287"/>
                </a:cubicBezTo>
                <a:cubicBezTo>
                  <a:pt x="2183" y="1299"/>
                  <a:pt x="2192" y="1309"/>
                  <a:pt x="2197" y="1324"/>
                </a:cubicBezTo>
                <a:cubicBezTo>
                  <a:pt x="2204" y="1343"/>
                  <a:pt x="2233" y="1370"/>
                  <a:pt x="2233" y="1370"/>
                </a:cubicBezTo>
                <a:cubicBezTo>
                  <a:pt x="2233" y="1371"/>
                  <a:pt x="2254" y="1392"/>
                  <a:pt x="2264" y="1402"/>
                </a:cubicBezTo>
                <a:cubicBezTo>
                  <a:pt x="2269" y="1406"/>
                  <a:pt x="2272" y="1409"/>
                  <a:pt x="2277" y="1409"/>
                </a:cubicBezTo>
                <a:cubicBezTo>
                  <a:pt x="2282" y="1409"/>
                  <a:pt x="2285" y="1406"/>
                  <a:pt x="2287" y="1403"/>
                </a:cubicBezTo>
                <a:cubicBezTo>
                  <a:pt x="2289" y="1400"/>
                  <a:pt x="2290" y="1397"/>
                  <a:pt x="2290" y="1394"/>
                </a:cubicBezTo>
                <a:cubicBezTo>
                  <a:pt x="2291" y="1392"/>
                  <a:pt x="2292" y="1390"/>
                  <a:pt x="2297" y="1389"/>
                </a:cubicBezTo>
                <a:cubicBezTo>
                  <a:pt x="2302" y="1388"/>
                  <a:pt x="2309" y="1387"/>
                  <a:pt x="2317" y="1387"/>
                </a:cubicBezTo>
                <a:cubicBezTo>
                  <a:pt x="2328" y="1387"/>
                  <a:pt x="2337" y="1390"/>
                  <a:pt x="2349" y="1390"/>
                </a:cubicBezTo>
                <a:cubicBezTo>
                  <a:pt x="2353" y="1390"/>
                  <a:pt x="2357" y="1389"/>
                  <a:pt x="2361" y="1389"/>
                </a:cubicBezTo>
                <a:cubicBezTo>
                  <a:pt x="2380" y="1385"/>
                  <a:pt x="2396" y="1372"/>
                  <a:pt x="2401" y="1370"/>
                </a:cubicBezTo>
                <a:cubicBezTo>
                  <a:pt x="2406" y="1367"/>
                  <a:pt x="2417" y="1360"/>
                  <a:pt x="2426" y="1360"/>
                </a:cubicBezTo>
                <a:cubicBezTo>
                  <a:pt x="2430" y="1360"/>
                  <a:pt x="2432" y="1361"/>
                  <a:pt x="2435" y="1363"/>
                </a:cubicBezTo>
                <a:cubicBezTo>
                  <a:pt x="2441" y="1367"/>
                  <a:pt x="2444" y="1372"/>
                  <a:pt x="2446" y="1378"/>
                </a:cubicBezTo>
                <a:cubicBezTo>
                  <a:pt x="2448" y="1384"/>
                  <a:pt x="2450" y="1391"/>
                  <a:pt x="2455" y="1398"/>
                </a:cubicBezTo>
                <a:cubicBezTo>
                  <a:pt x="2459" y="1402"/>
                  <a:pt x="2465" y="1405"/>
                  <a:pt x="2470" y="1405"/>
                </a:cubicBezTo>
                <a:cubicBezTo>
                  <a:pt x="2480" y="1405"/>
                  <a:pt x="2488" y="1399"/>
                  <a:pt x="2496" y="1393"/>
                </a:cubicBezTo>
                <a:cubicBezTo>
                  <a:pt x="2497" y="1391"/>
                  <a:pt x="2498" y="1390"/>
                  <a:pt x="2499" y="1390"/>
                </a:cubicBezTo>
                <a:cubicBezTo>
                  <a:pt x="2500" y="1391"/>
                  <a:pt x="2503" y="1394"/>
                  <a:pt x="2507" y="1396"/>
                </a:cubicBezTo>
                <a:cubicBezTo>
                  <a:pt x="2514" y="1401"/>
                  <a:pt x="2517" y="1405"/>
                  <a:pt x="2517" y="1407"/>
                </a:cubicBezTo>
                <a:cubicBezTo>
                  <a:pt x="2517" y="1409"/>
                  <a:pt x="2516" y="1412"/>
                  <a:pt x="2513" y="1416"/>
                </a:cubicBezTo>
                <a:cubicBezTo>
                  <a:pt x="2505" y="1424"/>
                  <a:pt x="2504" y="1433"/>
                  <a:pt x="2503" y="1442"/>
                </a:cubicBezTo>
                <a:cubicBezTo>
                  <a:pt x="2503" y="1451"/>
                  <a:pt x="2503" y="1460"/>
                  <a:pt x="2500" y="1469"/>
                </a:cubicBezTo>
                <a:cubicBezTo>
                  <a:pt x="2497" y="1477"/>
                  <a:pt x="2495" y="1482"/>
                  <a:pt x="2495" y="1487"/>
                </a:cubicBezTo>
                <a:cubicBezTo>
                  <a:pt x="2495" y="1491"/>
                  <a:pt x="2497" y="1496"/>
                  <a:pt x="2499" y="1499"/>
                </a:cubicBezTo>
                <a:cubicBezTo>
                  <a:pt x="2502" y="1501"/>
                  <a:pt x="2505" y="1504"/>
                  <a:pt x="2509" y="1506"/>
                </a:cubicBezTo>
                <a:cubicBezTo>
                  <a:pt x="2513" y="1508"/>
                  <a:pt x="2523" y="1523"/>
                  <a:pt x="2530" y="1538"/>
                </a:cubicBezTo>
                <a:cubicBezTo>
                  <a:pt x="2539" y="1553"/>
                  <a:pt x="2546" y="1568"/>
                  <a:pt x="2550" y="1574"/>
                </a:cubicBezTo>
                <a:cubicBezTo>
                  <a:pt x="2551" y="1575"/>
                  <a:pt x="2552" y="1579"/>
                  <a:pt x="2552" y="1584"/>
                </a:cubicBezTo>
                <a:cubicBezTo>
                  <a:pt x="2552" y="1590"/>
                  <a:pt x="2551" y="1596"/>
                  <a:pt x="2551" y="1603"/>
                </a:cubicBezTo>
                <a:cubicBezTo>
                  <a:pt x="2551" y="1611"/>
                  <a:pt x="2552" y="1619"/>
                  <a:pt x="2555" y="1627"/>
                </a:cubicBezTo>
                <a:cubicBezTo>
                  <a:pt x="2561" y="1638"/>
                  <a:pt x="2566" y="1647"/>
                  <a:pt x="2566" y="1651"/>
                </a:cubicBezTo>
                <a:cubicBezTo>
                  <a:pt x="2565" y="1653"/>
                  <a:pt x="2565" y="1653"/>
                  <a:pt x="2564" y="1655"/>
                </a:cubicBezTo>
                <a:cubicBezTo>
                  <a:pt x="2554" y="1664"/>
                  <a:pt x="2536" y="1680"/>
                  <a:pt x="2535" y="1710"/>
                </a:cubicBezTo>
                <a:cubicBezTo>
                  <a:pt x="2535" y="1713"/>
                  <a:pt x="2535" y="1716"/>
                  <a:pt x="2535" y="1718"/>
                </a:cubicBezTo>
                <a:cubicBezTo>
                  <a:pt x="2535" y="1743"/>
                  <a:pt x="2540" y="1760"/>
                  <a:pt x="2545" y="1770"/>
                </a:cubicBezTo>
                <a:cubicBezTo>
                  <a:pt x="2549" y="1779"/>
                  <a:pt x="2561" y="1805"/>
                  <a:pt x="2567" y="1816"/>
                </a:cubicBezTo>
                <a:cubicBezTo>
                  <a:pt x="2572" y="1824"/>
                  <a:pt x="2579" y="1848"/>
                  <a:pt x="2580" y="1861"/>
                </a:cubicBezTo>
                <a:cubicBezTo>
                  <a:pt x="2580" y="1864"/>
                  <a:pt x="2580" y="1866"/>
                  <a:pt x="2580" y="1869"/>
                </a:cubicBezTo>
                <a:cubicBezTo>
                  <a:pt x="2580" y="1874"/>
                  <a:pt x="2580" y="1879"/>
                  <a:pt x="2580" y="1884"/>
                </a:cubicBezTo>
                <a:cubicBezTo>
                  <a:pt x="2580" y="1892"/>
                  <a:pt x="2580" y="1899"/>
                  <a:pt x="2584" y="1906"/>
                </a:cubicBezTo>
                <a:cubicBezTo>
                  <a:pt x="2589" y="1913"/>
                  <a:pt x="2593" y="1926"/>
                  <a:pt x="2605" y="1938"/>
                </a:cubicBezTo>
                <a:cubicBezTo>
                  <a:pt x="2609" y="1942"/>
                  <a:pt x="2612" y="1950"/>
                  <a:pt x="2614" y="1957"/>
                </a:cubicBezTo>
                <a:cubicBezTo>
                  <a:pt x="2616" y="1964"/>
                  <a:pt x="2617" y="1969"/>
                  <a:pt x="2617" y="1969"/>
                </a:cubicBezTo>
                <a:cubicBezTo>
                  <a:pt x="2617" y="1971"/>
                  <a:pt x="2617" y="1971"/>
                  <a:pt x="2617" y="1971"/>
                </a:cubicBezTo>
                <a:cubicBezTo>
                  <a:pt x="2617" y="1971"/>
                  <a:pt x="2618" y="1973"/>
                  <a:pt x="2619" y="1977"/>
                </a:cubicBezTo>
                <a:cubicBezTo>
                  <a:pt x="2620" y="1981"/>
                  <a:pt x="2621" y="1987"/>
                  <a:pt x="2621" y="1994"/>
                </a:cubicBezTo>
                <a:cubicBezTo>
                  <a:pt x="2622" y="2001"/>
                  <a:pt x="2622" y="2008"/>
                  <a:pt x="2625" y="2014"/>
                </a:cubicBezTo>
                <a:cubicBezTo>
                  <a:pt x="2627" y="2021"/>
                  <a:pt x="2631" y="2026"/>
                  <a:pt x="2638" y="2030"/>
                </a:cubicBezTo>
                <a:cubicBezTo>
                  <a:pt x="2645" y="2034"/>
                  <a:pt x="2651" y="2036"/>
                  <a:pt x="2657" y="2036"/>
                </a:cubicBezTo>
                <a:cubicBezTo>
                  <a:pt x="2658" y="2036"/>
                  <a:pt x="2658" y="2036"/>
                  <a:pt x="2658" y="2036"/>
                </a:cubicBezTo>
                <a:cubicBezTo>
                  <a:pt x="2663" y="2036"/>
                  <a:pt x="2668" y="2034"/>
                  <a:pt x="2671" y="2030"/>
                </a:cubicBezTo>
                <a:cubicBezTo>
                  <a:pt x="2671" y="2030"/>
                  <a:pt x="2672" y="2029"/>
                  <a:pt x="2674" y="2028"/>
                </a:cubicBezTo>
                <a:cubicBezTo>
                  <a:pt x="2681" y="2026"/>
                  <a:pt x="2693" y="2025"/>
                  <a:pt x="2704" y="2025"/>
                </a:cubicBezTo>
                <a:cubicBezTo>
                  <a:pt x="2708" y="2025"/>
                  <a:pt x="2712" y="2025"/>
                  <a:pt x="2715" y="2026"/>
                </a:cubicBezTo>
                <a:cubicBezTo>
                  <a:pt x="2717" y="2026"/>
                  <a:pt x="2718" y="2026"/>
                  <a:pt x="2719" y="2026"/>
                </a:cubicBezTo>
                <a:cubicBezTo>
                  <a:pt x="2736" y="2026"/>
                  <a:pt x="2752" y="2015"/>
                  <a:pt x="2767" y="2003"/>
                </a:cubicBezTo>
                <a:cubicBezTo>
                  <a:pt x="2783" y="1990"/>
                  <a:pt x="2805" y="1957"/>
                  <a:pt x="2813" y="1948"/>
                </a:cubicBezTo>
                <a:cubicBezTo>
                  <a:pt x="2816" y="1943"/>
                  <a:pt x="2822" y="1937"/>
                  <a:pt x="2828" y="1930"/>
                </a:cubicBezTo>
                <a:cubicBezTo>
                  <a:pt x="2833" y="1923"/>
                  <a:pt x="2838" y="1916"/>
                  <a:pt x="2838" y="1907"/>
                </a:cubicBezTo>
                <a:cubicBezTo>
                  <a:pt x="2838" y="1906"/>
                  <a:pt x="2838" y="1905"/>
                  <a:pt x="2838" y="1904"/>
                </a:cubicBezTo>
                <a:cubicBezTo>
                  <a:pt x="2837" y="1897"/>
                  <a:pt x="2835" y="1892"/>
                  <a:pt x="2835" y="1888"/>
                </a:cubicBezTo>
                <a:cubicBezTo>
                  <a:pt x="2835" y="1885"/>
                  <a:pt x="2835" y="1884"/>
                  <a:pt x="2838" y="1883"/>
                </a:cubicBezTo>
                <a:cubicBezTo>
                  <a:pt x="2842" y="1880"/>
                  <a:pt x="2850" y="1876"/>
                  <a:pt x="2857" y="1871"/>
                </a:cubicBezTo>
                <a:cubicBezTo>
                  <a:pt x="2864" y="1866"/>
                  <a:pt x="2871" y="1862"/>
                  <a:pt x="2873" y="1853"/>
                </a:cubicBezTo>
                <a:cubicBezTo>
                  <a:pt x="2873" y="1853"/>
                  <a:pt x="2873" y="1852"/>
                  <a:pt x="2873" y="1851"/>
                </a:cubicBezTo>
                <a:cubicBezTo>
                  <a:pt x="2873" y="1838"/>
                  <a:pt x="2864" y="1808"/>
                  <a:pt x="2862" y="1801"/>
                </a:cubicBezTo>
                <a:cubicBezTo>
                  <a:pt x="2862" y="1801"/>
                  <a:pt x="2862" y="1801"/>
                  <a:pt x="2862" y="1800"/>
                </a:cubicBezTo>
                <a:cubicBezTo>
                  <a:pt x="2862" y="1797"/>
                  <a:pt x="2868" y="1785"/>
                  <a:pt x="2876" y="1773"/>
                </a:cubicBezTo>
                <a:cubicBezTo>
                  <a:pt x="2880" y="1768"/>
                  <a:pt x="2889" y="1762"/>
                  <a:pt x="2897" y="1758"/>
                </a:cubicBezTo>
                <a:cubicBezTo>
                  <a:pt x="2902" y="1755"/>
                  <a:pt x="2906" y="1753"/>
                  <a:pt x="2910" y="1751"/>
                </a:cubicBezTo>
                <a:cubicBezTo>
                  <a:pt x="2913" y="1749"/>
                  <a:pt x="2916" y="1748"/>
                  <a:pt x="2919" y="1745"/>
                </a:cubicBezTo>
                <a:cubicBezTo>
                  <a:pt x="2924" y="1738"/>
                  <a:pt x="2937" y="1715"/>
                  <a:pt x="2939" y="1695"/>
                </a:cubicBezTo>
                <a:cubicBezTo>
                  <a:pt x="2940" y="1692"/>
                  <a:pt x="2940" y="1689"/>
                  <a:pt x="2940" y="1686"/>
                </a:cubicBezTo>
                <a:cubicBezTo>
                  <a:pt x="2940" y="1674"/>
                  <a:pt x="2938" y="1662"/>
                  <a:pt x="2938" y="1654"/>
                </a:cubicBezTo>
                <a:cubicBezTo>
                  <a:pt x="2938" y="1651"/>
                  <a:pt x="2938" y="1648"/>
                  <a:pt x="2939" y="1647"/>
                </a:cubicBezTo>
                <a:cubicBezTo>
                  <a:pt x="2941" y="1644"/>
                  <a:pt x="2942" y="1640"/>
                  <a:pt x="2942" y="1636"/>
                </a:cubicBezTo>
                <a:cubicBezTo>
                  <a:pt x="2941" y="1627"/>
                  <a:pt x="2936" y="1620"/>
                  <a:pt x="2929" y="1611"/>
                </a:cubicBezTo>
                <a:cubicBezTo>
                  <a:pt x="2925" y="1608"/>
                  <a:pt x="2923" y="1598"/>
                  <a:pt x="2922" y="1588"/>
                </a:cubicBezTo>
                <a:cubicBezTo>
                  <a:pt x="2921" y="1583"/>
                  <a:pt x="2921" y="1578"/>
                  <a:pt x="2921" y="1574"/>
                </a:cubicBezTo>
                <a:cubicBezTo>
                  <a:pt x="2920" y="1570"/>
                  <a:pt x="2920" y="1567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7" y="1559"/>
                  <a:pt x="2917" y="1556"/>
                </a:cubicBezTo>
                <a:cubicBezTo>
                  <a:pt x="2917" y="1551"/>
                  <a:pt x="2918" y="1545"/>
                  <a:pt x="2919" y="1540"/>
                </a:cubicBezTo>
                <a:cubicBezTo>
                  <a:pt x="2919" y="1538"/>
                  <a:pt x="2920" y="1536"/>
                  <a:pt x="2921" y="1535"/>
                </a:cubicBezTo>
                <a:cubicBezTo>
                  <a:pt x="2921" y="1535"/>
                  <a:pt x="2921" y="1534"/>
                  <a:pt x="2921" y="1534"/>
                </a:cubicBezTo>
                <a:cubicBezTo>
                  <a:pt x="2925" y="1532"/>
                  <a:pt x="2927" y="1530"/>
                  <a:pt x="2930" y="1526"/>
                </a:cubicBezTo>
                <a:cubicBezTo>
                  <a:pt x="2938" y="1516"/>
                  <a:pt x="2948" y="1498"/>
                  <a:pt x="2954" y="1490"/>
                </a:cubicBezTo>
                <a:cubicBezTo>
                  <a:pt x="2959" y="1483"/>
                  <a:pt x="2968" y="1471"/>
                  <a:pt x="2977" y="1459"/>
                </a:cubicBezTo>
                <a:cubicBezTo>
                  <a:pt x="2986" y="1448"/>
                  <a:pt x="2997" y="1438"/>
                  <a:pt x="2999" y="1438"/>
                </a:cubicBezTo>
                <a:cubicBezTo>
                  <a:pt x="3008" y="1436"/>
                  <a:pt x="3016" y="1429"/>
                  <a:pt x="3023" y="1421"/>
                </a:cubicBezTo>
                <a:cubicBezTo>
                  <a:pt x="3031" y="1413"/>
                  <a:pt x="3036" y="1404"/>
                  <a:pt x="3037" y="1396"/>
                </a:cubicBezTo>
                <a:cubicBezTo>
                  <a:pt x="3037" y="1393"/>
                  <a:pt x="3046" y="1377"/>
                  <a:pt x="3054" y="1363"/>
                </a:cubicBezTo>
                <a:cubicBezTo>
                  <a:pt x="3059" y="1355"/>
                  <a:pt x="3063" y="1348"/>
                  <a:pt x="3066" y="1342"/>
                </a:cubicBezTo>
                <a:cubicBezTo>
                  <a:pt x="3070" y="1336"/>
                  <a:pt x="3072" y="1332"/>
                  <a:pt x="3073" y="1327"/>
                </a:cubicBezTo>
                <a:cubicBezTo>
                  <a:pt x="3073" y="1324"/>
                  <a:pt x="3076" y="1315"/>
                  <a:pt x="3078" y="1306"/>
                </a:cubicBezTo>
                <a:cubicBezTo>
                  <a:pt x="3081" y="1297"/>
                  <a:pt x="3084" y="1287"/>
                  <a:pt x="3084" y="1279"/>
                </a:cubicBezTo>
                <a:cubicBezTo>
                  <a:pt x="3084" y="1275"/>
                  <a:pt x="3083" y="1272"/>
                  <a:pt x="3081" y="1269"/>
                </a:cubicBezTo>
                <a:cubicBezTo>
                  <a:pt x="3078" y="1265"/>
                  <a:pt x="3074" y="1264"/>
                  <a:pt x="3071" y="1264"/>
                </a:cubicBezTo>
                <a:cubicBezTo>
                  <a:pt x="3054" y="1265"/>
                  <a:pt x="3023" y="1280"/>
                  <a:pt x="3017" y="1282"/>
                </a:cubicBezTo>
                <a:cubicBezTo>
                  <a:pt x="3011" y="1285"/>
                  <a:pt x="2998" y="1294"/>
                  <a:pt x="2983" y="1294"/>
                </a:cubicBezTo>
                <a:cubicBezTo>
                  <a:pt x="2982" y="1294"/>
                  <a:pt x="2981" y="1294"/>
                  <a:pt x="2980" y="1294"/>
                </a:cubicBezTo>
                <a:cubicBezTo>
                  <a:pt x="2976" y="1293"/>
                  <a:pt x="2975" y="1293"/>
                  <a:pt x="2974" y="1292"/>
                </a:cubicBezTo>
                <a:cubicBezTo>
                  <a:pt x="2974" y="1291"/>
                  <a:pt x="2973" y="1289"/>
                  <a:pt x="2973" y="1287"/>
                </a:cubicBezTo>
                <a:cubicBezTo>
                  <a:pt x="2973" y="1283"/>
                  <a:pt x="2974" y="1279"/>
                  <a:pt x="2974" y="1274"/>
                </a:cubicBezTo>
                <a:cubicBezTo>
                  <a:pt x="2974" y="1273"/>
                  <a:pt x="2974" y="1273"/>
                  <a:pt x="2974" y="1272"/>
                </a:cubicBezTo>
                <a:cubicBezTo>
                  <a:pt x="2974" y="1269"/>
                  <a:pt x="2972" y="1265"/>
                  <a:pt x="2970" y="1261"/>
                </a:cubicBezTo>
                <a:cubicBezTo>
                  <a:pt x="2971" y="1262"/>
                  <a:pt x="2972" y="1262"/>
                  <a:pt x="2972" y="1263"/>
                </a:cubicBezTo>
                <a:cubicBezTo>
                  <a:pt x="2975" y="1264"/>
                  <a:pt x="2978" y="1264"/>
                  <a:pt x="2981" y="1264"/>
                </a:cubicBezTo>
                <a:cubicBezTo>
                  <a:pt x="2988" y="1264"/>
                  <a:pt x="2997" y="1262"/>
                  <a:pt x="3005" y="1259"/>
                </a:cubicBezTo>
                <a:cubicBezTo>
                  <a:pt x="3014" y="1256"/>
                  <a:pt x="3021" y="1254"/>
                  <a:pt x="3024" y="1251"/>
                </a:cubicBezTo>
                <a:cubicBezTo>
                  <a:pt x="3029" y="1248"/>
                  <a:pt x="3069" y="1225"/>
                  <a:pt x="3079" y="1225"/>
                </a:cubicBezTo>
                <a:cubicBezTo>
                  <a:pt x="3088" y="1224"/>
                  <a:pt x="3093" y="1220"/>
                  <a:pt x="3098" y="1216"/>
                </a:cubicBezTo>
                <a:cubicBezTo>
                  <a:pt x="3102" y="1213"/>
                  <a:pt x="3106" y="1210"/>
                  <a:pt x="3113" y="1208"/>
                </a:cubicBezTo>
                <a:cubicBezTo>
                  <a:pt x="3133" y="1203"/>
                  <a:pt x="3146" y="1187"/>
                  <a:pt x="3157" y="1176"/>
                </a:cubicBezTo>
                <a:cubicBezTo>
                  <a:pt x="3170" y="1163"/>
                  <a:pt x="3184" y="1136"/>
                  <a:pt x="3189" y="1126"/>
                </a:cubicBezTo>
                <a:cubicBezTo>
                  <a:pt x="3191" y="1120"/>
                  <a:pt x="3200" y="1114"/>
                  <a:pt x="3201" y="1102"/>
                </a:cubicBezTo>
                <a:cubicBezTo>
                  <a:pt x="3201" y="1099"/>
                  <a:pt x="3200" y="1096"/>
                  <a:pt x="3199" y="1093"/>
                </a:cubicBezTo>
                <a:cubicBezTo>
                  <a:pt x="3195" y="1086"/>
                  <a:pt x="3187" y="1079"/>
                  <a:pt x="3179" y="1073"/>
                </a:cubicBezTo>
                <a:cubicBezTo>
                  <a:pt x="3170" y="1067"/>
                  <a:pt x="3162" y="1062"/>
                  <a:pt x="3155" y="1061"/>
                </a:cubicBezTo>
                <a:cubicBezTo>
                  <a:pt x="3155" y="1061"/>
                  <a:pt x="3155" y="1061"/>
                  <a:pt x="3154" y="1060"/>
                </a:cubicBezTo>
                <a:cubicBezTo>
                  <a:pt x="3153" y="1058"/>
                  <a:pt x="3152" y="1055"/>
                  <a:pt x="3151" y="1051"/>
                </a:cubicBezTo>
                <a:cubicBezTo>
                  <a:pt x="3150" y="1050"/>
                  <a:pt x="3150" y="1048"/>
                  <a:pt x="3148" y="1046"/>
                </a:cubicBezTo>
                <a:cubicBezTo>
                  <a:pt x="3147" y="1044"/>
                  <a:pt x="3144" y="1042"/>
                  <a:pt x="3141" y="1042"/>
                </a:cubicBezTo>
                <a:cubicBezTo>
                  <a:pt x="3137" y="1041"/>
                  <a:pt x="3134" y="1043"/>
                  <a:pt x="3133" y="1045"/>
                </a:cubicBezTo>
                <a:cubicBezTo>
                  <a:pt x="3128" y="1051"/>
                  <a:pt x="3128" y="1055"/>
                  <a:pt x="3121" y="1059"/>
                </a:cubicBezTo>
                <a:cubicBezTo>
                  <a:pt x="3116" y="1063"/>
                  <a:pt x="3110" y="1067"/>
                  <a:pt x="3105" y="1071"/>
                </a:cubicBezTo>
                <a:cubicBezTo>
                  <a:pt x="3101" y="1074"/>
                  <a:pt x="3097" y="1076"/>
                  <a:pt x="3096" y="1076"/>
                </a:cubicBezTo>
                <a:cubicBezTo>
                  <a:pt x="3096" y="1076"/>
                  <a:pt x="3096" y="1075"/>
                  <a:pt x="3096" y="1075"/>
                </a:cubicBezTo>
                <a:cubicBezTo>
                  <a:pt x="3096" y="1070"/>
                  <a:pt x="3095" y="1063"/>
                  <a:pt x="3087" y="1056"/>
                </a:cubicBezTo>
                <a:cubicBezTo>
                  <a:pt x="3081" y="1049"/>
                  <a:pt x="3077" y="1046"/>
                  <a:pt x="3074" y="1043"/>
                </a:cubicBezTo>
                <a:cubicBezTo>
                  <a:pt x="3072" y="1040"/>
                  <a:pt x="3072" y="1039"/>
                  <a:pt x="3072" y="1035"/>
                </a:cubicBezTo>
                <a:cubicBezTo>
                  <a:pt x="3072" y="1030"/>
                  <a:pt x="3069" y="1027"/>
                  <a:pt x="3067" y="1023"/>
                </a:cubicBezTo>
                <a:cubicBezTo>
                  <a:pt x="3059" y="1013"/>
                  <a:pt x="3045" y="999"/>
                  <a:pt x="3044" y="993"/>
                </a:cubicBezTo>
                <a:cubicBezTo>
                  <a:pt x="3044" y="992"/>
                  <a:pt x="3044" y="992"/>
                  <a:pt x="3044" y="992"/>
                </a:cubicBezTo>
                <a:cubicBezTo>
                  <a:pt x="3044" y="988"/>
                  <a:pt x="3046" y="984"/>
                  <a:pt x="3049" y="980"/>
                </a:cubicBezTo>
                <a:cubicBezTo>
                  <a:pt x="3051" y="977"/>
                  <a:pt x="3055" y="975"/>
                  <a:pt x="3055" y="975"/>
                </a:cubicBezTo>
                <a:cubicBezTo>
                  <a:pt x="3056" y="975"/>
                  <a:pt x="3056" y="975"/>
                  <a:pt x="3056" y="976"/>
                </a:cubicBezTo>
                <a:cubicBezTo>
                  <a:pt x="3061" y="987"/>
                  <a:pt x="3066" y="1008"/>
                  <a:pt x="3084" y="1018"/>
                </a:cubicBezTo>
                <a:cubicBezTo>
                  <a:pt x="3091" y="1022"/>
                  <a:pt x="3097" y="1028"/>
                  <a:pt x="3104" y="1032"/>
                </a:cubicBezTo>
                <a:cubicBezTo>
                  <a:pt x="3110" y="1037"/>
                  <a:pt x="3115" y="1041"/>
                  <a:pt x="3120" y="1044"/>
                </a:cubicBezTo>
                <a:cubicBezTo>
                  <a:pt x="3121" y="1044"/>
                  <a:pt x="3123" y="1044"/>
                  <a:pt x="3124" y="1044"/>
                </a:cubicBezTo>
                <a:cubicBezTo>
                  <a:pt x="3131" y="1044"/>
                  <a:pt x="3136" y="1040"/>
                  <a:pt x="3141" y="1037"/>
                </a:cubicBezTo>
                <a:cubicBezTo>
                  <a:pt x="3143" y="1035"/>
                  <a:pt x="3146" y="1034"/>
                  <a:pt x="3148" y="1033"/>
                </a:cubicBezTo>
                <a:cubicBezTo>
                  <a:pt x="3149" y="1032"/>
                  <a:pt x="3149" y="1032"/>
                  <a:pt x="3150" y="1032"/>
                </a:cubicBezTo>
                <a:cubicBezTo>
                  <a:pt x="3152" y="1034"/>
                  <a:pt x="3156" y="1040"/>
                  <a:pt x="3160" y="1046"/>
                </a:cubicBezTo>
                <a:cubicBezTo>
                  <a:pt x="3165" y="1053"/>
                  <a:pt x="3170" y="1060"/>
                  <a:pt x="3178" y="1063"/>
                </a:cubicBezTo>
                <a:cubicBezTo>
                  <a:pt x="3184" y="1066"/>
                  <a:pt x="3195" y="1067"/>
                  <a:pt x="3206" y="1068"/>
                </a:cubicBezTo>
                <a:cubicBezTo>
                  <a:pt x="3217" y="1069"/>
                  <a:pt x="3227" y="1069"/>
                  <a:pt x="3230" y="1069"/>
                </a:cubicBezTo>
                <a:cubicBezTo>
                  <a:pt x="3232" y="1069"/>
                  <a:pt x="3234" y="1069"/>
                  <a:pt x="3238" y="1069"/>
                </a:cubicBezTo>
                <a:cubicBezTo>
                  <a:pt x="3242" y="1069"/>
                  <a:pt x="3249" y="1069"/>
                  <a:pt x="3255" y="1068"/>
                </a:cubicBezTo>
                <a:cubicBezTo>
                  <a:pt x="3260" y="1066"/>
                  <a:pt x="3266" y="1065"/>
                  <a:pt x="3270" y="1059"/>
                </a:cubicBezTo>
                <a:cubicBezTo>
                  <a:pt x="3272" y="1055"/>
                  <a:pt x="3273" y="1054"/>
                  <a:pt x="3274" y="1054"/>
                </a:cubicBezTo>
                <a:cubicBezTo>
                  <a:pt x="3274" y="1054"/>
                  <a:pt x="3275" y="1054"/>
                  <a:pt x="3278" y="1054"/>
                </a:cubicBezTo>
                <a:cubicBezTo>
                  <a:pt x="3279" y="1055"/>
                  <a:pt x="3283" y="1061"/>
                  <a:pt x="3286" y="1066"/>
                </a:cubicBezTo>
                <a:cubicBezTo>
                  <a:pt x="3291" y="1072"/>
                  <a:pt x="3294" y="1078"/>
                  <a:pt x="3301" y="1081"/>
                </a:cubicBezTo>
                <a:cubicBezTo>
                  <a:pt x="3306" y="1083"/>
                  <a:pt x="3311" y="1083"/>
                  <a:pt x="3314" y="1084"/>
                </a:cubicBezTo>
                <a:cubicBezTo>
                  <a:pt x="3317" y="1086"/>
                  <a:pt x="3318" y="1086"/>
                  <a:pt x="3319" y="1093"/>
                </a:cubicBezTo>
                <a:cubicBezTo>
                  <a:pt x="3319" y="1093"/>
                  <a:pt x="3319" y="1094"/>
                  <a:pt x="3319" y="1094"/>
                </a:cubicBezTo>
                <a:cubicBezTo>
                  <a:pt x="3319" y="1095"/>
                  <a:pt x="3319" y="1097"/>
                  <a:pt x="3319" y="1098"/>
                </a:cubicBezTo>
                <a:cubicBezTo>
                  <a:pt x="3319" y="1107"/>
                  <a:pt x="3321" y="1115"/>
                  <a:pt x="3324" y="1122"/>
                </a:cubicBezTo>
                <a:cubicBezTo>
                  <a:pt x="3327" y="1128"/>
                  <a:pt x="3332" y="1134"/>
                  <a:pt x="3339" y="1135"/>
                </a:cubicBezTo>
                <a:cubicBezTo>
                  <a:pt x="3339" y="1135"/>
                  <a:pt x="3340" y="1135"/>
                  <a:pt x="3340" y="1135"/>
                </a:cubicBezTo>
                <a:cubicBezTo>
                  <a:pt x="3349" y="1134"/>
                  <a:pt x="3354" y="1129"/>
                  <a:pt x="3360" y="1124"/>
                </a:cubicBezTo>
                <a:cubicBezTo>
                  <a:pt x="3360" y="1134"/>
                  <a:pt x="3360" y="1148"/>
                  <a:pt x="3359" y="1155"/>
                </a:cubicBezTo>
                <a:cubicBezTo>
                  <a:pt x="3359" y="1155"/>
                  <a:pt x="3359" y="1156"/>
                  <a:pt x="3359" y="1157"/>
                </a:cubicBezTo>
                <a:cubicBezTo>
                  <a:pt x="3359" y="1173"/>
                  <a:pt x="3372" y="1214"/>
                  <a:pt x="3372" y="1215"/>
                </a:cubicBezTo>
                <a:cubicBezTo>
                  <a:pt x="3372" y="1215"/>
                  <a:pt x="3372" y="1215"/>
                  <a:pt x="3372" y="1215"/>
                </a:cubicBezTo>
                <a:cubicBezTo>
                  <a:pt x="3372" y="1215"/>
                  <a:pt x="3389" y="1258"/>
                  <a:pt x="3394" y="1268"/>
                </a:cubicBezTo>
                <a:cubicBezTo>
                  <a:pt x="3397" y="1274"/>
                  <a:pt x="3403" y="1283"/>
                  <a:pt x="3408" y="1293"/>
                </a:cubicBezTo>
                <a:cubicBezTo>
                  <a:pt x="3413" y="1302"/>
                  <a:pt x="3418" y="1313"/>
                  <a:pt x="3418" y="1316"/>
                </a:cubicBezTo>
                <a:cubicBezTo>
                  <a:pt x="3418" y="1323"/>
                  <a:pt x="3418" y="1331"/>
                  <a:pt x="3420" y="1338"/>
                </a:cubicBezTo>
                <a:cubicBezTo>
                  <a:pt x="3421" y="1342"/>
                  <a:pt x="3422" y="1345"/>
                  <a:pt x="3423" y="1348"/>
                </a:cubicBezTo>
                <a:cubicBezTo>
                  <a:pt x="3425" y="1351"/>
                  <a:pt x="3428" y="1354"/>
                  <a:pt x="3433" y="1354"/>
                </a:cubicBezTo>
                <a:cubicBezTo>
                  <a:pt x="3438" y="1354"/>
                  <a:pt x="3441" y="1351"/>
                  <a:pt x="3443" y="1348"/>
                </a:cubicBezTo>
                <a:cubicBezTo>
                  <a:pt x="3449" y="1340"/>
                  <a:pt x="3454" y="1325"/>
                  <a:pt x="3460" y="1315"/>
                </a:cubicBezTo>
                <a:cubicBezTo>
                  <a:pt x="3461" y="1314"/>
                  <a:pt x="3461" y="1313"/>
                  <a:pt x="3462" y="1311"/>
                </a:cubicBezTo>
                <a:cubicBezTo>
                  <a:pt x="3461" y="1314"/>
                  <a:pt x="3460" y="1317"/>
                  <a:pt x="3459" y="1320"/>
                </a:cubicBezTo>
                <a:cubicBezTo>
                  <a:pt x="3458" y="1327"/>
                  <a:pt x="3457" y="1335"/>
                  <a:pt x="3457" y="1343"/>
                </a:cubicBezTo>
                <a:cubicBezTo>
                  <a:pt x="3457" y="1349"/>
                  <a:pt x="3457" y="1354"/>
                  <a:pt x="3459" y="1359"/>
                </a:cubicBezTo>
                <a:cubicBezTo>
                  <a:pt x="3460" y="1364"/>
                  <a:pt x="3463" y="1369"/>
                  <a:pt x="3469" y="1372"/>
                </a:cubicBezTo>
                <a:cubicBezTo>
                  <a:pt x="3471" y="1373"/>
                  <a:pt x="3472" y="1373"/>
                  <a:pt x="3474" y="1373"/>
                </a:cubicBezTo>
                <a:cubicBezTo>
                  <a:pt x="3483" y="1373"/>
                  <a:pt x="3488" y="1367"/>
                  <a:pt x="3491" y="1361"/>
                </a:cubicBezTo>
                <a:cubicBezTo>
                  <a:pt x="3494" y="1355"/>
                  <a:pt x="3495" y="1349"/>
                  <a:pt x="3495" y="1343"/>
                </a:cubicBezTo>
                <a:cubicBezTo>
                  <a:pt x="3495" y="1340"/>
                  <a:pt x="3495" y="1337"/>
                  <a:pt x="3493" y="1334"/>
                </a:cubicBezTo>
                <a:cubicBezTo>
                  <a:pt x="3492" y="1333"/>
                  <a:pt x="3490" y="1325"/>
                  <a:pt x="3488" y="1319"/>
                </a:cubicBezTo>
                <a:cubicBezTo>
                  <a:pt x="3487" y="1315"/>
                  <a:pt x="3486" y="1312"/>
                  <a:pt x="3484" y="1309"/>
                </a:cubicBezTo>
                <a:cubicBezTo>
                  <a:pt x="3482" y="1306"/>
                  <a:pt x="3479" y="1303"/>
                  <a:pt x="3474" y="1303"/>
                </a:cubicBezTo>
                <a:cubicBezTo>
                  <a:pt x="3472" y="1303"/>
                  <a:pt x="3468" y="1303"/>
                  <a:pt x="3468" y="1304"/>
                </a:cubicBezTo>
                <a:cubicBezTo>
                  <a:pt x="3468" y="1304"/>
                  <a:pt x="3468" y="1304"/>
                  <a:pt x="3468" y="1304"/>
                </a:cubicBezTo>
                <a:cubicBezTo>
                  <a:pt x="3464" y="1306"/>
                  <a:pt x="3464" y="1308"/>
                  <a:pt x="3463" y="1310"/>
                </a:cubicBezTo>
                <a:cubicBezTo>
                  <a:pt x="3469" y="1296"/>
                  <a:pt x="3471" y="1279"/>
                  <a:pt x="3474" y="1267"/>
                </a:cubicBezTo>
                <a:cubicBezTo>
                  <a:pt x="3478" y="1252"/>
                  <a:pt x="3478" y="1227"/>
                  <a:pt x="3478" y="1217"/>
                </a:cubicBezTo>
                <a:cubicBezTo>
                  <a:pt x="3478" y="1211"/>
                  <a:pt x="3482" y="1205"/>
                  <a:pt x="3498" y="1196"/>
                </a:cubicBezTo>
                <a:cubicBezTo>
                  <a:pt x="3517" y="1186"/>
                  <a:pt x="3528" y="1162"/>
                  <a:pt x="3540" y="1151"/>
                </a:cubicBezTo>
                <a:cubicBezTo>
                  <a:pt x="3549" y="1144"/>
                  <a:pt x="3552" y="1135"/>
                  <a:pt x="3556" y="1129"/>
                </a:cubicBezTo>
                <a:cubicBezTo>
                  <a:pt x="3561" y="1124"/>
                  <a:pt x="3564" y="1120"/>
                  <a:pt x="3577" y="1120"/>
                </a:cubicBezTo>
                <a:cubicBezTo>
                  <a:pt x="3591" y="1120"/>
                  <a:pt x="3597" y="1120"/>
                  <a:pt x="3602" y="1119"/>
                </a:cubicBezTo>
                <a:cubicBezTo>
                  <a:pt x="3608" y="1117"/>
                  <a:pt x="3611" y="1113"/>
                  <a:pt x="3614" y="1109"/>
                </a:cubicBezTo>
                <a:cubicBezTo>
                  <a:pt x="3615" y="1107"/>
                  <a:pt x="3617" y="1105"/>
                  <a:pt x="3618" y="1104"/>
                </a:cubicBezTo>
                <a:cubicBezTo>
                  <a:pt x="3619" y="1104"/>
                  <a:pt x="3619" y="1104"/>
                  <a:pt x="3619" y="1104"/>
                </a:cubicBezTo>
                <a:cubicBezTo>
                  <a:pt x="3619" y="1105"/>
                  <a:pt x="3620" y="1106"/>
                  <a:pt x="3620" y="1108"/>
                </a:cubicBezTo>
                <a:cubicBezTo>
                  <a:pt x="3623" y="1118"/>
                  <a:pt x="3629" y="1127"/>
                  <a:pt x="3635" y="1135"/>
                </a:cubicBezTo>
                <a:cubicBezTo>
                  <a:pt x="3640" y="1144"/>
                  <a:pt x="3646" y="1151"/>
                  <a:pt x="3648" y="1153"/>
                </a:cubicBezTo>
                <a:cubicBezTo>
                  <a:pt x="3650" y="1157"/>
                  <a:pt x="3656" y="1170"/>
                  <a:pt x="3656" y="1183"/>
                </a:cubicBezTo>
                <a:cubicBezTo>
                  <a:pt x="3656" y="1184"/>
                  <a:pt x="3656" y="1185"/>
                  <a:pt x="3656" y="1186"/>
                </a:cubicBezTo>
                <a:cubicBezTo>
                  <a:pt x="3656" y="1189"/>
                  <a:pt x="3656" y="1192"/>
                  <a:pt x="3656" y="1195"/>
                </a:cubicBezTo>
                <a:cubicBezTo>
                  <a:pt x="3656" y="1203"/>
                  <a:pt x="3656" y="1210"/>
                  <a:pt x="3658" y="1216"/>
                </a:cubicBezTo>
                <a:cubicBezTo>
                  <a:pt x="3658" y="1219"/>
                  <a:pt x="3659" y="1221"/>
                  <a:pt x="3660" y="1224"/>
                </a:cubicBezTo>
                <a:cubicBezTo>
                  <a:pt x="3662" y="1226"/>
                  <a:pt x="3665" y="1229"/>
                  <a:pt x="3669" y="1229"/>
                </a:cubicBezTo>
                <a:cubicBezTo>
                  <a:pt x="3674" y="1228"/>
                  <a:pt x="3676" y="1225"/>
                  <a:pt x="3679" y="1223"/>
                </a:cubicBezTo>
                <a:cubicBezTo>
                  <a:pt x="3684" y="1217"/>
                  <a:pt x="3689" y="1207"/>
                  <a:pt x="3691" y="1203"/>
                </a:cubicBezTo>
                <a:cubicBezTo>
                  <a:pt x="3692" y="1202"/>
                  <a:pt x="3694" y="1201"/>
                  <a:pt x="3696" y="1200"/>
                </a:cubicBezTo>
                <a:cubicBezTo>
                  <a:pt x="3699" y="1198"/>
                  <a:pt x="3703" y="1196"/>
                  <a:pt x="3704" y="1197"/>
                </a:cubicBezTo>
                <a:cubicBezTo>
                  <a:pt x="3704" y="1197"/>
                  <a:pt x="3704" y="1198"/>
                  <a:pt x="3704" y="1199"/>
                </a:cubicBezTo>
                <a:cubicBezTo>
                  <a:pt x="3704" y="1200"/>
                  <a:pt x="3704" y="1200"/>
                  <a:pt x="3704" y="1200"/>
                </a:cubicBezTo>
                <a:cubicBezTo>
                  <a:pt x="3704" y="1204"/>
                  <a:pt x="3704" y="1207"/>
                  <a:pt x="3704" y="1210"/>
                </a:cubicBezTo>
                <a:cubicBezTo>
                  <a:pt x="3704" y="1230"/>
                  <a:pt x="3706" y="1249"/>
                  <a:pt x="3706" y="1260"/>
                </a:cubicBezTo>
                <a:cubicBezTo>
                  <a:pt x="3707" y="1268"/>
                  <a:pt x="3711" y="1278"/>
                  <a:pt x="3716" y="1287"/>
                </a:cubicBezTo>
                <a:cubicBezTo>
                  <a:pt x="3717" y="1290"/>
                  <a:pt x="3719" y="1293"/>
                  <a:pt x="3720" y="1295"/>
                </a:cubicBezTo>
                <a:cubicBezTo>
                  <a:pt x="3720" y="1295"/>
                  <a:pt x="3720" y="1295"/>
                  <a:pt x="3720" y="1295"/>
                </a:cubicBezTo>
                <a:cubicBezTo>
                  <a:pt x="3714" y="1296"/>
                  <a:pt x="3711" y="1300"/>
                  <a:pt x="3709" y="1304"/>
                </a:cubicBezTo>
                <a:cubicBezTo>
                  <a:pt x="3707" y="1308"/>
                  <a:pt x="3707" y="1313"/>
                  <a:pt x="3707" y="1317"/>
                </a:cubicBezTo>
                <a:cubicBezTo>
                  <a:pt x="3707" y="1323"/>
                  <a:pt x="3708" y="1329"/>
                  <a:pt x="3711" y="1334"/>
                </a:cubicBezTo>
                <a:cubicBezTo>
                  <a:pt x="3715" y="1339"/>
                  <a:pt x="3719" y="1340"/>
                  <a:pt x="3722" y="1342"/>
                </a:cubicBezTo>
                <a:cubicBezTo>
                  <a:pt x="3724" y="1344"/>
                  <a:pt x="3727" y="1347"/>
                  <a:pt x="3730" y="1359"/>
                </a:cubicBezTo>
                <a:cubicBezTo>
                  <a:pt x="3736" y="1385"/>
                  <a:pt x="3747" y="1410"/>
                  <a:pt x="3752" y="1420"/>
                </a:cubicBezTo>
                <a:cubicBezTo>
                  <a:pt x="3755" y="1426"/>
                  <a:pt x="3762" y="1432"/>
                  <a:pt x="3768" y="1438"/>
                </a:cubicBezTo>
                <a:cubicBezTo>
                  <a:pt x="3775" y="1443"/>
                  <a:pt x="3781" y="1449"/>
                  <a:pt x="3784" y="1452"/>
                </a:cubicBezTo>
                <a:cubicBezTo>
                  <a:pt x="3787" y="1454"/>
                  <a:pt x="3790" y="1456"/>
                  <a:pt x="3794" y="1456"/>
                </a:cubicBezTo>
                <a:cubicBezTo>
                  <a:pt x="3802" y="1456"/>
                  <a:pt x="3808" y="1449"/>
                  <a:pt x="3808" y="1441"/>
                </a:cubicBezTo>
                <a:cubicBezTo>
                  <a:pt x="3808" y="1438"/>
                  <a:pt x="3808" y="1436"/>
                  <a:pt x="3806" y="1433"/>
                </a:cubicBezTo>
                <a:cubicBezTo>
                  <a:pt x="3801" y="1425"/>
                  <a:pt x="3793" y="1412"/>
                  <a:pt x="3792" y="1405"/>
                </a:cubicBezTo>
                <a:cubicBezTo>
                  <a:pt x="3791" y="1394"/>
                  <a:pt x="3785" y="1379"/>
                  <a:pt x="3775" y="1362"/>
                </a:cubicBezTo>
                <a:cubicBezTo>
                  <a:pt x="3765" y="1344"/>
                  <a:pt x="3757" y="1339"/>
                  <a:pt x="3752" y="1330"/>
                </a:cubicBezTo>
                <a:cubicBezTo>
                  <a:pt x="3748" y="1323"/>
                  <a:pt x="3740" y="1313"/>
                  <a:pt x="3733" y="1306"/>
                </a:cubicBezTo>
                <a:cubicBezTo>
                  <a:pt x="3735" y="1306"/>
                  <a:pt x="3738" y="1304"/>
                  <a:pt x="3738" y="1302"/>
                </a:cubicBezTo>
                <a:cubicBezTo>
                  <a:pt x="3739" y="1301"/>
                  <a:pt x="3739" y="1300"/>
                  <a:pt x="3739" y="1299"/>
                </a:cubicBezTo>
                <a:cubicBezTo>
                  <a:pt x="3739" y="1296"/>
                  <a:pt x="3741" y="1288"/>
                  <a:pt x="3744" y="1280"/>
                </a:cubicBezTo>
                <a:cubicBezTo>
                  <a:pt x="3746" y="1272"/>
                  <a:pt x="3748" y="1263"/>
                  <a:pt x="3749" y="1256"/>
                </a:cubicBezTo>
                <a:cubicBezTo>
                  <a:pt x="3751" y="1258"/>
                  <a:pt x="3755" y="1261"/>
                  <a:pt x="3759" y="1265"/>
                </a:cubicBezTo>
                <a:cubicBezTo>
                  <a:pt x="3766" y="1270"/>
                  <a:pt x="3772" y="1279"/>
                  <a:pt x="3776" y="1286"/>
                </a:cubicBezTo>
                <a:cubicBezTo>
                  <a:pt x="3780" y="1294"/>
                  <a:pt x="3783" y="1299"/>
                  <a:pt x="3783" y="1299"/>
                </a:cubicBezTo>
                <a:cubicBezTo>
                  <a:pt x="3784" y="1301"/>
                  <a:pt x="3784" y="1301"/>
                  <a:pt x="3784" y="1301"/>
                </a:cubicBezTo>
                <a:cubicBezTo>
                  <a:pt x="3784" y="1301"/>
                  <a:pt x="3788" y="1305"/>
                  <a:pt x="3792" y="1310"/>
                </a:cubicBezTo>
                <a:cubicBezTo>
                  <a:pt x="3795" y="1315"/>
                  <a:pt x="3800" y="1321"/>
                  <a:pt x="3800" y="1322"/>
                </a:cubicBezTo>
                <a:cubicBezTo>
                  <a:pt x="3801" y="1327"/>
                  <a:pt x="3806" y="1329"/>
                  <a:pt x="3809" y="1329"/>
                </a:cubicBezTo>
                <a:cubicBezTo>
                  <a:pt x="3815" y="1329"/>
                  <a:pt x="3819" y="1326"/>
                  <a:pt x="3823" y="1323"/>
                </a:cubicBezTo>
                <a:cubicBezTo>
                  <a:pt x="3827" y="1320"/>
                  <a:pt x="3831" y="1317"/>
                  <a:pt x="3833" y="1312"/>
                </a:cubicBezTo>
                <a:cubicBezTo>
                  <a:pt x="3837" y="1304"/>
                  <a:pt x="3837" y="1303"/>
                  <a:pt x="3844" y="1300"/>
                </a:cubicBezTo>
                <a:cubicBezTo>
                  <a:pt x="3848" y="1299"/>
                  <a:pt x="3854" y="1298"/>
                  <a:pt x="3860" y="1296"/>
                </a:cubicBezTo>
                <a:cubicBezTo>
                  <a:pt x="3865" y="1293"/>
                  <a:pt x="3871" y="1287"/>
                  <a:pt x="3873" y="1278"/>
                </a:cubicBezTo>
                <a:cubicBezTo>
                  <a:pt x="3874" y="1269"/>
                  <a:pt x="3880" y="1258"/>
                  <a:pt x="3880" y="1245"/>
                </a:cubicBezTo>
                <a:cubicBezTo>
                  <a:pt x="3880" y="1237"/>
                  <a:pt x="3878" y="1228"/>
                  <a:pt x="3872" y="1219"/>
                </a:cubicBezTo>
                <a:cubicBezTo>
                  <a:pt x="3858" y="1199"/>
                  <a:pt x="3851" y="1185"/>
                  <a:pt x="3840" y="1174"/>
                </a:cubicBezTo>
                <a:cubicBezTo>
                  <a:pt x="3836" y="1171"/>
                  <a:pt x="3831" y="1162"/>
                  <a:pt x="3828" y="1155"/>
                </a:cubicBezTo>
                <a:cubicBezTo>
                  <a:pt x="3826" y="1151"/>
                  <a:pt x="3825" y="1148"/>
                  <a:pt x="3824" y="1146"/>
                </a:cubicBezTo>
                <a:cubicBezTo>
                  <a:pt x="3830" y="1139"/>
                  <a:pt x="3845" y="1123"/>
                  <a:pt x="3851" y="1116"/>
                </a:cubicBezTo>
                <a:cubicBezTo>
                  <a:pt x="3852" y="1115"/>
                  <a:pt x="3853" y="1114"/>
                  <a:pt x="3854" y="1114"/>
                </a:cubicBezTo>
                <a:cubicBezTo>
                  <a:pt x="3855" y="1114"/>
                  <a:pt x="3858" y="1116"/>
                  <a:pt x="3858" y="1120"/>
                </a:cubicBezTo>
                <a:cubicBezTo>
                  <a:pt x="3858" y="1120"/>
                  <a:pt x="3858" y="1120"/>
                  <a:pt x="3858" y="1121"/>
                </a:cubicBezTo>
                <a:cubicBezTo>
                  <a:pt x="3859" y="1123"/>
                  <a:pt x="3857" y="1127"/>
                  <a:pt x="3854" y="1133"/>
                </a:cubicBezTo>
                <a:cubicBezTo>
                  <a:pt x="3851" y="1138"/>
                  <a:pt x="3847" y="1146"/>
                  <a:pt x="3846" y="1157"/>
                </a:cubicBezTo>
                <a:cubicBezTo>
                  <a:pt x="3846" y="1159"/>
                  <a:pt x="3846" y="1160"/>
                  <a:pt x="3846" y="1162"/>
                </a:cubicBezTo>
                <a:cubicBezTo>
                  <a:pt x="3846" y="1177"/>
                  <a:pt x="3855" y="1187"/>
                  <a:pt x="3865" y="1187"/>
                </a:cubicBezTo>
                <a:cubicBezTo>
                  <a:pt x="3869" y="1187"/>
                  <a:pt x="3873" y="1186"/>
                  <a:pt x="3875" y="1182"/>
                </a:cubicBezTo>
                <a:cubicBezTo>
                  <a:pt x="3877" y="1179"/>
                  <a:pt x="3882" y="1173"/>
                  <a:pt x="3885" y="1167"/>
                </a:cubicBezTo>
                <a:cubicBezTo>
                  <a:pt x="3887" y="1164"/>
                  <a:pt x="3889" y="1161"/>
                  <a:pt x="3890" y="1159"/>
                </a:cubicBezTo>
                <a:cubicBezTo>
                  <a:pt x="3891" y="1156"/>
                  <a:pt x="3892" y="1155"/>
                  <a:pt x="3892" y="1151"/>
                </a:cubicBezTo>
                <a:cubicBezTo>
                  <a:pt x="3892" y="1148"/>
                  <a:pt x="3891" y="1145"/>
                  <a:pt x="3889" y="1144"/>
                </a:cubicBezTo>
                <a:cubicBezTo>
                  <a:pt x="3886" y="1141"/>
                  <a:pt x="3884" y="1143"/>
                  <a:pt x="3884" y="1133"/>
                </a:cubicBezTo>
                <a:cubicBezTo>
                  <a:pt x="3884" y="1132"/>
                  <a:pt x="3884" y="1132"/>
                  <a:pt x="3884" y="1132"/>
                </a:cubicBezTo>
                <a:cubicBezTo>
                  <a:pt x="3884" y="1127"/>
                  <a:pt x="3885" y="1123"/>
                  <a:pt x="3888" y="1120"/>
                </a:cubicBezTo>
                <a:cubicBezTo>
                  <a:pt x="3891" y="1118"/>
                  <a:pt x="3894" y="1116"/>
                  <a:pt x="3895" y="1116"/>
                </a:cubicBezTo>
                <a:cubicBezTo>
                  <a:pt x="3898" y="1118"/>
                  <a:pt x="3900" y="1118"/>
                  <a:pt x="3903" y="1118"/>
                </a:cubicBezTo>
                <a:cubicBezTo>
                  <a:pt x="3917" y="1118"/>
                  <a:pt x="3945" y="1110"/>
                  <a:pt x="3961" y="1100"/>
                </a:cubicBezTo>
                <a:cubicBezTo>
                  <a:pt x="3980" y="1087"/>
                  <a:pt x="3991" y="1063"/>
                  <a:pt x="4000" y="1055"/>
                </a:cubicBezTo>
                <a:cubicBezTo>
                  <a:pt x="4005" y="1050"/>
                  <a:pt x="4016" y="1040"/>
                  <a:pt x="4026" y="1029"/>
                </a:cubicBezTo>
                <a:cubicBezTo>
                  <a:pt x="4036" y="1018"/>
                  <a:pt x="4045" y="1007"/>
                  <a:pt x="4046" y="995"/>
                </a:cubicBezTo>
                <a:cubicBezTo>
                  <a:pt x="4046" y="995"/>
                  <a:pt x="4045" y="994"/>
                  <a:pt x="4045" y="993"/>
                </a:cubicBezTo>
                <a:cubicBezTo>
                  <a:pt x="4043" y="979"/>
                  <a:pt x="4047" y="958"/>
                  <a:pt x="4037" y="936"/>
                </a:cubicBezTo>
                <a:cubicBezTo>
                  <a:pt x="4028" y="918"/>
                  <a:pt x="4017" y="905"/>
                  <a:pt x="4012" y="898"/>
                </a:cubicBezTo>
                <a:cubicBezTo>
                  <a:pt x="4014" y="896"/>
                  <a:pt x="4018" y="895"/>
                  <a:pt x="4022" y="893"/>
                </a:cubicBezTo>
                <a:cubicBezTo>
                  <a:pt x="4028" y="890"/>
                  <a:pt x="4036" y="887"/>
                  <a:pt x="4041" y="881"/>
                </a:cubicBezTo>
                <a:cubicBezTo>
                  <a:pt x="4046" y="876"/>
                  <a:pt x="4048" y="871"/>
                  <a:pt x="4048" y="866"/>
                </a:cubicBezTo>
                <a:cubicBezTo>
                  <a:pt x="4048" y="856"/>
                  <a:pt x="4041" y="849"/>
                  <a:pt x="4032" y="848"/>
                </a:cubicBezTo>
                <a:cubicBezTo>
                  <a:pt x="4032" y="848"/>
                  <a:pt x="4031" y="849"/>
                  <a:pt x="4030" y="849"/>
                </a:cubicBezTo>
                <a:cubicBezTo>
                  <a:pt x="4025" y="850"/>
                  <a:pt x="4013" y="853"/>
                  <a:pt x="4008" y="853"/>
                </a:cubicBezTo>
                <a:cubicBezTo>
                  <a:pt x="4007" y="853"/>
                  <a:pt x="4006" y="853"/>
                  <a:pt x="4006" y="853"/>
                </a:cubicBezTo>
                <a:cubicBezTo>
                  <a:pt x="4005" y="853"/>
                  <a:pt x="4000" y="847"/>
                  <a:pt x="3990" y="838"/>
                </a:cubicBezTo>
                <a:cubicBezTo>
                  <a:pt x="3989" y="836"/>
                  <a:pt x="3989" y="836"/>
                  <a:pt x="3989" y="835"/>
                </a:cubicBezTo>
                <a:cubicBezTo>
                  <a:pt x="3989" y="834"/>
                  <a:pt x="3990" y="832"/>
                  <a:pt x="3991" y="831"/>
                </a:cubicBezTo>
                <a:cubicBezTo>
                  <a:pt x="3992" y="830"/>
                  <a:pt x="3992" y="829"/>
                  <a:pt x="3993" y="829"/>
                </a:cubicBezTo>
                <a:cubicBezTo>
                  <a:pt x="3993" y="829"/>
                  <a:pt x="3993" y="829"/>
                  <a:pt x="3993" y="829"/>
                </a:cubicBezTo>
                <a:cubicBezTo>
                  <a:pt x="3994" y="829"/>
                  <a:pt x="3995" y="829"/>
                  <a:pt x="3995" y="829"/>
                </a:cubicBezTo>
                <a:cubicBezTo>
                  <a:pt x="4002" y="829"/>
                  <a:pt x="4007" y="824"/>
                  <a:pt x="4012" y="820"/>
                </a:cubicBezTo>
                <a:cubicBezTo>
                  <a:pt x="4017" y="815"/>
                  <a:pt x="4022" y="811"/>
                  <a:pt x="4026" y="807"/>
                </a:cubicBezTo>
                <a:cubicBezTo>
                  <a:pt x="4024" y="812"/>
                  <a:pt x="4023" y="817"/>
                  <a:pt x="4023" y="822"/>
                </a:cubicBezTo>
                <a:cubicBezTo>
                  <a:pt x="4023" y="825"/>
                  <a:pt x="4024" y="827"/>
                  <a:pt x="4025" y="830"/>
                </a:cubicBezTo>
                <a:cubicBezTo>
                  <a:pt x="4026" y="833"/>
                  <a:pt x="4029" y="835"/>
                  <a:pt x="4033" y="836"/>
                </a:cubicBezTo>
                <a:cubicBezTo>
                  <a:pt x="4033" y="836"/>
                  <a:pt x="4034" y="836"/>
                  <a:pt x="4034" y="836"/>
                </a:cubicBezTo>
                <a:cubicBezTo>
                  <a:pt x="4043" y="836"/>
                  <a:pt x="4050" y="830"/>
                  <a:pt x="4057" y="825"/>
                </a:cubicBezTo>
                <a:cubicBezTo>
                  <a:pt x="4060" y="823"/>
                  <a:pt x="4063" y="820"/>
                  <a:pt x="4066" y="818"/>
                </a:cubicBezTo>
                <a:cubicBezTo>
                  <a:pt x="4066" y="818"/>
                  <a:pt x="4066" y="818"/>
                  <a:pt x="4066" y="818"/>
                </a:cubicBezTo>
                <a:cubicBezTo>
                  <a:pt x="4067" y="822"/>
                  <a:pt x="4069" y="827"/>
                  <a:pt x="4069" y="832"/>
                </a:cubicBezTo>
                <a:cubicBezTo>
                  <a:pt x="4069" y="834"/>
                  <a:pt x="4069" y="835"/>
                  <a:pt x="4068" y="836"/>
                </a:cubicBezTo>
                <a:cubicBezTo>
                  <a:pt x="4066" y="841"/>
                  <a:pt x="4065" y="846"/>
                  <a:pt x="4065" y="851"/>
                </a:cubicBezTo>
                <a:cubicBezTo>
                  <a:pt x="4065" y="854"/>
                  <a:pt x="4066" y="856"/>
                  <a:pt x="4066" y="859"/>
                </a:cubicBezTo>
                <a:cubicBezTo>
                  <a:pt x="4067" y="861"/>
                  <a:pt x="4069" y="865"/>
                  <a:pt x="4074" y="865"/>
                </a:cubicBezTo>
                <a:cubicBezTo>
                  <a:pt x="4075" y="865"/>
                  <a:pt x="4076" y="865"/>
                  <a:pt x="4077" y="865"/>
                </a:cubicBezTo>
                <a:cubicBezTo>
                  <a:pt x="4081" y="863"/>
                  <a:pt x="4084" y="860"/>
                  <a:pt x="4087" y="858"/>
                </a:cubicBezTo>
                <a:cubicBezTo>
                  <a:pt x="4087" y="857"/>
                  <a:pt x="4088" y="856"/>
                  <a:pt x="4089" y="856"/>
                </a:cubicBezTo>
                <a:cubicBezTo>
                  <a:pt x="4092" y="860"/>
                  <a:pt x="4095" y="863"/>
                  <a:pt x="4095" y="869"/>
                </a:cubicBezTo>
                <a:cubicBezTo>
                  <a:pt x="4095" y="870"/>
                  <a:pt x="4094" y="872"/>
                  <a:pt x="4094" y="875"/>
                </a:cubicBezTo>
                <a:cubicBezTo>
                  <a:pt x="4091" y="883"/>
                  <a:pt x="4084" y="888"/>
                  <a:pt x="4083" y="898"/>
                </a:cubicBezTo>
                <a:cubicBezTo>
                  <a:pt x="4083" y="904"/>
                  <a:pt x="4087" y="908"/>
                  <a:pt x="4092" y="912"/>
                </a:cubicBezTo>
                <a:cubicBezTo>
                  <a:pt x="4097" y="916"/>
                  <a:pt x="4102" y="917"/>
                  <a:pt x="4107" y="917"/>
                </a:cubicBezTo>
                <a:cubicBezTo>
                  <a:pt x="4117" y="917"/>
                  <a:pt x="4122" y="910"/>
                  <a:pt x="4128" y="907"/>
                </a:cubicBezTo>
                <a:cubicBezTo>
                  <a:pt x="4139" y="898"/>
                  <a:pt x="4144" y="880"/>
                  <a:pt x="4144" y="865"/>
                </a:cubicBezTo>
                <a:cubicBezTo>
                  <a:pt x="4144" y="860"/>
                  <a:pt x="4144" y="856"/>
                  <a:pt x="4141" y="852"/>
                </a:cubicBezTo>
                <a:cubicBezTo>
                  <a:pt x="4138" y="846"/>
                  <a:pt x="4133" y="839"/>
                  <a:pt x="4129" y="833"/>
                </a:cubicBezTo>
                <a:cubicBezTo>
                  <a:pt x="4126" y="828"/>
                  <a:pt x="4124" y="822"/>
                  <a:pt x="4123" y="820"/>
                </a:cubicBezTo>
                <a:cubicBezTo>
                  <a:pt x="4125" y="819"/>
                  <a:pt x="4130" y="817"/>
                  <a:pt x="4135" y="815"/>
                </a:cubicBezTo>
                <a:cubicBezTo>
                  <a:pt x="4139" y="813"/>
                  <a:pt x="4145" y="809"/>
                  <a:pt x="4145" y="801"/>
                </a:cubicBezTo>
                <a:cubicBezTo>
                  <a:pt x="4145" y="793"/>
                  <a:pt x="4152" y="786"/>
                  <a:pt x="4158" y="783"/>
                </a:cubicBezTo>
                <a:cubicBezTo>
                  <a:pt x="4164" y="780"/>
                  <a:pt x="4167" y="775"/>
                  <a:pt x="4171" y="771"/>
                </a:cubicBezTo>
                <a:cubicBezTo>
                  <a:pt x="4173" y="770"/>
                  <a:pt x="4174" y="768"/>
                  <a:pt x="4175" y="767"/>
                </a:cubicBezTo>
                <a:cubicBezTo>
                  <a:pt x="4177" y="769"/>
                  <a:pt x="4180" y="771"/>
                  <a:pt x="4183" y="772"/>
                </a:cubicBezTo>
                <a:cubicBezTo>
                  <a:pt x="4188" y="774"/>
                  <a:pt x="4193" y="775"/>
                  <a:pt x="4198" y="775"/>
                </a:cubicBezTo>
                <a:cubicBezTo>
                  <a:pt x="4203" y="775"/>
                  <a:pt x="4209" y="774"/>
                  <a:pt x="4212" y="769"/>
                </a:cubicBezTo>
                <a:cubicBezTo>
                  <a:pt x="4217" y="761"/>
                  <a:pt x="4247" y="731"/>
                  <a:pt x="4265" y="714"/>
                </a:cubicBezTo>
                <a:cubicBezTo>
                  <a:pt x="4285" y="697"/>
                  <a:pt x="4293" y="676"/>
                  <a:pt x="4297" y="656"/>
                </a:cubicBezTo>
                <a:cubicBezTo>
                  <a:pt x="4299" y="651"/>
                  <a:pt x="4300" y="646"/>
                  <a:pt x="4302" y="641"/>
                </a:cubicBezTo>
                <a:cubicBezTo>
                  <a:pt x="4302" y="643"/>
                  <a:pt x="4302" y="645"/>
                  <a:pt x="4302" y="646"/>
                </a:cubicBezTo>
                <a:cubicBezTo>
                  <a:pt x="4302" y="649"/>
                  <a:pt x="4302" y="653"/>
                  <a:pt x="4301" y="656"/>
                </a:cubicBezTo>
                <a:cubicBezTo>
                  <a:pt x="4301" y="660"/>
                  <a:pt x="4301" y="665"/>
                  <a:pt x="4301" y="671"/>
                </a:cubicBezTo>
                <a:cubicBezTo>
                  <a:pt x="4301" y="679"/>
                  <a:pt x="4301" y="687"/>
                  <a:pt x="4302" y="694"/>
                </a:cubicBezTo>
                <a:cubicBezTo>
                  <a:pt x="4302" y="698"/>
                  <a:pt x="4302" y="701"/>
                  <a:pt x="4303" y="703"/>
                </a:cubicBezTo>
                <a:cubicBezTo>
                  <a:pt x="4303" y="706"/>
                  <a:pt x="4303" y="708"/>
                  <a:pt x="4305" y="710"/>
                </a:cubicBezTo>
                <a:cubicBezTo>
                  <a:pt x="4306" y="713"/>
                  <a:pt x="4309" y="716"/>
                  <a:pt x="4312" y="719"/>
                </a:cubicBezTo>
                <a:cubicBezTo>
                  <a:pt x="4315" y="722"/>
                  <a:pt x="4319" y="725"/>
                  <a:pt x="4325" y="725"/>
                </a:cubicBezTo>
                <a:cubicBezTo>
                  <a:pt x="4326" y="725"/>
                  <a:pt x="4328" y="724"/>
                  <a:pt x="4330" y="724"/>
                </a:cubicBezTo>
                <a:cubicBezTo>
                  <a:pt x="4336" y="720"/>
                  <a:pt x="4335" y="715"/>
                  <a:pt x="4335" y="712"/>
                </a:cubicBezTo>
                <a:cubicBezTo>
                  <a:pt x="4335" y="706"/>
                  <a:pt x="4334" y="700"/>
                  <a:pt x="4333" y="694"/>
                </a:cubicBezTo>
                <a:cubicBezTo>
                  <a:pt x="4332" y="688"/>
                  <a:pt x="4331" y="683"/>
                  <a:pt x="4331" y="682"/>
                </a:cubicBezTo>
                <a:cubicBezTo>
                  <a:pt x="4331" y="682"/>
                  <a:pt x="4331" y="682"/>
                  <a:pt x="4331" y="681"/>
                </a:cubicBezTo>
                <a:cubicBezTo>
                  <a:pt x="4333" y="677"/>
                  <a:pt x="4338" y="673"/>
                  <a:pt x="4339" y="673"/>
                </a:cubicBezTo>
                <a:cubicBezTo>
                  <a:pt x="4343" y="672"/>
                  <a:pt x="4344" y="669"/>
                  <a:pt x="4345" y="667"/>
                </a:cubicBezTo>
                <a:cubicBezTo>
                  <a:pt x="4345" y="665"/>
                  <a:pt x="4345" y="663"/>
                  <a:pt x="4345" y="661"/>
                </a:cubicBezTo>
                <a:cubicBezTo>
                  <a:pt x="4345" y="652"/>
                  <a:pt x="4342" y="638"/>
                  <a:pt x="4337" y="630"/>
                </a:cubicBezTo>
                <a:cubicBezTo>
                  <a:pt x="4334" y="625"/>
                  <a:pt x="4331" y="622"/>
                  <a:pt x="4329" y="619"/>
                </a:cubicBezTo>
                <a:cubicBezTo>
                  <a:pt x="4329" y="619"/>
                  <a:pt x="4329" y="619"/>
                  <a:pt x="4329" y="619"/>
                </a:cubicBezTo>
                <a:cubicBezTo>
                  <a:pt x="4331" y="618"/>
                  <a:pt x="4332" y="616"/>
                  <a:pt x="4333" y="614"/>
                </a:cubicBezTo>
                <a:cubicBezTo>
                  <a:pt x="4335" y="611"/>
                  <a:pt x="4336" y="608"/>
                  <a:pt x="4336" y="604"/>
                </a:cubicBezTo>
                <a:cubicBezTo>
                  <a:pt x="4336" y="602"/>
                  <a:pt x="4336" y="599"/>
                  <a:pt x="4333" y="597"/>
                </a:cubicBezTo>
                <a:cubicBezTo>
                  <a:pt x="4333" y="596"/>
                  <a:pt x="4333" y="594"/>
                  <a:pt x="4332" y="592"/>
                </a:cubicBezTo>
                <a:cubicBezTo>
                  <a:pt x="4332" y="590"/>
                  <a:pt x="4328" y="585"/>
                  <a:pt x="4323" y="585"/>
                </a:cubicBezTo>
                <a:cubicBezTo>
                  <a:pt x="4321" y="585"/>
                  <a:pt x="4320" y="585"/>
                  <a:pt x="4318" y="586"/>
                </a:cubicBezTo>
                <a:cubicBezTo>
                  <a:pt x="4318" y="586"/>
                  <a:pt x="4312" y="586"/>
                  <a:pt x="4306" y="587"/>
                </a:cubicBezTo>
                <a:cubicBezTo>
                  <a:pt x="4304" y="587"/>
                  <a:pt x="4302" y="588"/>
                  <a:pt x="4300" y="589"/>
                </a:cubicBezTo>
                <a:cubicBezTo>
                  <a:pt x="4296" y="582"/>
                  <a:pt x="4290" y="577"/>
                  <a:pt x="4282" y="577"/>
                </a:cubicBezTo>
                <a:cubicBezTo>
                  <a:pt x="4281" y="577"/>
                  <a:pt x="4280" y="577"/>
                  <a:pt x="4279" y="577"/>
                </a:cubicBezTo>
                <a:cubicBezTo>
                  <a:pt x="4266" y="579"/>
                  <a:pt x="4261" y="585"/>
                  <a:pt x="4254" y="585"/>
                </a:cubicBezTo>
                <a:cubicBezTo>
                  <a:pt x="4254" y="585"/>
                  <a:pt x="4254" y="584"/>
                  <a:pt x="4254" y="583"/>
                </a:cubicBezTo>
                <a:cubicBezTo>
                  <a:pt x="4254" y="581"/>
                  <a:pt x="4254" y="578"/>
                  <a:pt x="4254" y="576"/>
                </a:cubicBezTo>
                <a:cubicBezTo>
                  <a:pt x="4254" y="574"/>
                  <a:pt x="4254" y="573"/>
                  <a:pt x="4253" y="571"/>
                </a:cubicBezTo>
                <a:cubicBezTo>
                  <a:pt x="4253" y="569"/>
                  <a:pt x="4250" y="566"/>
                  <a:pt x="4246" y="566"/>
                </a:cubicBezTo>
                <a:cubicBezTo>
                  <a:pt x="4242" y="566"/>
                  <a:pt x="4241" y="568"/>
                  <a:pt x="4239" y="569"/>
                </a:cubicBezTo>
                <a:cubicBezTo>
                  <a:pt x="4237" y="571"/>
                  <a:pt x="4235" y="573"/>
                  <a:pt x="4233" y="575"/>
                </a:cubicBezTo>
                <a:cubicBezTo>
                  <a:pt x="4232" y="576"/>
                  <a:pt x="4232" y="576"/>
                  <a:pt x="4231" y="576"/>
                </a:cubicBezTo>
                <a:cubicBezTo>
                  <a:pt x="4231" y="576"/>
                  <a:pt x="4232" y="575"/>
                  <a:pt x="4233" y="574"/>
                </a:cubicBezTo>
                <a:cubicBezTo>
                  <a:pt x="4237" y="569"/>
                  <a:pt x="4250" y="561"/>
                  <a:pt x="4261" y="557"/>
                </a:cubicBezTo>
                <a:cubicBezTo>
                  <a:pt x="4272" y="552"/>
                  <a:pt x="4283" y="540"/>
                  <a:pt x="4294" y="529"/>
                </a:cubicBezTo>
                <a:cubicBezTo>
                  <a:pt x="4300" y="524"/>
                  <a:pt x="4305" y="519"/>
                  <a:pt x="4309" y="515"/>
                </a:cubicBezTo>
                <a:cubicBezTo>
                  <a:pt x="4313" y="511"/>
                  <a:pt x="4317" y="509"/>
                  <a:pt x="4317" y="509"/>
                </a:cubicBezTo>
                <a:cubicBezTo>
                  <a:pt x="4319" y="509"/>
                  <a:pt x="4321" y="509"/>
                  <a:pt x="4323" y="509"/>
                </a:cubicBezTo>
                <a:cubicBezTo>
                  <a:pt x="4334" y="509"/>
                  <a:pt x="4352" y="511"/>
                  <a:pt x="4371" y="511"/>
                </a:cubicBezTo>
                <a:cubicBezTo>
                  <a:pt x="4375" y="511"/>
                  <a:pt x="4379" y="511"/>
                  <a:pt x="4383" y="511"/>
                </a:cubicBezTo>
                <a:cubicBezTo>
                  <a:pt x="4404" y="509"/>
                  <a:pt x="4416" y="501"/>
                  <a:pt x="4418" y="502"/>
                </a:cubicBezTo>
                <a:cubicBezTo>
                  <a:pt x="4419" y="502"/>
                  <a:pt x="4419" y="502"/>
                  <a:pt x="4420" y="502"/>
                </a:cubicBezTo>
                <a:cubicBezTo>
                  <a:pt x="4429" y="510"/>
                  <a:pt x="4444" y="517"/>
                  <a:pt x="4457" y="518"/>
                </a:cubicBezTo>
                <a:cubicBezTo>
                  <a:pt x="4458" y="518"/>
                  <a:pt x="4459" y="518"/>
                  <a:pt x="4460" y="517"/>
                </a:cubicBezTo>
                <a:cubicBezTo>
                  <a:pt x="4465" y="517"/>
                  <a:pt x="4468" y="517"/>
                  <a:pt x="4472" y="514"/>
                </a:cubicBezTo>
                <a:cubicBezTo>
                  <a:pt x="4475" y="512"/>
                  <a:pt x="4477" y="509"/>
                  <a:pt x="4485" y="502"/>
                </a:cubicBezTo>
                <a:cubicBezTo>
                  <a:pt x="4501" y="489"/>
                  <a:pt x="4516" y="482"/>
                  <a:pt x="4525" y="469"/>
                </a:cubicBezTo>
                <a:cubicBezTo>
                  <a:pt x="4529" y="464"/>
                  <a:pt x="4540" y="458"/>
                  <a:pt x="4545" y="459"/>
                </a:cubicBezTo>
                <a:cubicBezTo>
                  <a:pt x="4545" y="459"/>
                  <a:pt x="4544" y="459"/>
                  <a:pt x="4545" y="459"/>
                </a:cubicBezTo>
                <a:cubicBezTo>
                  <a:pt x="4545" y="460"/>
                  <a:pt x="4544" y="462"/>
                  <a:pt x="4544" y="464"/>
                </a:cubicBezTo>
                <a:cubicBezTo>
                  <a:pt x="4544" y="465"/>
                  <a:pt x="4544" y="467"/>
                  <a:pt x="4544" y="468"/>
                </a:cubicBezTo>
                <a:cubicBezTo>
                  <a:pt x="4544" y="472"/>
                  <a:pt x="4545" y="475"/>
                  <a:pt x="4546" y="479"/>
                </a:cubicBezTo>
                <a:cubicBezTo>
                  <a:pt x="4548" y="483"/>
                  <a:pt x="4553" y="486"/>
                  <a:pt x="4558" y="486"/>
                </a:cubicBezTo>
                <a:cubicBezTo>
                  <a:pt x="4559" y="486"/>
                  <a:pt x="4560" y="486"/>
                  <a:pt x="4560" y="486"/>
                </a:cubicBezTo>
                <a:cubicBezTo>
                  <a:pt x="4556" y="489"/>
                  <a:pt x="4553" y="491"/>
                  <a:pt x="4551" y="493"/>
                </a:cubicBezTo>
                <a:cubicBezTo>
                  <a:pt x="4547" y="496"/>
                  <a:pt x="4537" y="500"/>
                  <a:pt x="4527" y="504"/>
                </a:cubicBezTo>
                <a:cubicBezTo>
                  <a:pt x="4517" y="509"/>
                  <a:pt x="4506" y="515"/>
                  <a:pt x="4499" y="525"/>
                </a:cubicBezTo>
                <a:cubicBezTo>
                  <a:pt x="4489" y="539"/>
                  <a:pt x="4481" y="547"/>
                  <a:pt x="4481" y="564"/>
                </a:cubicBezTo>
                <a:cubicBezTo>
                  <a:pt x="4481" y="566"/>
                  <a:pt x="4481" y="567"/>
                  <a:pt x="4481" y="568"/>
                </a:cubicBezTo>
                <a:cubicBezTo>
                  <a:pt x="4482" y="586"/>
                  <a:pt x="4495" y="604"/>
                  <a:pt x="4495" y="616"/>
                </a:cubicBezTo>
                <a:cubicBezTo>
                  <a:pt x="4495" y="619"/>
                  <a:pt x="4494" y="621"/>
                  <a:pt x="4493" y="623"/>
                </a:cubicBezTo>
                <a:cubicBezTo>
                  <a:pt x="4483" y="641"/>
                  <a:pt x="4480" y="665"/>
                  <a:pt x="4480" y="665"/>
                </a:cubicBezTo>
                <a:cubicBezTo>
                  <a:pt x="4479" y="668"/>
                  <a:pt x="4481" y="671"/>
                  <a:pt x="4484" y="671"/>
                </a:cubicBezTo>
                <a:cubicBezTo>
                  <a:pt x="4487" y="673"/>
                  <a:pt x="4490" y="671"/>
                  <a:pt x="4491" y="669"/>
                </a:cubicBezTo>
                <a:cubicBezTo>
                  <a:pt x="4491" y="669"/>
                  <a:pt x="4494" y="663"/>
                  <a:pt x="4500" y="656"/>
                </a:cubicBezTo>
                <a:cubicBezTo>
                  <a:pt x="4506" y="648"/>
                  <a:pt x="4514" y="639"/>
                  <a:pt x="4523" y="632"/>
                </a:cubicBezTo>
                <a:cubicBezTo>
                  <a:pt x="4544" y="616"/>
                  <a:pt x="4556" y="594"/>
                  <a:pt x="4562" y="587"/>
                </a:cubicBezTo>
                <a:cubicBezTo>
                  <a:pt x="4563" y="585"/>
                  <a:pt x="4570" y="582"/>
                  <a:pt x="4576" y="579"/>
                </a:cubicBezTo>
                <a:cubicBezTo>
                  <a:pt x="4579" y="578"/>
                  <a:pt x="4582" y="577"/>
                  <a:pt x="4585" y="575"/>
                </a:cubicBezTo>
                <a:cubicBezTo>
                  <a:pt x="4588" y="572"/>
                  <a:pt x="4591" y="569"/>
                  <a:pt x="4591" y="564"/>
                </a:cubicBezTo>
                <a:cubicBezTo>
                  <a:pt x="4591" y="556"/>
                  <a:pt x="4596" y="544"/>
                  <a:pt x="4600" y="532"/>
                </a:cubicBezTo>
                <a:cubicBezTo>
                  <a:pt x="4600" y="530"/>
                  <a:pt x="4601" y="528"/>
                  <a:pt x="4601" y="527"/>
                </a:cubicBezTo>
                <a:cubicBezTo>
                  <a:pt x="4601" y="523"/>
                  <a:pt x="4599" y="520"/>
                  <a:pt x="4598" y="518"/>
                </a:cubicBezTo>
                <a:cubicBezTo>
                  <a:pt x="4598" y="517"/>
                  <a:pt x="4598" y="517"/>
                  <a:pt x="4598" y="517"/>
                </a:cubicBezTo>
                <a:close/>
                <a:moveTo>
                  <a:pt x="2891" y="398"/>
                </a:moveTo>
                <a:cubicBezTo>
                  <a:pt x="2900" y="398"/>
                  <a:pt x="2910" y="397"/>
                  <a:pt x="2921" y="393"/>
                </a:cubicBezTo>
                <a:cubicBezTo>
                  <a:pt x="2919" y="397"/>
                  <a:pt x="2919" y="401"/>
                  <a:pt x="2919" y="405"/>
                </a:cubicBezTo>
                <a:cubicBezTo>
                  <a:pt x="2919" y="406"/>
                  <a:pt x="2919" y="407"/>
                  <a:pt x="2919" y="408"/>
                </a:cubicBezTo>
                <a:cubicBezTo>
                  <a:pt x="2919" y="410"/>
                  <a:pt x="2919" y="411"/>
                  <a:pt x="2919" y="412"/>
                </a:cubicBezTo>
                <a:cubicBezTo>
                  <a:pt x="2915" y="413"/>
                  <a:pt x="2914" y="415"/>
                  <a:pt x="2912" y="414"/>
                </a:cubicBezTo>
                <a:cubicBezTo>
                  <a:pt x="2910" y="414"/>
                  <a:pt x="2908" y="414"/>
                  <a:pt x="2903" y="410"/>
                </a:cubicBezTo>
                <a:cubicBezTo>
                  <a:pt x="2897" y="406"/>
                  <a:pt x="2893" y="404"/>
                  <a:pt x="2888" y="403"/>
                </a:cubicBezTo>
                <a:cubicBezTo>
                  <a:pt x="2885" y="403"/>
                  <a:pt x="2882" y="405"/>
                  <a:pt x="2881" y="407"/>
                </a:cubicBezTo>
                <a:cubicBezTo>
                  <a:pt x="2880" y="408"/>
                  <a:pt x="2879" y="409"/>
                  <a:pt x="2879" y="409"/>
                </a:cubicBezTo>
                <a:cubicBezTo>
                  <a:pt x="2878" y="410"/>
                  <a:pt x="2871" y="414"/>
                  <a:pt x="2868" y="415"/>
                </a:cubicBezTo>
                <a:cubicBezTo>
                  <a:pt x="2868" y="415"/>
                  <a:pt x="2868" y="414"/>
                  <a:pt x="2868" y="414"/>
                </a:cubicBezTo>
                <a:cubicBezTo>
                  <a:pt x="2868" y="412"/>
                  <a:pt x="2868" y="410"/>
                  <a:pt x="2868" y="408"/>
                </a:cubicBezTo>
                <a:cubicBezTo>
                  <a:pt x="2868" y="406"/>
                  <a:pt x="2868" y="406"/>
                  <a:pt x="2868" y="406"/>
                </a:cubicBezTo>
                <a:cubicBezTo>
                  <a:pt x="2868" y="403"/>
                  <a:pt x="2868" y="398"/>
                  <a:pt x="2865" y="394"/>
                </a:cubicBezTo>
                <a:cubicBezTo>
                  <a:pt x="2873" y="396"/>
                  <a:pt x="2881" y="398"/>
                  <a:pt x="2891" y="398"/>
                </a:cubicBezTo>
                <a:close/>
                <a:moveTo>
                  <a:pt x="2805" y="472"/>
                </a:moveTo>
                <a:cubicBezTo>
                  <a:pt x="2806" y="469"/>
                  <a:pt x="2806" y="469"/>
                  <a:pt x="2808" y="469"/>
                </a:cubicBezTo>
                <a:cubicBezTo>
                  <a:pt x="2811" y="469"/>
                  <a:pt x="2816" y="471"/>
                  <a:pt x="2820" y="474"/>
                </a:cubicBezTo>
                <a:cubicBezTo>
                  <a:pt x="2822" y="475"/>
                  <a:pt x="2823" y="477"/>
                  <a:pt x="2824" y="479"/>
                </a:cubicBezTo>
                <a:cubicBezTo>
                  <a:pt x="2825" y="480"/>
                  <a:pt x="2825" y="480"/>
                  <a:pt x="2826" y="481"/>
                </a:cubicBezTo>
                <a:cubicBezTo>
                  <a:pt x="2826" y="481"/>
                  <a:pt x="2825" y="481"/>
                  <a:pt x="2825" y="481"/>
                </a:cubicBezTo>
                <a:cubicBezTo>
                  <a:pt x="2825" y="481"/>
                  <a:pt x="2824" y="482"/>
                  <a:pt x="2822" y="482"/>
                </a:cubicBezTo>
                <a:cubicBezTo>
                  <a:pt x="2819" y="482"/>
                  <a:pt x="2813" y="480"/>
                  <a:pt x="2809" y="478"/>
                </a:cubicBezTo>
                <a:cubicBezTo>
                  <a:pt x="2806" y="476"/>
                  <a:pt x="2804" y="473"/>
                  <a:pt x="2804" y="472"/>
                </a:cubicBezTo>
                <a:cubicBezTo>
                  <a:pt x="2804" y="472"/>
                  <a:pt x="2804" y="472"/>
                  <a:pt x="2804" y="472"/>
                </a:cubicBezTo>
                <a:cubicBezTo>
                  <a:pt x="2799" y="470"/>
                  <a:pt x="2799" y="470"/>
                  <a:pt x="2799" y="470"/>
                </a:cubicBezTo>
                <a:lnTo>
                  <a:pt x="2805" y="472"/>
                </a:lnTo>
                <a:close/>
                <a:moveTo>
                  <a:pt x="2773" y="756"/>
                </a:moveTo>
                <a:cubicBezTo>
                  <a:pt x="2781" y="749"/>
                  <a:pt x="2789" y="735"/>
                  <a:pt x="2796" y="721"/>
                </a:cubicBezTo>
                <a:cubicBezTo>
                  <a:pt x="2801" y="711"/>
                  <a:pt x="2806" y="710"/>
                  <a:pt x="2809" y="710"/>
                </a:cubicBezTo>
                <a:cubicBezTo>
                  <a:pt x="2810" y="710"/>
                  <a:pt x="2810" y="710"/>
                  <a:pt x="2811" y="710"/>
                </a:cubicBezTo>
                <a:cubicBezTo>
                  <a:pt x="2812" y="711"/>
                  <a:pt x="2817" y="717"/>
                  <a:pt x="2820" y="723"/>
                </a:cubicBezTo>
                <a:cubicBezTo>
                  <a:pt x="2824" y="730"/>
                  <a:pt x="2828" y="738"/>
                  <a:pt x="2829" y="741"/>
                </a:cubicBezTo>
                <a:cubicBezTo>
                  <a:pt x="2830" y="745"/>
                  <a:pt x="2835" y="748"/>
                  <a:pt x="2839" y="748"/>
                </a:cubicBezTo>
                <a:cubicBezTo>
                  <a:pt x="2844" y="748"/>
                  <a:pt x="2847" y="745"/>
                  <a:pt x="2850" y="743"/>
                </a:cubicBezTo>
                <a:cubicBezTo>
                  <a:pt x="2853" y="741"/>
                  <a:pt x="2856" y="739"/>
                  <a:pt x="2857" y="739"/>
                </a:cubicBezTo>
                <a:cubicBezTo>
                  <a:pt x="2864" y="734"/>
                  <a:pt x="2871" y="726"/>
                  <a:pt x="2873" y="716"/>
                </a:cubicBezTo>
                <a:cubicBezTo>
                  <a:pt x="2873" y="716"/>
                  <a:pt x="2874" y="714"/>
                  <a:pt x="2877" y="713"/>
                </a:cubicBezTo>
                <a:cubicBezTo>
                  <a:pt x="2879" y="712"/>
                  <a:pt x="2881" y="711"/>
                  <a:pt x="2884" y="711"/>
                </a:cubicBezTo>
                <a:cubicBezTo>
                  <a:pt x="2883" y="712"/>
                  <a:pt x="2882" y="712"/>
                  <a:pt x="2881" y="712"/>
                </a:cubicBezTo>
                <a:cubicBezTo>
                  <a:pt x="2879" y="713"/>
                  <a:pt x="2877" y="714"/>
                  <a:pt x="2876" y="715"/>
                </a:cubicBezTo>
                <a:cubicBezTo>
                  <a:pt x="2874" y="717"/>
                  <a:pt x="2873" y="719"/>
                  <a:pt x="2873" y="722"/>
                </a:cubicBezTo>
                <a:cubicBezTo>
                  <a:pt x="2873" y="727"/>
                  <a:pt x="2876" y="729"/>
                  <a:pt x="2879" y="731"/>
                </a:cubicBezTo>
                <a:cubicBezTo>
                  <a:pt x="2882" y="734"/>
                  <a:pt x="2886" y="736"/>
                  <a:pt x="2891" y="738"/>
                </a:cubicBezTo>
                <a:cubicBezTo>
                  <a:pt x="2903" y="742"/>
                  <a:pt x="2915" y="757"/>
                  <a:pt x="2931" y="767"/>
                </a:cubicBezTo>
                <a:cubicBezTo>
                  <a:pt x="2939" y="772"/>
                  <a:pt x="2942" y="780"/>
                  <a:pt x="2942" y="785"/>
                </a:cubicBezTo>
                <a:cubicBezTo>
                  <a:pt x="2942" y="788"/>
                  <a:pt x="2941" y="788"/>
                  <a:pt x="2941" y="788"/>
                </a:cubicBezTo>
                <a:cubicBezTo>
                  <a:pt x="2941" y="788"/>
                  <a:pt x="2941" y="788"/>
                  <a:pt x="2941" y="788"/>
                </a:cubicBezTo>
                <a:cubicBezTo>
                  <a:pt x="2935" y="790"/>
                  <a:pt x="2915" y="793"/>
                  <a:pt x="2903" y="792"/>
                </a:cubicBezTo>
                <a:cubicBezTo>
                  <a:pt x="2900" y="792"/>
                  <a:pt x="2898" y="792"/>
                  <a:pt x="2896" y="792"/>
                </a:cubicBezTo>
                <a:cubicBezTo>
                  <a:pt x="2889" y="792"/>
                  <a:pt x="2876" y="779"/>
                  <a:pt x="2859" y="776"/>
                </a:cubicBezTo>
                <a:cubicBezTo>
                  <a:pt x="2854" y="775"/>
                  <a:pt x="2849" y="774"/>
                  <a:pt x="2844" y="774"/>
                </a:cubicBezTo>
                <a:cubicBezTo>
                  <a:pt x="2832" y="774"/>
                  <a:pt x="2820" y="777"/>
                  <a:pt x="2813" y="787"/>
                </a:cubicBezTo>
                <a:cubicBezTo>
                  <a:pt x="2813" y="788"/>
                  <a:pt x="2808" y="790"/>
                  <a:pt x="2800" y="790"/>
                </a:cubicBezTo>
                <a:cubicBezTo>
                  <a:pt x="2794" y="790"/>
                  <a:pt x="2788" y="789"/>
                  <a:pt x="2783" y="789"/>
                </a:cubicBezTo>
                <a:cubicBezTo>
                  <a:pt x="2776" y="789"/>
                  <a:pt x="2772" y="793"/>
                  <a:pt x="2768" y="795"/>
                </a:cubicBezTo>
                <a:cubicBezTo>
                  <a:pt x="2768" y="792"/>
                  <a:pt x="2769" y="788"/>
                  <a:pt x="2769" y="785"/>
                </a:cubicBezTo>
                <a:cubicBezTo>
                  <a:pt x="2769" y="780"/>
                  <a:pt x="2769" y="775"/>
                  <a:pt x="2763" y="771"/>
                </a:cubicBezTo>
                <a:cubicBezTo>
                  <a:pt x="2764" y="768"/>
                  <a:pt x="2769" y="758"/>
                  <a:pt x="2773" y="756"/>
                </a:cubicBezTo>
                <a:close/>
                <a:moveTo>
                  <a:pt x="2673" y="431"/>
                </a:moveTo>
                <a:cubicBezTo>
                  <a:pt x="2681" y="422"/>
                  <a:pt x="2684" y="414"/>
                  <a:pt x="2684" y="407"/>
                </a:cubicBezTo>
                <a:cubicBezTo>
                  <a:pt x="2684" y="405"/>
                  <a:pt x="2683" y="402"/>
                  <a:pt x="2683" y="401"/>
                </a:cubicBezTo>
                <a:cubicBezTo>
                  <a:pt x="2684" y="400"/>
                  <a:pt x="2685" y="400"/>
                  <a:pt x="2686" y="400"/>
                </a:cubicBezTo>
                <a:cubicBezTo>
                  <a:pt x="2695" y="400"/>
                  <a:pt x="2703" y="399"/>
                  <a:pt x="2710" y="399"/>
                </a:cubicBezTo>
                <a:cubicBezTo>
                  <a:pt x="2713" y="399"/>
                  <a:pt x="2716" y="399"/>
                  <a:pt x="2719" y="400"/>
                </a:cubicBezTo>
                <a:cubicBezTo>
                  <a:pt x="2716" y="403"/>
                  <a:pt x="2710" y="408"/>
                  <a:pt x="2704" y="412"/>
                </a:cubicBezTo>
                <a:cubicBezTo>
                  <a:pt x="2695" y="418"/>
                  <a:pt x="2685" y="425"/>
                  <a:pt x="2677" y="429"/>
                </a:cubicBezTo>
                <a:cubicBezTo>
                  <a:pt x="2676" y="430"/>
                  <a:pt x="2674" y="431"/>
                  <a:pt x="2673" y="432"/>
                </a:cubicBezTo>
                <a:cubicBezTo>
                  <a:pt x="2673" y="432"/>
                  <a:pt x="2673" y="431"/>
                  <a:pt x="2673" y="431"/>
                </a:cubicBezTo>
                <a:close/>
                <a:moveTo>
                  <a:pt x="2518" y="522"/>
                </a:moveTo>
                <a:cubicBezTo>
                  <a:pt x="2518" y="521"/>
                  <a:pt x="2520" y="517"/>
                  <a:pt x="2523" y="514"/>
                </a:cubicBezTo>
                <a:cubicBezTo>
                  <a:pt x="2524" y="513"/>
                  <a:pt x="2525" y="512"/>
                  <a:pt x="2526" y="511"/>
                </a:cubicBezTo>
                <a:cubicBezTo>
                  <a:pt x="2527" y="517"/>
                  <a:pt x="2530" y="523"/>
                  <a:pt x="2532" y="529"/>
                </a:cubicBezTo>
                <a:cubicBezTo>
                  <a:pt x="2534" y="536"/>
                  <a:pt x="2537" y="542"/>
                  <a:pt x="2536" y="545"/>
                </a:cubicBezTo>
                <a:cubicBezTo>
                  <a:pt x="2536" y="545"/>
                  <a:pt x="2536" y="546"/>
                  <a:pt x="2536" y="546"/>
                </a:cubicBezTo>
                <a:cubicBezTo>
                  <a:pt x="2536" y="548"/>
                  <a:pt x="2535" y="551"/>
                  <a:pt x="2535" y="553"/>
                </a:cubicBezTo>
                <a:cubicBezTo>
                  <a:pt x="2535" y="557"/>
                  <a:pt x="2536" y="560"/>
                  <a:pt x="2538" y="563"/>
                </a:cubicBezTo>
                <a:cubicBezTo>
                  <a:pt x="2540" y="566"/>
                  <a:pt x="2544" y="569"/>
                  <a:pt x="2549" y="569"/>
                </a:cubicBezTo>
                <a:cubicBezTo>
                  <a:pt x="2549" y="569"/>
                  <a:pt x="2550" y="569"/>
                  <a:pt x="2551" y="568"/>
                </a:cubicBezTo>
                <a:cubicBezTo>
                  <a:pt x="2560" y="567"/>
                  <a:pt x="2602" y="556"/>
                  <a:pt x="2602" y="556"/>
                </a:cubicBezTo>
                <a:cubicBezTo>
                  <a:pt x="2604" y="555"/>
                  <a:pt x="2604" y="555"/>
                  <a:pt x="2604" y="555"/>
                </a:cubicBezTo>
                <a:cubicBezTo>
                  <a:pt x="2604" y="555"/>
                  <a:pt x="2618" y="549"/>
                  <a:pt x="2619" y="534"/>
                </a:cubicBezTo>
                <a:cubicBezTo>
                  <a:pt x="2619" y="533"/>
                  <a:pt x="2619" y="532"/>
                  <a:pt x="2618" y="531"/>
                </a:cubicBezTo>
                <a:cubicBezTo>
                  <a:pt x="2618" y="531"/>
                  <a:pt x="2618" y="530"/>
                  <a:pt x="2618" y="530"/>
                </a:cubicBezTo>
                <a:cubicBezTo>
                  <a:pt x="2618" y="527"/>
                  <a:pt x="2621" y="522"/>
                  <a:pt x="2625" y="517"/>
                </a:cubicBezTo>
                <a:cubicBezTo>
                  <a:pt x="2629" y="512"/>
                  <a:pt x="2633" y="508"/>
                  <a:pt x="2635" y="506"/>
                </a:cubicBezTo>
                <a:cubicBezTo>
                  <a:pt x="2638" y="502"/>
                  <a:pt x="2645" y="495"/>
                  <a:pt x="2645" y="485"/>
                </a:cubicBezTo>
                <a:cubicBezTo>
                  <a:pt x="2645" y="479"/>
                  <a:pt x="2641" y="472"/>
                  <a:pt x="2634" y="470"/>
                </a:cubicBezTo>
                <a:cubicBezTo>
                  <a:pt x="2629" y="468"/>
                  <a:pt x="2624" y="467"/>
                  <a:pt x="2622" y="465"/>
                </a:cubicBezTo>
                <a:cubicBezTo>
                  <a:pt x="2621" y="465"/>
                  <a:pt x="2620" y="464"/>
                  <a:pt x="2620" y="464"/>
                </a:cubicBezTo>
                <a:cubicBezTo>
                  <a:pt x="2620" y="464"/>
                  <a:pt x="2620" y="463"/>
                  <a:pt x="2621" y="463"/>
                </a:cubicBezTo>
                <a:cubicBezTo>
                  <a:pt x="2622" y="461"/>
                  <a:pt x="2623" y="459"/>
                  <a:pt x="2626" y="456"/>
                </a:cubicBezTo>
                <a:cubicBezTo>
                  <a:pt x="2633" y="449"/>
                  <a:pt x="2636" y="450"/>
                  <a:pt x="2644" y="449"/>
                </a:cubicBezTo>
                <a:cubicBezTo>
                  <a:pt x="2651" y="448"/>
                  <a:pt x="2659" y="446"/>
                  <a:pt x="2667" y="438"/>
                </a:cubicBezTo>
                <a:cubicBezTo>
                  <a:pt x="2664" y="442"/>
                  <a:pt x="2663" y="447"/>
                  <a:pt x="2663" y="452"/>
                </a:cubicBezTo>
                <a:cubicBezTo>
                  <a:pt x="2663" y="459"/>
                  <a:pt x="2665" y="465"/>
                  <a:pt x="2669" y="469"/>
                </a:cubicBezTo>
                <a:cubicBezTo>
                  <a:pt x="2670" y="472"/>
                  <a:pt x="2672" y="478"/>
                  <a:pt x="2675" y="484"/>
                </a:cubicBezTo>
                <a:cubicBezTo>
                  <a:pt x="2676" y="487"/>
                  <a:pt x="2678" y="490"/>
                  <a:pt x="2680" y="492"/>
                </a:cubicBezTo>
                <a:cubicBezTo>
                  <a:pt x="2682" y="495"/>
                  <a:pt x="2686" y="497"/>
                  <a:pt x="2690" y="497"/>
                </a:cubicBezTo>
                <a:cubicBezTo>
                  <a:pt x="2691" y="497"/>
                  <a:pt x="2692" y="497"/>
                  <a:pt x="2693" y="497"/>
                </a:cubicBezTo>
                <a:cubicBezTo>
                  <a:pt x="2705" y="493"/>
                  <a:pt x="2716" y="485"/>
                  <a:pt x="2724" y="486"/>
                </a:cubicBezTo>
                <a:cubicBezTo>
                  <a:pt x="2725" y="486"/>
                  <a:pt x="2725" y="486"/>
                  <a:pt x="2726" y="486"/>
                </a:cubicBezTo>
                <a:cubicBezTo>
                  <a:pt x="2728" y="486"/>
                  <a:pt x="2731" y="486"/>
                  <a:pt x="2734" y="486"/>
                </a:cubicBezTo>
                <a:cubicBezTo>
                  <a:pt x="2745" y="486"/>
                  <a:pt x="2759" y="485"/>
                  <a:pt x="2763" y="484"/>
                </a:cubicBezTo>
                <a:cubicBezTo>
                  <a:pt x="2764" y="485"/>
                  <a:pt x="2766" y="488"/>
                  <a:pt x="2768" y="490"/>
                </a:cubicBezTo>
                <a:cubicBezTo>
                  <a:pt x="2769" y="492"/>
                  <a:pt x="2770" y="494"/>
                  <a:pt x="2771" y="495"/>
                </a:cubicBezTo>
                <a:cubicBezTo>
                  <a:pt x="2764" y="497"/>
                  <a:pt x="2752" y="496"/>
                  <a:pt x="2734" y="497"/>
                </a:cubicBezTo>
                <a:cubicBezTo>
                  <a:pt x="2724" y="498"/>
                  <a:pt x="2714" y="498"/>
                  <a:pt x="2706" y="499"/>
                </a:cubicBezTo>
                <a:cubicBezTo>
                  <a:pt x="2702" y="499"/>
                  <a:pt x="2698" y="500"/>
                  <a:pt x="2695" y="500"/>
                </a:cubicBezTo>
                <a:cubicBezTo>
                  <a:pt x="2694" y="501"/>
                  <a:pt x="2692" y="501"/>
                  <a:pt x="2691" y="502"/>
                </a:cubicBezTo>
                <a:cubicBezTo>
                  <a:pt x="2689" y="503"/>
                  <a:pt x="2687" y="505"/>
                  <a:pt x="2687" y="509"/>
                </a:cubicBezTo>
                <a:cubicBezTo>
                  <a:pt x="2687" y="512"/>
                  <a:pt x="2689" y="513"/>
                  <a:pt x="2689" y="514"/>
                </a:cubicBezTo>
                <a:cubicBezTo>
                  <a:pt x="2693" y="518"/>
                  <a:pt x="2697" y="520"/>
                  <a:pt x="2701" y="523"/>
                </a:cubicBezTo>
                <a:cubicBezTo>
                  <a:pt x="2703" y="524"/>
                  <a:pt x="2704" y="525"/>
                  <a:pt x="2705" y="525"/>
                </a:cubicBezTo>
                <a:cubicBezTo>
                  <a:pt x="2704" y="526"/>
                  <a:pt x="2703" y="526"/>
                  <a:pt x="2702" y="526"/>
                </a:cubicBezTo>
                <a:cubicBezTo>
                  <a:pt x="2698" y="526"/>
                  <a:pt x="2691" y="522"/>
                  <a:pt x="2681" y="521"/>
                </a:cubicBezTo>
                <a:cubicBezTo>
                  <a:pt x="2680" y="520"/>
                  <a:pt x="2680" y="520"/>
                  <a:pt x="2679" y="520"/>
                </a:cubicBezTo>
                <a:cubicBezTo>
                  <a:pt x="2670" y="521"/>
                  <a:pt x="2665" y="528"/>
                  <a:pt x="2661" y="534"/>
                </a:cubicBezTo>
                <a:cubicBezTo>
                  <a:pt x="2657" y="541"/>
                  <a:pt x="2654" y="548"/>
                  <a:pt x="2653" y="554"/>
                </a:cubicBezTo>
                <a:cubicBezTo>
                  <a:pt x="2652" y="557"/>
                  <a:pt x="2652" y="560"/>
                  <a:pt x="2652" y="563"/>
                </a:cubicBezTo>
                <a:cubicBezTo>
                  <a:pt x="2652" y="566"/>
                  <a:pt x="2652" y="570"/>
                  <a:pt x="2652" y="572"/>
                </a:cubicBezTo>
                <a:cubicBezTo>
                  <a:pt x="2652" y="573"/>
                  <a:pt x="2652" y="574"/>
                  <a:pt x="2652" y="574"/>
                </a:cubicBezTo>
                <a:cubicBezTo>
                  <a:pt x="2651" y="574"/>
                  <a:pt x="2650" y="574"/>
                  <a:pt x="2649" y="573"/>
                </a:cubicBezTo>
                <a:cubicBezTo>
                  <a:pt x="2638" y="569"/>
                  <a:pt x="2629" y="567"/>
                  <a:pt x="2621" y="567"/>
                </a:cubicBezTo>
                <a:cubicBezTo>
                  <a:pt x="2617" y="567"/>
                  <a:pt x="2613" y="568"/>
                  <a:pt x="2609" y="570"/>
                </a:cubicBezTo>
                <a:cubicBezTo>
                  <a:pt x="2606" y="572"/>
                  <a:pt x="2592" y="577"/>
                  <a:pt x="2580" y="581"/>
                </a:cubicBezTo>
                <a:cubicBezTo>
                  <a:pt x="2579" y="582"/>
                  <a:pt x="2578" y="582"/>
                  <a:pt x="2578" y="582"/>
                </a:cubicBezTo>
                <a:cubicBezTo>
                  <a:pt x="2577" y="581"/>
                  <a:pt x="2572" y="574"/>
                  <a:pt x="2562" y="574"/>
                </a:cubicBezTo>
                <a:cubicBezTo>
                  <a:pt x="2561" y="574"/>
                  <a:pt x="2561" y="574"/>
                  <a:pt x="2561" y="574"/>
                </a:cubicBezTo>
                <a:cubicBezTo>
                  <a:pt x="2546" y="574"/>
                  <a:pt x="2546" y="574"/>
                  <a:pt x="2546" y="574"/>
                </a:cubicBezTo>
                <a:cubicBezTo>
                  <a:pt x="2545" y="574"/>
                  <a:pt x="2545" y="574"/>
                  <a:pt x="2545" y="574"/>
                </a:cubicBezTo>
                <a:cubicBezTo>
                  <a:pt x="2538" y="575"/>
                  <a:pt x="2538" y="575"/>
                  <a:pt x="2538" y="575"/>
                </a:cubicBezTo>
                <a:cubicBezTo>
                  <a:pt x="2536" y="573"/>
                  <a:pt x="2533" y="568"/>
                  <a:pt x="2532" y="563"/>
                </a:cubicBezTo>
                <a:cubicBezTo>
                  <a:pt x="2532" y="562"/>
                  <a:pt x="2532" y="562"/>
                  <a:pt x="2532" y="561"/>
                </a:cubicBezTo>
                <a:cubicBezTo>
                  <a:pt x="2532" y="555"/>
                  <a:pt x="2534" y="549"/>
                  <a:pt x="2534" y="543"/>
                </a:cubicBezTo>
                <a:cubicBezTo>
                  <a:pt x="2534" y="540"/>
                  <a:pt x="2533" y="535"/>
                  <a:pt x="2528" y="532"/>
                </a:cubicBezTo>
                <a:cubicBezTo>
                  <a:pt x="2525" y="531"/>
                  <a:pt x="2522" y="531"/>
                  <a:pt x="2520" y="531"/>
                </a:cubicBezTo>
                <a:cubicBezTo>
                  <a:pt x="2516" y="531"/>
                  <a:pt x="2513" y="531"/>
                  <a:pt x="2510" y="532"/>
                </a:cubicBezTo>
                <a:cubicBezTo>
                  <a:pt x="2513" y="530"/>
                  <a:pt x="2517" y="527"/>
                  <a:pt x="2518" y="522"/>
                </a:cubicBezTo>
                <a:close/>
                <a:moveTo>
                  <a:pt x="2636" y="804"/>
                </a:moveTo>
                <a:cubicBezTo>
                  <a:pt x="2635" y="803"/>
                  <a:pt x="2614" y="787"/>
                  <a:pt x="2605" y="782"/>
                </a:cubicBezTo>
                <a:cubicBezTo>
                  <a:pt x="2597" y="778"/>
                  <a:pt x="2583" y="770"/>
                  <a:pt x="2578" y="758"/>
                </a:cubicBezTo>
                <a:cubicBezTo>
                  <a:pt x="2573" y="750"/>
                  <a:pt x="2567" y="745"/>
                  <a:pt x="2562" y="741"/>
                </a:cubicBezTo>
                <a:cubicBezTo>
                  <a:pt x="2557" y="737"/>
                  <a:pt x="2555" y="735"/>
                  <a:pt x="2555" y="732"/>
                </a:cubicBezTo>
                <a:cubicBezTo>
                  <a:pt x="2555" y="732"/>
                  <a:pt x="2555" y="731"/>
                  <a:pt x="2555" y="731"/>
                </a:cubicBezTo>
                <a:cubicBezTo>
                  <a:pt x="2555" y="730"/>
                  <a:pt x="2555" y="730"/>
                  <a:pt x="2555" y="729"/>
                </a:cubicBezTo>
                <a:cubicBezTo>
                  <a:pt x="2555" y="729"/>
                  <a:pt x="2555" y="729"/>
                  <a:pt x="2555" y="729"/>
                </a:cubicBezTo>
                <a:cubicBezTo>
                  <a:pt x="2556" y="729"/>
                  <a:pt x="2556" y="729"/>
                  <a:pt x="2556" y="729"/>
                </a:cubicBezTo>
                <a:cubicBezTo>
                  <a:pt x="2558" y="729"/>
                  <a:pt x="2566" y="734"/>
                  <a:pt x="2571" y="740"/>
                </a:cubicBezTo>
                <a:cubicBezTo>
                  <a:pt x="2581" y="752"/>
                  <a:pt x="2604" y="767"/>
                  <a:pt x="2611" y="776"/>
                </a:cubicBezTo>
                <a:cubicBezTo>
                  <a:pt x="2621" y="787"/>
                  <a:pt x="2632" y="791"/>
                  <a:pt x="2634" y="800"/>
                </a:cubicBezTo>
                <a:cubicBezTo>
                  <a:pt x="2635" y="801"/>
                  <a:pt x="2635" y="803"/>
                  <a:pt x="2636" y="804"/>
                </a:cubicBezTo>
                <a:close/>
                <a:moveTo>
                  <a:pt x="2400" y="645"/>
                </a:moveTo>
                <a:cubicBezTo>
                  <a:pt x="2399" y="645"/>
                  <a:pt x="2399" y="645"/>
                  <a:pt x="2399" y="645"/>
                </a:cubicBezTo>
                <a:cubicBezTo>
                  <a:pt x="2398" y="648"/>
                  <a:pt x="2398" y="648"/>
                  <a:pt x="2395" y="649"/>
                </a:cubicBezTo>
                <a:cubicBezTo>
                  <a:pt x="2395" y="649"/>
                  <a:pt x="2394" y="649"/>
                  <a:pt x="2393" y="649"/>
                </a:cubicBezTo>
                <a:cubicBezTo>
                  <a:pt x="2395" y="648"/>
                  <a:pt x="2397" y="647"/>
                  <a:pt x="2400" y="645"/>
                </a:cubicBezTo>
                <a:close/>
                <a:moveTo>
                  <a:pt x="2831" y="1487"/>
                </a:moveTo>
                <a:cubicBezTo>
                  <a:pt x="2829" y="1490"/>
                  <a:pt x="2827" y="1494"/>
                  <a:pt x="2825" y="1496"/>
                </a:cubicBezTo>
                <a:cubicBezTo>
                  <a:pt x="2824" y="1497"/>
                  <a:pt x="2823" y="1497"/>
                  <a:pt x="2822" y="1498"/>
                </a:cubicBezTo>
                <a:cubicBezTo>
                  <a:pt x="2822" y="1498"/>
                  <a:pt x="2822" y="1498"/>
                  <a:pt x="2822" y="1498"/>
                </a:cubicBezTo>
                <a:cubicBezTo>
                  <a:pt x="2822" y="1497"/>
                  <a:pt x="2821" y="1496"/>
                  <a:pt x="2821" y="1494"/>
                </a:cubicBezTo>
                <a:cubicBezTo>
                  <a:pt x="2820" y="1492"/>
                  <a:pt x="2820" y="1488"/>
                  <a:pt x="2820" y="1485"/>
                </a:cubicBezTo>
                <a:cubicBezTo>
                  <a:pt x="2820" y="1477"/>
                  <a:pt x="2822" y="1467"/>
                  <a:pt x="2823" y="1465"/>
                </a:cubicBezTo>
                <a:cubicBezTo>
                  <a:pt x="2823" y="1465"/>
                  <a:pt x="2823" y="1466"/>
                  <a:pt x="2823" y="1466"/>
                </a:cubicBezTo>
                <a:cubicBezTo>
                  <a:pt x="2825" y="1464"/>
                  <a:pt x="2829" y="1464"/>
                  <a:pt x="2833" y="1464"/>
                </a:cubicBezTo>
                <a:cubicBezTo>
                  <a:pt x="2833" y="1464"/>
                  <a:pt x="2834" y="1464"/>
                  <a:pt x="2834" y="1464"/>
                </a:cubicBezTo>
                <a:cubicBezTo>
                  <a:pt x="2836" y="1464"/>
                  <a:pt x="2837" y="1463"/>
                  <a:pt x="2838" y="1464"/>
                </a:cubicBezTo>
                <a:cubicBezTo>
                  <a:pt x="2838" y="1464"/>
                  <a:pt x="2838" y="1463"/>
                  <a:pt x="2839" y="1464"/>
                </a:cubicBezTo>
                <a:cubicBezTo>
                  <a:pt x="2839" y="1464"/>
                  <a:pt x="2839" y="1464"/>
                  <a:pt x="2839" y="1465"/>
                </a:cubicBezTo>
                <a:cubicBezTo>
                  <a:pt x="2839" y="1470"/>
                  <a:pt x="2836" y="1480"/>
                  <a:pt x="2831" y="1487"/>
                </a:cubicBezTo>
                <a:close/>
                <a:moveTo>
                  <a:pt x="2836" y="953"/>
                </a:moveTo>
                <a:cubicBezTo>
                  <a:pt x="2835" y="954"/>
                  <a:pt x="2835" y="954"/>
                  <a:pt x="2835" y="954"/>
                </a:cubicBezTo>
                <a:cubicBezTo>
                  <a:pt x="2835" y="954"/>
                  <a:pt x="2835" y="955"/>
                  <a:pt x="2832" y="955"/>
                </a:cubicBezTo>
                <a:cubicBezTo>
                  <a:pt x="2829" y="955"/>
                  <a:pt x="2825" y="955"/>
                  <a:pt x="2821" y="956"/>
                </a:cubicBezTo>
                <a:cubicBezTo>
                  <a:pt x="2817" y="951"/>
                  <a:pt x="2813" y="946"/>
                  <a:pt x="2805" y="946"/>
                </a:cubicBezTo>
                <a:cubicBezTo>
                  <a:pt x="2804" y="946"/>
                  <a:pt x="2802" y="946"/>
                  <a:pt x="2801" y="947"/>
                </a:cubicBezTo>
                <a:cubicBezTo>
                  <a:pt x="2794" y="949"/>
                  <a:pt x="2785" y="950"/>
                  <a:pt x="2776" y="953"/>
                </a:cubicBezTo>
                <a:cubicBezTo>
                  <a:pt x="2776" y="953"/>
                  <a:pt x="2776" y="952"/>
                  <a:pt x="2776" y="951"/>
                </a:cubicBezTo>
                <a:cubicBezTo>
                  <a:pt x="2776" y="950"/>
                  <a:pt x="2776" y="948"/>
                  <a:pt x="2775" y="947"/>
                </a:cubicBezTo>
                <a:cubicBezTo>
                  <a:pt x="2772" y="942"/>
                  <a:pt x="2767" y="941"/>
                  <a:pt x="2763" y="940"/>
                </a:cubicBezTo>
                <a:cubicBezTo>
                  <a:pt x="2758" y="939"/>
                  <a:pt x="2753" y="939"/>
                  <a:pt x="2747" y="939"/>
                </a:cubicBezTo>
                <a:cubicBezTo>
                  <a:pt x="2738" y="939"/>
                  <a:pt x="2729" y="940"/>
                  <a:pt x="2723" y="940"/>
                </a:cubicBezTo>
                <a:cubicBezTo>
                  <a:pt x="2711" y="940"/>
                  <a:pt x="2699" y="930"/>
                  <a:pt x="2685" y="926"/>
                </a:cubicBezTo>
                <a:cubicBezTo>
                  <a:pt x="2684" y="926"/>
                  <a:pt x="2682" y="925"/>
                  <a:pt x="2681" y="925"/>
                </a:cubicBezTo>
                <a:cubicBezTo>
                  <a:pt x="2673" y="926"/>
                  <a:pt x="2666" y="930"/>
                  <a:pt x="2659" y="936"/>
                </a:cubicBezTo>
                <a:cubicBezTo>
                  <a:pt x="2653" y="942"/>
                  <a:pt x="2647" y="949"/>
                  <a:pt x="2641" y="956"/>
                </a:cubicBezTo>
                <a:cubicBezTo>
                  <a:pt x="2637" y="960"/>
                  <a:pt x="2635" y="961"/>
                  <a:pt x="2633" y="961"/>
                </a:cubicBezTo>
                <a:cubicBezTo>
                  <a:pt x="2630" y="961"/>
                  <a:pt x="2624" y="958"/>
                  <a:pt x="2616" y="957"/>
                </a:cubicBezTo>
                <a:cubicBezTo>
                  <a:pt x="2614" y="958"/>
                  <a:pt x="2606" y="954"/>
                  <a:pt x="2601" y="950"/>
                </a:cubicBezTo>
                <a:cubicBezTo>
                  <a:pt x="2595" y="945"/>
                  <a:pt x="2590" y="941"/>
                  <a:pt x="2590" y="941"/>
                </a:cubicBezTo>
                <a:cubicBezTo>
                  <a:pt x="2589" y="940"/>
                  <a:pt x="2589" y="940"/>
                  <a:pt x="2589" y="940"/>
                </a:cubicBezTo>
                <a:cubicBezTo>
                  <a:pt x="2589" y="940"/>
                  <a:pt x="2584" y="938"/>
                  <a:pt x="2577" y="935"/>
                </a:cubicBezTo>
                <a:cubicBezTo>
                  <a:pt x="2571" y="933"/>
                  <a:pt x="2564" y="930"/>
                  <a:pt x="2558" y="930"/>
                </a:cubicBezTo>
                <a:cubicBezTo>
                  <a:pt x="2558" y="930"/>
                  <a:pt x="2557" y="929"/>
                  <a:pt x="2554" y="928"/>
                </a:cubicBezTo>
                <a:cubicBezTo>
                  <a:pt x="2551" y="926"/>
                  <a:pt x="2546" y="922"/>
                  <a:pt x="2542" y="919"/>
                </a:cubicBezTo>
                <a:cubicBezTo>
                  <a:pt x="2540" y="917"/>
                  <a:pt x="2538" y="916"/>
                  <a:pt x="2537" y="915"/>
                </a:cubicBezTo>
                <a:cubicBezTo>
                  <a:pt x="2535" y="914"/>
                  <a:pt x="2533" y="912"/>
                  <a:pt x="2530" y="912"/>
                </a:cubicBezTo>
                <a:cubicBezTo>
                  <a:pt x="2530" y="912"/>
                  <a:pt x="2528" y="910"/>
                  <a:pt x="2526" y="909"/>
                </a:cubicBezTo>
                <a:cubicBezTo>
                  <a:pt x="2525" y="908"/>
                  <a:pt x="2524" y="906"/>
                  <a:pt x="2524" y="906"/>
                </a:cubicBezTo>
                <a:cubicBezTo>
                  <a:pt x="2524" y="906"/>
                  <a:pt x="2524" y="905"/>
                  <a:pt x="2525" y="905"/>
                </a:cubicBezTo>
                <a:cubicBezTo>
                  <a:pt x="2526" y="904"/>
                  <a:pt x="2528" y="904"/>
                  <a:pt x="2531" y="904"/>
                </a:cubicBezTo>
                <a:cubicBezTo>
                  <a:pt x="2533" y="904"/>
                  <a:pt x="2536" y="903"/>
                  <a:pt x="2538" y="901"/>
                </a:cubicBezTo>
                <a:cubicBezTo>
                  <a:pt x="2540" y="898"/>
                  <a:pt x="2541" y="895"/>
                  <a:pt x="2541" y="893"/>
                </a:cubicBezTo>
                <a:cubicBezTo>
                  <a:pt x="2540" y="888"/>
                  <a:pt x="2539" y="883"/>
                  <a:pt x="2537" y="874"/>
                </a:cubicBezTo>
                <a:cubicBezTo>
                  <a:pt x="2531" y="854"/>
                  <a:pt x="2518" y="846"/>
                  <a:pt x="2507" y="846"/>
                </a:cubicBezTo>
                <a:cubicBezTo>
                  <a:pt x="2500" y="846"/>
                  <a:pt x="2494" y="849"/>
                  <a:pt x="2490" y="851"/>
                </a:cubicBezTo>
                <a:cubicBezTo>
                  <a:pt x="2490" y="851"/>
                  <a:pt x="2490" y="851"/>
                  <a:pt x="2489" y="851"/>
                </a:cubicBezTo>
                <a:cubicBezTo>
                  <a:pt x="2482" y="852"/>
                  <a:pt x="2463" y="853"/>
                  <a:pt x="2447" y="853"/>
                </a:cubicBezTo>
                <a:cubicBezTo>
                  <a:pt x="2435" y="853"/>
                  <a:pt x="2425" y="853"/>
                  <a:pt x="2423" y="853"/>
                </a:cubicBezTo>
                <a:cubicBezTo>
                  <a:pt x="2419" y="853"/>
                  <a:pt x="2417" y="854"/>
                  <a:pt x="2413" y="855"/>
                </a:cubicBezTo>
                <a:cubicBezTo>
                  <a:pt x="2400" y="860"/>
                  <a:pt x="2380" y="868"/>
                  <a:pt x="2371" y="873"/>
                </a:cubicBezTo>
                <a:cubicBezTo>
                  <a:pt x="2362" y="878"/>
                  <a:pt x="2345" y="884"/>
                  <a:pt x="2338" y="888"/>
                </a:cubicBezTo>
                <a:cubicBezTo>
                  <a:pt x="2338" y="888"/>
                  <a:pt x="2338" y="888"/>
                  <a:pt x="2337" y="888"/>
                </a:cubicBezTo>
                <a:cubicBezTo>
                  <a:pt x="2334" y="888"/>
                  <a:pt x="2324" y="886"/>
                  <a:pt x="2315" y="886"/>
                </a:cubicBezTo>
                <a:cubicBezTo>
                  <a:pt x="2316" y="883"/>
                  <a:pt x="2317" y="881"/>
                  <a:pt x="2318" y="878"/>
                </a:cubicBezTo>
                <a:cubicBezTo>
                  <a:pt x="2319" y="877"/>
                  <a:pt x="2320" y="876"/>
                  <a:pt x="2320" y="875"/>
                </a:cubicBezTo>
                <a:cubicBezTo>
                  <a:pt x="2323" y="876"/>
                  <a:pt x="2325" y="876"/>
                  <a:pt x="2327" y="876"/>
                </a:cubicBezTo>
                <a:cubicBezTo>
                  <a:pt x="2336" y="876"/>
                  <a:pt x="2345" y="873"/>
                  <a:pt x="2352" y="872"/>
                </a:cubicBezTo>
                <a:cubicBezTo>
                  <a:pt x="2360" y="871"/>
                  <a:pt x="2365" y="865"/>
                  <a:pt x="2369" y="861"/>
                </a:cubicBezTo>
                <a:cubicBezTo>
                  <a:pt x="2373" y="856"/>
                  <a:pt x="2377" y="851"/>
                  <a:pt x="2381" y="849"/>
                </a:cubicBezTo>
                <a:cubicBezTo>
                  <a:pt x="2383" y="847"/>
                  <a:pt x="2385" y="846"/>
                  <a:pt x="2387" y="844"/>
                </a:cubicBezTo>
                <a:cubicBezTo>
                  <a:pt x="2388" y="843"/>
                  <a:pt x="2390" y="840"/>
                  <a:pt x="2390" y="837"/>
                </a:cubicBezTo>
                <a:cubicBezTo>
                  <a:pt x="2390" y="834"/>
                  <a:pt x="2388" y="832"/>
                  <a:pt x="2387" y="831"/>
                </a:cubicBezTo>
                <a:cubicBezTo>
                  <a:pt x="2386" y="829"/>
                  <a:pt x="2385" y="828"/>
                  <a:pt x="2384" y="826"/>
                </a:cubicBezTo>
                <a:cubicBezTo>
                  <a:pt x="2384" y="826"/>
                  <a:pt x="2384" y="826"/>
                  <a:pt x="2384" y="826"/>
                </a:cubicBezTo>
                <a:cubicBezTo>
                  <a:pt x="2384" y="825"/>
                  <a:pt x="2386" y="822"/>
                  <a:pt x="2390" y="818"/>
                </a:cubicBezTo>
                <a:cubicBezTo>
                  <a:pt x="2393" y="814"/>
                  <a:pt x="2398" y="809"/>
                  <a:pt x="2402" y="805"/>
                </a:cubicBezTo>
                <a:cubicBezTo>
                  <a:pt x="2404" y="802"/>
                  <a:pt x="2407" y="802"/>
                  <a:pt x="2413" y="801"/>
                </a:cubicBezTo>
                <a:cubicBezTo>
                  <a:pt x="2416" y="801"/>
                  <a:pt x="2419" y="801"/>
                  <a:pt x="2422" y="799"/>
                </a:cubicBezTo>
                <a:cubicBezTo>
                  <a:pt x="2425" y="798"/>
                  <a:pt x="2428" y="794"/>
                  <a:pt x="2429" y="790"/>
                </a:cubicBezTo>
                <a:cubicBezTo>
                  <a:pt x="2431" y="784"/>
                  <a:pt x="2432" y="777"/>
                  <a:pt x="2434" y="772"/>
                </a:cubicBezTo>
                <a:cubicBezTo>
                  <a:pt x="2435" y="769"/>
                  <a:pt x="2436" y="767"/>
                  <a:pt x="2436" y="766"/>
                </a:cubicBezTo>
                <a:cubicBezTo>
                  <a:pt x="2437" y="766"/>
                  <a:pt x="2437" y="766"/>
                  <a:pt x="2437" y="766"/>
                </a:cubicBezTo>
                <a:cubicBezTo>
                  <a:pt x="2445" y="767"/>
                  <a:pt x="2457" y="774"/>
                  <a:pt x="2467" y="774"/>
                </a:cubicBezTo>
                <a:cubicBezTo>
                  <a:pt x="2475" y="773"/>
                  <a:pt x="2481" y="769"/>
                  <a:pt x="2487" y="765"/>
                </a:cubicBezTo>
                <a:cubicBezTo>
                  <a:pt x="2493" y="761"/>
                  <a:pt x="2500" y="756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1" y="755"/>
                  <a:pt x="2502" y="755"/>
                  <a:pt x="2503" y="755"/>
                </a:cubicBezTo>
                <a:cubicBezTo>
                  <a:pt x="2506" y="755"/>
                  <a:pt x="2509" y="755"/>
                  <a:pt x="2511" y="757"/>
                </a:cubicBezTo>
                <a:cubicBezTo>
                  <a:pt x="2514" y="758"/>
                  <a:pt x="2515" y="760"/>
                  <a:pt x="2516" y="762"/>
                </a:cubicBezTo>
                <a:cubicBezTo>
                  <a:pt x="2517" y="771"/>
                  <a:pt x="2524" y="778"/>
                  <a:pt x="2530" y="784"/>
                </a:cubicBezTo>
                <a:cubicBezTo>
                  <a:pt x="2536" y="790"/>
                  <a:pt x="2542" y="795"/>
                  <a:pt x="2545" y="796"/>
                </a:cubicBezTo>
                <a:cubicBezTo>
                  <a:pt x="2548" y="798"/>
                  <a:pt x="2556" y="802"/>
                  <a:pt x="2565" y="805"/>
                </a:cubicBezTo>
                <a:cubicBezTo>
                  <a:pt x="2570" y="807"/>
                  <a:pt x="2574" y="809"/>
                  <a:pt x="2577" y="810"/>
                </a:cubicBezTo>
                <a:cubicBezTo>
                  <a:pt x="2580" y="812"/>
                  <a:pt x="2583" y="814"/>
                  <a:pt x="2583" y="814"/>
                </a:cubicBezTo>
                <a:cubicBezTo>
                  <a:pt x="2586" y="816"/>
                  <a:pt x="2593" y="828"/>
                  <a:pt x="2595" y="838"/>
                </a:cubicBezTo>
                <a:cubicBezTo>
                  <a:pt x="2597" y="845"/>
                  <a:pt x="2600" y="851"/>
                  <a:pt x="2607" y="851"/>
                </a:cubicBezTo>
                <a:cubicBezTo>
                  <a:pt x="2614" y="851"/>
                  <a:pt x="2618" y="845"/>
                  <a:pt x="2618" y="839"/>
                </a:cubicBezTo>
                <a:cubicBezTo>
                  <a:pt x="2619" y="838"/>
                  <a:pt x="2619" y="837"/>
                  <a:pt x="2619" y="836"/>
                </a:cubicBezTo>
                <a:cubicBezTo>
                  <a:pt x="2619" y="829"/>
                  <a:pt x="2617" y="822"/>
                  <a:pt x="2617" y="818"/>
                </a:cubicBezTo>
                <a:cubicBezTo>
                  <a:pt x="2617" y="818"/>
                  <a:pt x="2618" y="818"/>
                  <a:pt x="2618" y="818"/>
                </a:cubicBezTo>
                <a:cubicBezTo>
                  <a:pt x="2627" y="818"/>
                  <a:pt x="2635" y="815"/>
                  <a:pt x="2636" y="815"/>
                </a:cubicBezTo>
                <a:cubicBezTo>
                  <a:pt x="2637" y="814"/>
                  <a:pt x="2636" y="812"/>
                  <a:pt x="2640" y="810"/>
                </a:cubicBezTo>
                <a:cubicBezTo>
                  <a:pt x="2640" y="810"/>
                  <a:pt x="2640" y="810"/>
                  <a:pt x="2640" y="810"/>
                </a:cubicBezTo>
                <a:cubicBezTo>
                  <a:pt x="2644" y="820"/>
                  <a:pt x="2651" y="829"/>
                  <a:pt x="2653" y="833"/>
                </a:cubicBezTo>
                <a:cubicBezTo>
                  <a:pt x="2654" y="835"/>
                  <a:pt x="2658" y="844"/>
                  <a:pt x="2661" y="853"/>
                </a:cubicBezTo>
                <a:cubicBezTo>
                  <a:pt x="2665" y="862"/>
                  <a:pt x="2669" y="871"/>
                  <a:pt x="2671" y="875"/>
                </a:cubicBezTo>
                <a:cubicBezTo>
                  <a:pt x="2672" y="879"/>
                  <a:pt x="2677" y="881"/>
                  <a:pt x="2680" y="881"/>
                </a:cubicBezTo>
                <a:cubicBezTo>
                  <a:pt x="2689" y="881"/>
                  <a:pt x="2696" y="874"/>
                  <a:pt x="2701" y="870"/>
                </a:cubicBezTo>
                <a:cubicBezTo>
                  <a:pt x="2703" y="868"/>
                  <a:pt x="2706" y="866"/>
                  <a:pt x="2711" y="863"/>
                </a:cubicBezTo>
                <a:cubicBezTo>
                  <a:pt x="2715" y="860"/>
                  <a:pt x="2719" y="854"/>
                  <a:pt x="2720" y="847"/>
                </a:cubicBezTo>
                <a:cubicBezTo>
                  <a:pt x="2720" y="846"/>
                  <a:pt x="2720" y="846"/>
                  <a:pt x="2720" y="845"/>
                </a:cubicBezTo>
                <a:cubicBezTo>
                  <a:pt x="2720" y="837"/>
                  <a:pt x="2715" y="831"/>
                  <a:pt x="2710" y="827"/>
                </a:cubicBezTo>
                <a:cubicBezTo>
                  <a:pt x="2708" y="825"/>
                  <a:pt x="2705" y="823"/>
                  <a:pt x="2703" y="822"/>
                </a:cubicBezTo>
                <a:cubicBezTo>
                  <a:pt x="2704" y="821"/>
                  <a:pt x="2705" y="821"/>
                  <a:pt x="2707" y="820"/>
                </a:cubicBezTo>
                <a:cubicBezTo>
                  <a:pt x="2710" y="818"/>
                  <a:pt x="2714" y="816"/>
                  <a:pt x="2717" y="814"/>
                </a:cubicBezTo>
                <a:cubicBezTo>
                  <a:pt x="2720" y="810"/>
                  <a:pt x="2726" y="806"/>
                  <a:pt x="2728" y="805"/>
                </a:cubicBezTo>
                <a:cubicBezTo>
                  <a:pt x="2728" y="805"/>
                  <a:pt x="2728" y="805"/>
                  <a:pt x="2728" y="805"/>
                </a:cubicBezTo>
                <a:cubicBezTo>
                  <a:pt x="2729" y="806"/>
                  <a:pt x="2730" y="817"/>
                  <a:pt x="2730" y="827"/>
                </a:cubicBezTo>
                <a:cubicBezTo>
                  <a:pt x="2731" y="832"/>
                  <a:pt x="2731" y="837"/>
                  <a:pt x="2731" y="841"/>
                </a:cubicBezTo>
                <a:cubicBezTo>
                  <a:pt x="2731" y="845"/>
                  <a:pt x="2731" y="848"/>
                  <a:pt x="2732" y="851"/>
                </a:cubicBezTo>
                <a:cubicBezTo>
                  <a:pt x="2734" y="855"/>
                  <a:pt x="2737" y="857"/>
                  <a:pt x="2740" y="859"/>
                </a:cubicBezTo>
                <a:cubicBezTo>
                  <a:pt x="2744" y="862"/>
                  <a:pt x="2749" y="864"/>
                  <a:pt x="2754" y="867"/>
                </a:cubicBezTo>
                <a:cubicBezTo>
                  <a:pt x="2759" y="869"/>
                  <a:pt x="2763" y="873"/>
                  <a:pt x="2763" y="873"/>
                </a:cubicBezTo>
                <a:cubicBezTo>
                  <a:pt x="2769" y="881"/>
                  <a:pt x="2779" y="883"/>
                  <a:pt x="2788" y="883"/>
                </a:cubicBezTo>
                <a:cubicBezTo>
                  <a:pt x="2792" y="883"/>
                  <a:pt x="2795" y="884"/>
                  <a:pt x="2799" y="880"/>
                </a:cubicBezTo>
                <a:cubicBezTo>
                  <a:pt x="2799" y="880"/>
                  <a:pt x="2799" y="880"/>
                  <a:pt x="2800" y="880"/>
                </a:cubicBezTo>
                <a:cubicBezTo>
                  <a:pt x="2804" y="880"/>
                  <a:pt x="2816" y="884"/>
                  <a:pt x="2820" y="885"/>
                </a:cubicBezTo>
                <a:cubicBezTo>
                  <a:pt x="2822" y="886"/>
                  <a:pt x="2823" y="886"/>
                  <a:pt x="2824" y="886"/>
                </a:cubicBezTo>
                <a:cubicBezTo>
                  <a:pt x="2832" y="886"/>
                  <a:pt x="2843" y="882"/>
                  <a:pt x="2851" y="880"/>
                </a:cubicBezTo>
                <a:cubicBezTo>
                  <a:pt x="2855" y="878"/>
                  <a:pt x="2859" y="877"/>
                  <a:pt x="2861" y="876"/>
                </a:cubicBezTo>
                <a:cubicBezTo>
                  <a:pt x="2861" y="877"/>
                  <a:pt x="2861" y="877"/>
                  <a:pt x="2861" y="878"/>
                </a:cubicBezTo>
                <a:cubicBezTo>
                  <a:pt x="2861" y="879"/>
                  <a:pt x="2861" y="880"/>
                  <a:pt x="2861" y="881"/>
                </a:cubicBezTo>
                <a:cubicBezTo>
                  <a:pt x="2860" y="898"/>
                  <a:pt x="2856" y="925"/>
                  <a:pt x="2846" y="936"/>
                </a:cubicBezTo>
                <a:cubicBezTo>
                  <a:pt x="2840" y="944"/>
                  <a:pt x="2837" y="950"/>
                  <a:pt x="2836" y="953"/>
                </a:cubicBezTo>
                <a:close/>
                <a:moveTo>
                  <a:pt x="2953" y="1233"/>
                </a:moveTo>
                <a:cubicBezTo>
                  <a:pt x="2950" y="1230"/>
                  <a:pt x="2948" y="1227"/>
                  <a:pt x="2944" y="1225"/>
                </a:cubicBezTo>
                <a:cubicBezTo>
                  <a:pt x="2944" y="1225"/>
                  <a:pt x="2944" y="1225"/>
                  <a:pt x="2944" y="1225"/>
                </a:cubicBezTo>
                <a:cubicBezTo>
                  <a:pt x="2944" y="1225"/>
                  <a:pt x="2939" y="1220"/>
                  <a:pt x="2935" y="1215"/>
                </a:cubicBezTo>
                <a:cubicBezTo>
                  <a:pt x="2931" y="1209"/>
                  <a:pt x="2926" y="1202"/>
                  <a:pt x="2924" y="1195"/>
                </a:cubicBezTo>
                <a:cubicBezTo>
                  <a:pt x="2918" y="1178"/>
                  <a:pt x="2910" y="1157"/>
                  <a:pt x="2900" y="1143"/>
                </a:cubicBezTo>
                <a:cubicBezTo>
                  <a:pt x="2892" y="1133"/>
                  <a:pt x="2886" y="1104"/>
                  <a:pt x="2877" y="1084"/>
                </a:cubicBezTo>
                <a:cubicBezTo>
                  <a:pt x="2868" y="1065"/>
                  <a:pt x="2860" y="1040"/>
                  <a:pt x="2852" y="1022"/>
                </a:cubicBezTo>
                <a:cubicBezTo>
                  <a:pt x="2851" y="1019"/>
                  <a:pt x="2850" y="1017"/>
                  <a:pt x="2848" y="1015"/>
                </a:cubicBezTo>
                <a:cubicBezTo>
                  <a:pt x="2853" y="1014"/>
                  <a:pt x="2858" y="1012"/>
                  <a:pt x="2861" y="1013"/>
                </a:cubicBezTo>
                <a:cubicBezTo>
                  <a:pt x="2862" y="1013"/>
                  <a:pt x="2862" y="1013"/>
                  <a:pt x="2862" y="1013"/>
                </a:cubicBezTo>
                <a:cubicBezTo>
                  <a:pt x="2866" y="1024"/>
                  <a:pt x="2877" y="1044"/>
                  <a:pt x="2879" y="1057"/>
                </a:cubicBezTo>
                <a:cubicBezTo>
                  <a:pt x="2880" y="1066"/>
                  <a:pt x="2887" y="1071"/>
                  <a:pt x="2890" y="1073"/>
                </a:cubicBezTo>
                <a:cubicBezTo>
                  <a:pt x="2894" y="1076"/>
                  <a:pt x="2894" y="1075"/>
                  <a:pt x="2895" y="1080"/>
                </a:cubicBezTo>
                <a:cubicBezTo>
                  <a:pt x="2896" y="1088"/>
                  <a:pt x="2899" y="1100"/>
                  <a:pt x="2903" y="1110"/>
                </a:cubicBezTo>
                <a:cubicBezTo>
                  <a:pt x="2905" y="1116"/>
                  <a:pt x="2907" y="1121"/>
                  <a:pt x="2909" y="1125"/>
                </a:cubicBezTo>
                <a:cubicBezTo>
                  <a:pt x="2911" y="1129"/>
                  <a:pt x="2912" y="1132"/>
                  <a:pt x="2915" y="1135"/>
                </a:cubicBezTo>
                <a:cubicBezTo>
                  <a:pt x="2916" y="1137"/>
                  <a:pt x="2923" y="1143"/>
                  <a:pt x="2929" y="1150"/>
                </a:cubicBezTo>
                <a:cubicBezTo>
                  <a:pt x="2935" y="1157"/>
                  <a:pt x="2941" y="1165"/>
                  <a:pt x="2942" y="1167"/>
                </a:cubicBezTo>
                <a:cubicBezTo>
                  <a:pt x="2945" y="1175"/>
                  <a:pt x="2949" y="1186"/>
                  <a:pt x="2953" y="1206"/>
                </a:cubicBezTo>
                <a:cubicBezTo>
                  <a:pt x="2955" y="1216"/>
                  <a:pt x="2956" y="1228"/>
                  <a:pt x="2959" y="1239"/>
                </a:cubicBezTo>
                <a:cubicBezTo>
                  <a:pt x="2959" y="1240"/>
                  <a:pt x="2959" y="1242"/>
                  <a:pt x="2960" y="1243"/>
                </a:cubicBezTo>
                <a:cubicBezTo>
                  <a:pt x="2958" y="1239"/>
                  <a:pt x="2955" y="1236"/>
                  <a:pt x="2953" y="1233"/>
                </a:cubicBezTo>
                <a:close/>
                <a:moveTo>
                  <a:pt x="3061" y="753"/>
                </a:moveTo>
                <a:cubicBezTo>
                  <a:pt x="3062" y="756"/>
                  <a:pt x="3066" y="758"/>
                  <a:pt x="3068" y="758"/>
                </a:cubicBezTo>
                <a:cubicBezTo>
                  <a:pt x="3071" y="757"/>
                  <a:pt x="3072" y="757"/>
                  <a:pt x="3073" y="757"/>
                </a:cubicBezTo>
                <a:cubicBezTo>
                  <a:pt x="3073" y="757"/>
                  <a:pt x="3073" y="757"/>
                  <a:pt x="3074" y="757"/>
                </a:cubicBezTo>
                <a:cubicBezTo>
                  <a:pt x="3079" y="761"/>
                  <a:pt x="3081" y="768"/>
                  <a:pt x="3086" y="778"/>
                </a:cubicBezTo>
                <a:cubicBezTo>
                  <a:pt x="3089" y="784"/>
                  <a:pt x="3094" y="786"/>
                  <a:pt x="3098" y="787"/>
                </a:cubicBezTo>
                <a:cubicBezTo>
                  <a:pt x="3101" y="788"/>
                  <a:pt x="3103" y="789"/>
                  <a:pt x="3104" y="790"/>
                </a:cubicBezTo>
                <a:cubicBezTo>
                  <a:pt x="3103" y="791"/>
                  <a:pt x="3102" y="793"/>
                  <a:pt x="3100" y="795"/>
                </a:cubicBezTo>
                <a:cubicBezTo>
                  <a:pt x="3098" y="797"/>
                  <a:pt x="3095" y="800"/>
                  <a:pt x="3094" y="806"/>
                </a:cubicBezTo>
                <a:cubicBezTo>
                  <a:pt x="3094" y="809"/>
                  <a:pt x="3096" y="813"/>
                  <a:pt x="3099" y="815"/>
                </a:cubicBezTo>
                <a:cubicBezTo>
                  <a:pt x="3101" y="817"/>
                  <a:pt x="3105" y="827"/>
                  <a:pt x="3107" y="837"/>
                </a:cubicBezTo>
                <a:cubicBezTo>
                  <a:pt x="3109" y="846"/>
                  <a:pt x="3111" y="855"/>
                  <a:pt x="3111" y="860"/>
                </a:cubicBezTo>
                <a:cubicBezTo>
                  <a:pt x="3110" y="861"/>
                  <a:pt x="3107" y="863"/>
                  <a:pt x="3103" y="863"/>
                </a:cubicBezTo>
                <a:cubicBezTo>
                  <a:pt x="3098" y="865"/>
                  <a:pt x="3092" y="865"/>
                  <a:pt x="3088" y="865"/>
                </a:cubicBezTo>
                <a:cubicBezTo>
                  <a:pt x="3087" y="865"/>
                  <a:pt x="3086" y="865"/>
                  <a:pt x="3085" y="865"/>
                </a:cubicBezTo>
                <a:cubicBezTo>
                  <a:pt x="3079" y="864"/>
                  <a:pt x="3055" y="855"/>
                  <a:pt x="3046" y="852"/>
                </a:cubicBezTo>
                <a:cubicBezTo>
                  <a:pt x="3045" y="851"/>
                  <a:pt x="3041" y="840"/>
                  <a:pt x="3042" y="833"/>
                </a:cubicBezTo>
                <a:cubicBezTo>
                  <a:pt x="3042" y="831"/>
                  <a:pt x="3042" y="829"/>
                  <a:pt x="3042" y="828"/>
                </a:cubicBezTo>
                <a:cubicBezTo>
                  <a:pt x="3043" y="828"/>
                  <a:pt x="3044" y="828"/>
                  <a:pt x="3045" y="828"/>
                </a:cubicBezTo>
                <a:cubicBezTo>
                  <a:pt x="3050" y="828"/>
                  <a:pt x="3055" y="826"/>
                  <a:pt x="3058" y="823"/>
                </a:cubicBezTo>
                <a:cubicBezTo>
                  <a:pt x="3062" y="820"/>
                  <a:pt x="3065" y="816"/>
                  <a:pt x="3070" y="811"/>
                </a:cubicBezTo>
                <a:cubicBezTo>
                  <a:pt x="3073" y="808"/>
                  <a:pt x="3075" y="805"/>
                  <a:pt x="3075" y="801"/>
                </a:cubicBezTo>
                <a:cubicBezTo>
                  <a:pt x="3074" y="796"/>
                  <a:pt x="3072" y="793"/>
                  <a:pt x="3069" y="790"/>
                </a:cubicBezTo>
                <a:cubicBezTo>
                  <a:pt x="3060" y="784"/>
                  <a:pt x="3047" y="782"/>
                  <a:pt x="3042" y="780"/>
                </a:cubicBezTo>
                <a:cubicBezTo>
                  <a:pt x="3042" y="780"/>
                  <a:pt x="3042" y="780"/>
                  <a:pt x="3042" y="780"/>
                </a:cubicBezTo>
                <a:cubicBezTo>
                  <a:pt x="3040" y="779"/>
                  <a:pt x="3034" y="770"/>
                  <a:pt x="3029" y="762"/>
                </a:cubicBezTo>
                <a:cubicBezTo>
                  <a:pt x="3023" y="754"/>
                  <a:pt x="3019" y="745"/>
                  <a:pt x="3016" y="740"/>
                </a:cubicBezTo>
                <a:cubicBezTo>
                  <a:pt x="3015" y="738"/>
                  <a:pt x="3014" y="736"/>
                  <a:pt x="3014" y="734"/>
                </a:cubicBezTo>
                <a:cubicBezTo>
                  <a:pt x="3014" y="728"/>
                  <a:pt x="3018" y="719"/>
                  <a:pt x="3027" y="712"/>
                </a:cubicBezTo>
                <a:cubicBezTo>
                  <a:pt x="3027" y="712"/>
                  <a:pt x="3027" y="712"/>
                  <a:pt x="3027" y="712"/>
                </a:cubicBezTo>
                <a:cubicBezTo>
                  <a:pt x="3027" y="712"/>
                  <a:pt x="3028" y="712"/>
                  <a:pt x="3028" y="712"/>
                </a:cubicBezTo>
                <a:cubicBezTo>
                  <a:pt x="3032" y="712"/>
                  <a:pt x="3041" y="715"/>
                  <a:pt x="3050" y="715"/>
                </a:cubicBezTo>
                <a:cubicBezTo>
                  <a:pt x="3054" y="715"/>
                  <a:pt x="3058" y="715"/>
                  <a:pt x="3061" y="712"/>
                </a:cubicBezTo>
                <a:cubicBezTo>
                  <a:pt x="3070" y="705"/>
                  <a:pt x="3079" y="698"/>
                  <a:pt x="3083" y="695"/>
                </a:cubicBezTo>
                <a:cubicBezTo>
                  <a:pt x="3085" y="695"/>
                  <a:pt x="3090" y="696"/>
                  <a:pt x="3095" y="698"/>
                </a:cubicBezTo>
                <a:cubicBezTo>
                  <a:pt x="3100" y="700"/>
                  <a:pt x="3104" y="703"/>
                  <a:pt x="3104" y="704"/>
                </a:cubicBezTo>
                <a:cubicBezTo>
                  <a:pt x="3106" y="709"/>
                  <a:pt x="3110" y="713"/>
                  <a:pt x="3113" y="717"/>
                </a:cubicBezTo>
                <a:cubicBezTo>
                  <a:pt x="3114" y="719"/>
                  <a:pt x="3115" y="721"/>
                  <a:pt x="3116" y="722"/>
                </a:cubicBezTo>
                <a:cubicBezTo>
                  <a:pt x="3116" y="723"/>
                  <a:pt x="3116" y="723"/>
                  <a:pt x="3116" y="723"/>
                </a:cubicBezTo>
                <a:cubicBezTo>
                  <a:pt x="3114" y="724"/>
                  <a:pt x="3108" y="725"/>
                  <a:pt x="3104" y="725"/>
                </a:cubicBezTo>
                <a:cubicBezTo>
                  <a:pt x="3099" y="725"/>
                  <a:pt x="3095" y="724"/>
                  <a:pt x="3095" y="723"/>
                </a:cubicBezTo>
                <a:cubicBezTo>
                  <a:pt x="3092" y="719"/>
                  <a:pt x="3087" y="717"/>
                  <a:pt x="3083" y="717"/>
                </a:cubicBezTo>
                <a:cubicBezTo>
                  <a:pt x="3072" y="718"/>
                  <a:pt x="3061" y="728"/>
                  <a:pt x="3060" y="743"/>
                </a:cubicBezTo>
                <a:cubicBezTo>
                  <a:pt x="3060" y="744"/>
                  <a:pt x="3060" y="745"/>
                  <a:pt x="3060" y="746"/>
                </a:cubicBezTo>
                <a:cubicBezTo>
                  <a:pt x="3060" y="749"/>
                  <a:pt x="3060" y="751"/>
                  <a:pt x="3061" y="753"/>
                </a:cubicBezTo>
                <a:close/>
                <a:moveTo>
                  <a:pt x="3441" y="353"/>
                </a:moveTo>
                <a:cubicBezTo>
                  <a:pt x="3437" y="354"/>
                  <a:pt x="3434" y="355"/>
                  <a:pt x="3431" y="355"/>
                </a:cubicBezTo>
                <a:cubicBezTo>
                  <a:pt x="3426" y="355"/>
                  <a:pt x="3423" y="353"/>
                  <a:pt x="3423" y="351"/>
                </a:cubicBezTo>
                <a:cubicBezTo>
                  <a:pt x="3421" y="346"/>
                  <a:pt x="3416" y="341"/>
                  <a:pt x="3411" y="340"/>
                </a:cubicBezTo>
                <a:cubicBezTo>
                  <a:pt x="3412" y="340"/>
                  <a:pt x="3413" y="340"/>
                  <a:pt x="3414" y="339"/>
                </a:cubicBezTo>
                <a:cubicBezTo>
                  <a:pt x="3420" y="338"/>
                  <a:pt x="3428" y="335"/>
                  <a:pt x="3433" y="335"/>
                </a:cubicBezTo>
                <a:cubicBezTo>
                  <a:pt x="3435" y="335"/>
                  <a:pt x="3436" y="336"/>
                  <a:pt x="3436" y="336"/>
                </a:cubicBezTo>
                <a:cubicBezTo>
                  <a:pt x="3436" y="336"/>
                  <a:pt x="3436" y="335"/>
                  <a:pt x="3436" y="337"/>
                </a:cubicBezTo>
                <a:cubicBezTo>
                  <a:pt x="3437" y="342"/>
                  <a:pt x="3439" y="346"/>
                  <a:pt x="3440" y="349"/>
                </a:cubicBezTo>
                <a:cubicBezTo>
                  <a:pt x="3441" y="350"/>
                  <a:pt x="3441" y="352"/>
                  <a:pt x="3442" y="352"/>
                </a:cubicBezTo>
                <a:cubicBezTo>
                  <a:pt x="3441" y="353"/>
                  <a:pt x="3441" y="353"/>
                  <a:pt x="3441" y="353"/>
                </a:cubicBezTo>
                <a:close/>
                <a:moveTo>
                  <a:pt x="3513" y="323"/>
                </a:moveTo>
                <a:cubicBezTo>
                  <a:pt x="3513" y="323"/>
                  <a:pt x="3513" y="323"/>
                  <a:pt x="3513" y="323"/>
                </a:cubicBezTo>
                <a:cubicBezTo>
                  <a:pt x="3512" y="324"/>
                  <a:pt x="3511" y="324"/>
                  <a:pt x="3511" y="324"/>
                </a:cubicBezTo>
                <a:cubicBezTo>
                  <a:pt x="3509" y="324"/>
                  <a:pt x="3508" y="324"/>
                  <a:pt x="3507" y="318"/>
                </a:cubicBezTo>
                <a:cubicBezTo>
                  <a:pt x="3506" y="312"/>
                  <a:pt x="3506" y="307"/>
                  <a:pt x="3502" y="302"/>
                </a:cubicBezTo>
                <a:cubicBezTo>
                  <a:pt x="3500" y="300"/>
                  <a:pt x="3498" y="299"/>
                  <a:pt x="3496" y="297"/>
                </a:cubicBezTo>
                <a:cubicBezTo>
                  <a:pt x="3499" y="299"/>
                  <a:pt x="3503" y="301"/>
                  <a:pt x="3505" y="302"/>
                </a:cubicBezTo>
                <a:cubicBezTo>
                  <a:pt x="3507" y="303"/>
                  <a:pt x="3507" y="304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12" y="307"/>
                  <a:pt x="3513" y="316"/>
                  <a:pt x="3513" y="320"/>
                </a:cubicBezTo>
                <a:cubicBezTo>
                  <a:pt x="3513" y="322"/>
                  <a:pt x="3513" y="323"/>
                  <a:pt x="3513" y="323"/>
                </a:cubicBezTo>
                <a:close/>
                <a:moveTo>
                  <a:pt x="2502" y="789"/>
                </a:moveTo>
                <a:cubicBezTo>
                  <a:pt x="2495" y="789"/>
                  <a:pt x="2491" y="794"/>
                  <a:pt x="2488" y="798"/>
                </a:cubicBezTo>
                <a:cubicBezTo>
                  <a:pt x="2485" y="803"/>
                  <a:pt x="2484" y="808"/>
                  <a:pt x="2484" y="814"/>
                </a:cubicBezTo>
                <a:cubicBezTo>
                  <a:pt x="2484" y="818"/>
                  <a:pt x="2485" y="823"/>
                  <a:pt x="2488" y="827"/>
                </a:cubicBezTo>
                <a:cubicBezTo>
                  <a:pt x="2492" y="831"/>
                  <a:pt x="2496" y="833"/>
                  <a:pt x="2501" y="833"/>
                </a:cubicBezTo>
                <a:cubicBezTo>
                  <a:pt x="2508" y="833"/>
                  <a:pt x="2514" y="828"/>
                  <a:pt x="2517" y="822"/>
                </a:cubicBezTo>
                <a:cubicBezTo>
                  <a:pt x="2512" y="819"/>
                  <a:pt x="2512" y="819"/>
                  <a:pt x="2512" y="819"/>
                </a:cubicBezTo>
                <a:cubicBezTo>
                  <a:pt x="2517" y="822"/>
                  <a:pt x="2517" y="822"/>
                  <a:pt x="2517" y="822"/>
                </a:cubicBezTo>
                <a:cubicBezTo>
                  <a:pt x="2519" y="819"/>
                  <a:pt x="2520" y="816"/>
                  <a:pt x="2520" y="812"/>
                </a:cubicBezTo>
                <a:cubicBezTo>
                  <a:pt x="2520" y="806"/>
                  <a:pt x="2518" y="801"/>
                  <a:pt x="2515" y="797"/>
                </a:cubicBezTo>
                <a:cubicBezTo>
                  <a:pt x="2511" y="793"/>
                  <a:pt x="2508" y="790"/>
                  <a:pt x="2502" y="789"/>
                </a:cubicBezTo>
                <a:close/>
                <a:moveTo>
                  <a:pt x="2028" y="279"/>
                </a:moveTo>
                <a:cubicBezTo>
                  <a:pt x="2029" y="279"/>
                  <a:pt x="2030" y="279"/>
                  <a:pt x="2031" y="279"/>
                </a:cubicBezTo>
                <a:cubicBezTo>
                  <a:pt x="2037" y="279"/>
                  <a:pt x="2045" y="280"/>
                  <a:pt x="2051" y="280"/>
                </a:cubicBezTo>
                <a:cubicBezTo>
                  <a:pt x="2055" y="280"/>
                  <a:pt x="2058" y="280"/>
                  <a:pt x="2062" y="278"/>
                </a:cubicBezTo>
                <a:cubicBezTo>
                  <a:pt x="2065" y="275"/>
                  <a:pt x="2067" y="271"/>
                  <a:pt x="2067" y="266"/>
                </a:cubicBezTo>
                <a:cubicBezTo>
                  <a:pt x="2067" y="266"/>
                  <a:pt x="2067" y="266"/>
                  <a:pt x="2067" y="265"/>
                </a:cubicBezTo>
                <a:cubicBezTo>
                  <a:pt x="2061" y="266"/>
                  <a:pt x="2061" y="266"/>
                  <a:pt x="2061" y="266"/>
                </a:cubicBezTo>
                <a:cubicBezTo>
                  <a:pt x="2067" y="265"/>
                  <a:pt x="2067" y="265"/>
                  <a:pt x="2067" y="265"/>
                </a:cubicBezTo>
                <a:cubicBezTo>
                  <a:pt x="2067" y="262"/>
                  <a:pt x="2067" y="259"/>
                  <a:pt x="2067" y="256"/>
                </a:cubicBezTo>
                <a:cubicBezTo>
                  <a:pt x="2067" y="245"/>
                  <a:pt x="2068" y="234"/>
                  <a:pt x="2071" y="230"/>
                </a:cubicBezTo>
                <a:cubicBezTo>
                  <a:pt x="2072" y="227"/>
                  <a:pt x="2074" y="225"/>
                  <a:pt x="2076" y="222"/>
                </a:cubicBezTo>
                <a:cubicBezTo>
                  <a:pt x="2078" y="220"/>
                  <a:pt x="2081" y="218"/>
                  <a:pt x="2081" y="212"/>
                </a:cubicBezTo>
                <a:cubicBezTo>
                  <a:pt x="2082" y="209"/>
                  <a:pt x="2079" y="206"/>
                  <a:pt x="2077" y="205"/>
                </a:cubicBezTo>
                <a:cubicBezTo>
                  <a:pt x="2074" y="204"/>
                  <a:pt x="2072" y="204"/>
                  <a:pt x="2070" y="204"/>
                </a:cubicBezTo>
                <a:cubicBezTo>
                  <a:pt x="2069" y="204"/>
                  <a:pt x="2068" y="204"/>
                  <a:pt x="2068" y="204"/>
                </a:cubicBezTo>
                <a:cubicBezTo>
                  <a:pt x="2066" y="204"/>
                  <a:pt x="2067" y="204"/>
                  <a:pt x="2066" y="204"/>
                </a:cubicBezTo>
                <a:cubicBezTo>
                  <a:pt x="2066" y="203"/>
                  <a:pt x="2065" y="202"/>
                  <a:pt x="2063" y="198"/>
                </a:cubicBezTo>
                <a:cubicBezTo>
                  <a:pt x="2063" y="196"/>
                  <a:pt x="2062" y="194"/>
                  <a:pt x="2062" y="193"/>
                </a:cubicBezTo>
                <a:cubicBezTo>
                  <a:pt x="2062" y="186"/>
                  <a:pt x="2067" y="179"/>
                  <a:pt x="2072" y="175"/>
                </a:cubicBezTo>
                <a:cubicBezTo>
                  <a:pt x="2075" y="172"/>
                  <a:pt x="2084" y="162"/>
                  <a:pt x="2094" y="152"/>
                </a:cubicBezTo>
                <a:cubicBezTo>
                  <a:pt x="2103" y="142"/>
                  <a:pt x="2115" y="132"/>
                  <a:pt x="2121" y="130"/>
                </a:cubicBezTo>
                <a:cubicBezTo>
                  <a:pt x="2135" y="125"/>
                  <a:pt x="2145" y="112"/>
                  <a:pt x="2146" y="100"/>
                </a:cubicBezTo>
                <a:cubicBezTo>
                  <a:pt x="2146" y="95"/>
                  <a:pt x="2143" y="89"/>
                  <a:pt x="2137" y="87"/>
                </a:cubicBezTo>
                <a:cubicBezTo>
                  <a:pt x="2131" y="84"/>
                  <a:pt x="2120" y="80"/>
                  <a:pt x="2108" y="80"/>
                </a:cubicBezTo>
                <a:cubicBezTo>
                  <a:pt x="2099" y="80"/>
                  <a:pt x="2090" y="83"/>
                  <a:pt x="2082" y="90"/>
                </a:cubicBezTo>
                <a:cubicBezTo>
                  <a:pt x="2076" y="97"/>
                  <a:pt x="2070" y="103"/>
                  <a:pt x="2066" y="107"/>
                </a:cubicBezTo>
                <a:cubicBezTo>
                  <a:pt x="2061" y="111"/>
                  <a:pt x="2057" y="113"/>
                  <a:pt x="2053" y="113"/>
                </a:cubicBezTo>
                <a:cubicBezTo>
                  <a:pt x="2051" y="113"/>
                  <a:pt x="2050" y="113"/>
                  <a:pt x="2048" y="113"/>
                </a:cubicBezTo>
                <a:cubicBezTo>
                  <a:pt x="2042" y="111"/>
                  <a:pt x="2039" y="106"/>
                  <a:pt x="2035" y="98"/>
                </a:cubicBezTo>
                <a:cubicBezTo>
                  <a:pt x="2031" y="90"/>
                  <a:pt x="2028" y="81"/>
                  <a:pt x="2022" y="73"/>
                </a:cubicBezTo>
                <a:cubicBezTo>
                  <a:pt x="2017" y="67"/>
                  <a:pt x="2015" y="55"/>
                  <a:pt x="2014" y="44"/>
                </a:cubicBezTo>
                <a:cubicBezTo>
                  <a:pt x="2013" y="39"/>
                  <a:pt x="2013" y="33"/>
                  <a:pt x="2011" y="29"/>
                </a:cubicBezTo>
                <a:cubicBezTo>
                  <a:pt x="2010" y="25"/>
                  <a:pt x="2005" y="19"/>
                  <a:pt x="1999" y="19"/>
                </a:cubicBezTo>
                <a:cubicBezTo>
                  <a:pt x="1998" y="19"/>
                  <a:pt x="1997" y="20"/>
                  <a:pt x="1996" y="20"/>
                </a:cubicBezTo>
                <a:cubicBezTo>
                  <a:pt x="1988" y="21"/>
                  <a:pt x="1984" y="22"/>
                  <a:pt x="1983" y="22"/>
                </a:cubicBezTo>
                <a:cubicBezTo>
                  <a:pt x="1980" y="22"/>
                  <a:pt x="1972" y="20"/>
                  <a:pt x="1964" y="20"/>
                </a:cubicBezTo>
                <a:cubicBezTo>
                  <a:pt x="1961" y="20"/>
                  <a:pt x="1957" y="21"/>
                  <a:pt x="1953" y="22"/>
                </a:cubicBezTo>
                <a:cubicBezTo>
                  <a:pt x="1948" y="23"/>
                  <a:pt x="1943" y="25"/>
                  <a:pt x="1940" y="27"/>
                </a:cubicBezTo>
                <a:cubicBezTo>
                  <a:pt x="1940" y="26"/>
                  <a:pt x="1940" y="26"/>
                  <a:pt x="1940" y="25"/>
                </a:cubicBezTo>
                <a:cubicBezTo>
                  <a:pt x="1939" y="19"/>
                  <a:pt x="1936" y="18"/>
                  <a:pt x="1934" y="16"/>
                </a:cubicBezTo>
                <a:cubicBezTo>
                  <a:pt x="1931" y="14"/>
                  <a:pt x="1928" y="13"/>
                  <a:pt x="1926" y="13"/>
                </a:cubicBezTo>
                <a:cubicBezTo>
                  <a:pt x="1909" y="11"/>
                  <a:pt x="1882" y="2"/>
                  <a:pt x="1859" y="1"/>
                </a:cubicBezTo>
                <a:cubicBezTo>
                  <a:pt x="1858" y="0"/>
                  <a:pt x="1857" y="0"/>
                  <a:pt x="1855" y="0"/>
                </a:cubicBezTo>
                <a:cubicBezTo>
                  <a:pt x="1839" y="1"/>
                  <a:pt x="1829" y="6"/>
                  <a:pt x="1815" y="6"/>
                </a:cubicBezTo>
                <a:cubicBezTo>
                  <a:pt x="1794" y="7"/>
                  <a:pt x="1767" y="5"/>
                  <a:pt x="1748" y="19"/>
                </a:cubicBezTo>
                <a:cubicBezTo>
                  <a:pt x="1741" y="24"/>
                  <a:pt x="1734" y="26"/>
                  <a:pt x="1727" y="28"/>
                </a:cubicBezTo>
                <a:cubicBezTo>
                  <a:pt x="1724" y="29"/>
                  <a:pt x="1721" y="30"/>
                  <a:pt x="1719" y="30"/>
                </a:cubicBezTo>
                <a:cubicBezTo>
                  <a:pt x="1718" y="31"/>
                  <a:pt x="1717" y="31"/>
                  <a:pt x="1715" y="31"/>
                </a:cubicBezTo>
                <a:cubicBezTo>
                  <a:pt x="1714" y="32"/>
                  <a:pt x="1713" y="32"/>
                  <a:pt x="1711" y="34"/>
                </a:cubicBezTo>
                <a:cubicBezTo>
                  <a:pt x="1707" y="40"/>
                  <a:pt x="1703" y="48"/>
                  <a:pt x="1700" y="55"/>
                </a:cubicBezTo>
                <a:cubicBezTo>
                  <a:pt x="1698" y="58"/>
                  <a:pt x="1697" y="61"/>
                  <a:pt x="1695" y="63"/>
                </a:cubicBezTo>
                <a:cubicBezTo>
                  <a:pt x="1695" y="63"/>
                  <a:pt x="1695" y="63"/>
                  <a:pt x="1695" y="63"/>
                </a:cubicBezTo>
                <a:cubicBezTo>
                  <a:pt x="1694" y="61"/>
                  <a:pt x="1692" y="57"/>
                  <a:pt x="1690" y="54"/>
                </a:cubicBezTo>
                <a:cubicBezTo>
                  <a:pt x="1689" y="52"/>
                  <a:pt x="1688" y="49"/>
                  <a:pt x="1686" y="47"/>
                </a:cubicBezTo>
                <a:cubicBezTo>
                  <a:pt x="1685" y="45"/>
                  <a:pt x="1682" y="43"/>
                  <a:pt x="1678" y="43"/>
                </a:cubicBezTo>
                <a:cubicBezTo>
                  <a:pt x="1675" y="43"/>
                  <a:pt x="1673" y="44"/>
                  <a:pt x="1671" y="46"/>
                </a:cubicBezTo>
                <a:cubicBezTo>
                  <a:pt x="1663" y="52"/>
                  <a:pt x="1664" y="61"/>
                  <a:pt x="1664" y="68"/>
                </a:cubicBezTo>
                <a:cubicBezTo>
                  <a:pt x="1664" y="69"/>
                  <a:pt x="1664" y="69"/>
                  <a:pt x="1664" y="69"/>
                </a:cubicBezTo>
                <a:cubicBezTo>
                  <a:pt x="1664" y="76"/>
                  <a:pt x="1663" y="82"/>
                  <a:pt x="1660" y="86"/>
                </a:cubicBezTo>
                <a:cubicBezTo>
                  <a:pt x="1657" y="90"/>
                  <a:pt x="1649" y="93"/>
                  <a:pt x="1641" y="93"/>
                </a:cubicBezTo>
                <a:cubicBezTo>
                  <a:pt x="1635" y="93"/>
                  <a:pt x="1630" y="91"/>
                  <a:pt x="1629" y="90"/>
                </a:cubicBezTo>
                <a:cubicBezTo>
                  <a:pt x="1622" y="86"/>
                  <a:pt x="1614" y="82"/>
                  <a:pt x="1596" y="83"/>
                </a:cubicBezTo>
                <a:cubicBezTo>
                  <a:pt x="1592" y="83"/>
                  <a:pt x="1588" y="83"/>
                  <a:pt x="1583" y="83"/>
                </a:cubicBezTo>
                <a:cubicBezTo>
                  <a:pt x="1569" y="84"/>
                  <a:pt x="1555" y="87"/>
                  <a:pt x="1545" y="91"/>
                </a:cubicBezTo>
                <a:cubicBezTo>
                  <a:pt x="1539" y="93"/>
                  <a:pt x="1534" y="95"/>
                  <a:pt x="1531" y="98"/>
                </a:cubicBezTo>
                <a:cubicBezTo>
                  <a:pt x="1527" y="101"/>
                  <a:pt x="1523" y="105"/>
                  <a:pt x="1523" y="110"/>
                </a:cubicBezTo>
                <a:cubicBezTo>
                  <a:pt x="1523" y="112"/>
                  <a:pt x="1524" y="114"/>
                  <a:pt x="1525" y="116"/>
                </a:cubicBezTo>
                <a:cubicBezTo>
                  <a:pt x="1525" y="117"/>
                  <a:pt x="1525" y="117"/>
                  <a:pt x="1525" y="117"/>
                </a:cubicBezTo>
                <a:cubicBezTo>
                  <a:pt x="1525" y="118"/>
                  <a:pt x="1525" y="118"/>
                  <a:pt x="1524" y="119"/>
                </a:cubicBezTo>
                <a:cubicBezTo>
                  <a:pt x="1522" y="120"/>
                  <a:pt x="1520" y="121"/>
                  <a:pt x="1518" y="121"/>
                </a:cubicBezTo>
                <a:cubicBezTo>
                  <a:pt x="1518" y="121"/>
                  <a:pt x="1517" y="121"/>
                  <a:pt x="1517" y="121"/>
                </a:cubicBezTo>
                <a:cubicBezTo>
                  <a:pt x="1517" y="121"/>
                  <a:pt x="1517" y="121"/>
                  <a:pt x="1517" y="121"/>
                </a:cubicBezTo>
                <a:cubicBezTo>
                  <a:pt x="1515" y="118"/>
                  <a:pt x="1511" y="118"/>
                  <a:pt x="1509" y="118"/>
                </a:cubicBezTo>
                <a:cubicBezTo>
                  <a:pt x="1503" y="118"/>
                  <a:pt x="1497" y="120"/>
                  <a:pt x="1491" y="124"/>
                </a:cubicBezTo>
                <a:cubicBezTo>
                  <a:pt x="1486" y="128"/>
                  <a:pt x="1481" y="134"/>
                  <a:pt x="1481" y="141"/>
                </a:cubicBezTo>
                <a:cubicBezTo>
                  <a:pt x="1481" y="142"/>
                  <a:pt x="1481" y="143"/>
                  <a:pt x="1481" y="143"/>
                </a:cubicBezTo>
                <a:cubicBezTo>
                  <a:pt x="1481" y="144"/>
                  <a:pt x="1481" y="145"/>
                  <a:pt x="1481" y="146"/>
                </a:cubicBezTo>
                <a:cubicBezTo>
                  <a:pt x="1481" y="150"/>
                  <a:pt x="1480" y="153"/>
                  <a:pt x="1479" y="155"/>
                </a:cubicBezTo>
                <a:cubicBezTo>
                  <a:pt x="1477" y="157"/>
                  <a:pt x="1476" y="158"/>
                  <a:pt x="1475" y="158"/>
                </a:cubicBezTo>
                <a:cubicBezTo>
                  <a:pt x="1474" y="158"/>
                  <a:pt x="1473" y="158"/>
                  <a:pt x="1473" y="158"/>
                </a:cubicBezTo>
                <a:cubicBezTo>
                  <a:pt x="1471" y="157"/>
                  <a:pt x="1469" y="157"/>
                  <a:pt x="1467" y="157"/>
                </a:cubicBezTo>
                <a:cubicBezTo>
                  <a:pt x="1454" y="157"/>
                  <a:pt x="1445" y="168"/>
                  <a:pt x="1444" y="179"/>
                </a:cubicBezTo>
                <a:cubicBezTo>
                  <a:pt x="1444" y="180"/>
                  <a:pt x="1438" y="183"/>
                  <a:pt x="1433" y="185"/>
                </a:cubicBezTo>
                <a:cubicBezTo>
                  <a:pt x="1430" y="186"/>
                  <a:pt x="1427" y="187"/>
                  <a:pt x="1424" y="188"/>
                </a:cubicBezTo>
                <a:cubicBezTo>
                  <a:pt x="1423" y="188"/>
                  <a:pt x="1422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0" y="188"/>
                  <a:pt x="1419" y="188"/>
                  <a:pt x="1418" y="188"/>
                </a:cubicBezTo>
                <a:cubicBezTo>
                  <a:pt x="1415" y="188"/>
                  <a:pt x="1409" y="188"/>
                  <a:pt x="1403" y="189"/>
                </a:cubicBezTo>
                <a:cubicBezTo>
                  <a:pt x="1400" y="190"/>
                  <a:pt x="1397" y="191"/>
                  <a:pt x="1394" y="192"/>
                </a:cubicBezTo>
                <a:cubicBezTo>
                  <a:pt x="1392" y="193"/>
                  <a:pt x="1388" y="195"/>
                  <a:pt x="1388" y="201"/>
                </a:cubicBezTo>
                <a:cubicBezTo>
                  <a:pt x="1388" y="205"/>
                  <a:pt x="1391" y="207"/>
                  <a:pt x="1393" y="209"/>
                </a:cubicBezTo>
                <a:cubicBezTo>
                  <a:pt x="1399" y="215"/>
                  <a:pt x="1405" y="216"/>
                  <a:pt x="1410" y="215"/>
                </a:cubicBezTo>
                <a:cubicBezTo>
                  <a:pt x="1411" y="215"/>
                  <a:pt x="1411" y="215"/>
                  <a:pt x="1412" y="215"/>
                </a:cubicBezTo>
                <a:cubicBezTo>
                  <a:pt x="1414" y="215"/>
                  <a:pt x="1416" y="216"/>
                  <a:pt x="1419" y="216"/>
                </a:cubicBezTo>
                <a:cubicBezTo>
                  <a:pt x="1421" y="217"/>
                  <a:pt x="1426" y="221"/>
                  <a:pt x="1430" y="227"/>
                </a:cubicBezTo>
                <a:cubicBezTo>
                  <a:pt x="1434" y="232"/>
                  <a:pt x="1437" y="238"/>
                  <a:pt x="1443" y="242"/>
                </a:cubicBezTo>
                <a:cubicBezTo>
                  <a:pt x="1445" y="243"/>
                  <a:pt x="1448" y="243"/>
                  <a:pt x="1450" y="243"/>
                </a:cubicBezTo>
                <a:cubicBezTo>
                  <a:pt x="1457" y="243"/>
                  <a:pt x="1464" y="240"/>
                  <a:pt x="1467" y="234"/>
                </a:cubicBezTo>
                <a:cubicBezTo>
                  <a:pt x="1468" y="232"/>
                  <a:pt x="1469" y="230"/>
                  <a:pt x="1470" y="228"/>
                </a:cubicBezTo>
                <a:cubicBezTo>
                  <a:pt x="1472" y="230"/>
                  <a:pt x="1474" y="232"/>
                  <a:pt x="1477" y="233"/>
                </a:cubicBezTo>
                <a:cubicBezTo>
                  <a:pt x="1480" y="235"/>
                  <a:pt x="1483" y="235"/>
                  <a:pt x="1486" y="235"/>
                </a:cubicBezTo>
                <a:cubicBezTo>
                  <a:pt x="1496" y="235"/>
                  <a:pt x="1509" y="232"/>
                  <a:pt x="1513" y="232"/>
                </a:cubicBezTo>
                <a:cubicBezTo>
                  <a:pt x="1513" y="232"/>
                  <a:pt x="1513" y="232"/>
                  <a:pt x="1513" y="232"/>
                </a:cubicBezTo>
                <a:cubicBezTo>
                  <a:pt x="1516" y="232"/>
                  <a:pt x="1525" y="234"/>
                  <a:pt x="1535" y="236"/>
                </a:cubicBezTo>
                <a:cubicBezTo>
                  <a:pt x="1545" y="238"/>
                  <a:pt x="1556" y="241"/>
                  <a:pt x="1559" y="243"/>
                </a:cubicBezTo>
                <a:cubicBezTo>
                  <a:pt x="1565" y="247"/>
                  <a:pt x="1572" y="249"/>
                  <a:pt x="1580" y="252"/>
                </a:cubicBezTo>
                <a:cubicBezTo>
                  <a:pt x="1587" y="255"/>
                  <a:pt x="1593" y="258"/>
                  <a:pt x="1594" y="262"/>
                </a:cubicBezTo>
                <a:cubicBezTo>
                  <a:pt x="1597" y="266"/>
                  <a:pt x="1599" y="279"/>
                  <a:pt x="1600" y="292"/>
                </a:cubicBezTo>
                <a:cubicBezTo>
                  <a:pt x="1601" y="298"/>
                  <a:pt x="1601" y="304"/>
                  <a:pt x="1602" y="309"/>
                </a:cubicBezTo>
                <a:cubicBezTo>
                  <a:pt x="1603" y="314"/>
                  <a:pt x="1603" y="317"/>
                  <a:pt x="1605" y="321"/>
                </a:cubicBezTo>
                <a:cubicBezTo>
                  <a:pt x="1607" y="322"/>
                  <a:pt x="1609" y="324"/>
                  <a:pt x="1612" y="324"/>
                </a:cubicBezTo>
                <a:cubicBezTo>
                  <a:pt x="1612" y="324"/>
                  <a:pt x="1613" y="324"/>
                  <a:pt x="1614" y="323"/>
                </a:cubicBezTo>
                <a:cubicBezTo>
                  <a:pt x="1613" y="327"/>
                  <a:pt x="1612" y="331"/>
                  <a:pt x="1612" y="334"/>
                </a:cubicBezTo>
                <a:cubicBezTo>
                  <a:pt x="1612" y="339"/>
                  <a:pt x="1613" y="343"/>
                  <a:pt x="1615" y="347"/>
                </a:cubicBezTo>
                <a:cubicBezTo>
                  <a:pt x="1617" y="350"/>
                  <a:pt x="1619" y="354"/>
                  <a:pt x="1625" y="354"/>
                </a:cubicBezTo>
                <a:cubicBezTo>
                  <a:pt x="1627" y="354"/>
                  <a:pt x="1630" y="354"/>
                  <a:pt x="1633" y="355"/>
                </a:cubicBezTo>
                <a:cubicBezTo>
                  <a:pt x="1632" y="356"/>
                  <a:pt x="1630" y="358"/>
                  <a:pt x="1629" y="360"/>
                </a:cubicBezTo>
                <a:cubicBezTo>
                  <a:pt x="1627" y="364"/>
                  <a:pt x="1624" y="367"/>
                  <a:pt x="1624" y="373"/>
                </a:cubicBezTo>
                <a:cubicBezTo>
                  <a:pt x="1624" y="373"/>
                  <a:pt x="1624" y="373"/>
                  <a:pt x="1624" y="374"/>
                </a:cubicBezTo>
                <a:cubicBezTo>
                  <a:pt x="1625" y="383"/>
                  <a:pt x="1634" y="403"/>
                  <a:pt x="1637" y="409"/>
                </a:cubicBezTo>
                <a:cubicBezTo>
                  <a:pt x="1641" y="414"/>
                  <a:pt x="1646" y="416"/>
                  <a:pt x="1651" y="418"/>
                </a:cubicBezTo>
                <a:cubicBezTo>
                  <a:pt x="1651" y="418"/>
                  <a:pt x="1652" y="419"/>
                  <a:pt x="1652" y="419"/>
                </a:cubicBezTo>
                <a:cubicBezTo>
                  <a:pt x="1652" y="420"/>
                  <a:pt x="1651" y="421"/>
                  <a:pt x="1651" y="423"/>
                </a:cubicBezTo>
                <a:cubicBezTo>
                  <a:pt x="1651" y="424"/>
                  <a:pt x="1652" y="426"/>
                  <a:pt x="1653" y="427"/>
                </a:cubicBezTo>
                <a:cubicBezTo>
                  <a:pt x="1654" y="430"/>
                  <a:pt x="1657" y="436"/>
                  <a:pt x="1659" y="441"/>
                </a:cubicBezTo>
                <a:cubicBezTo>
                  <a:pt x="1663" y="447"/>
                  <a:pt x="1666" y="453"/>
                  <a:pt x="1672" y="456"/>
                </a:cubicBezTo>
                <a:cubicBezTo>
                  <a:pt x="1675" y="457"/>
                  <a:pt x="1682" y="462"/>
                  <a:pt x="1689" y="467"/>
                </a:cubicBezTo>
                <a:cubicBezTo>
                  <a:pt x="1695" y="472"/>
                  <a:pt x="1701" y="479"/>
                  <a:pt x="1701" y="480"/>
                </a:cubicBezTo>
                <a:cubicBezTo>
                  <a:pt x="1703" y="484"/>
                  <a:pt x="1708" y="486"/>
                  <a:pt x="1711" y="486"/>
                </a:cubicBezTo>
                <a:cubicBezTo>
                  <a:pt x="1716" y="486"/>
                  <a:pt x="1720" y="483"/>
                  <a:pt x="1724" y="481"/>
                </a:cubicBezTo>
                <a:cubicBezTo>
                  <a:pt x="1726" y="481"/>
                  <a:pt x="1727" y="480"/>
                  <a:pt x="1727" y="480"/>
                </a:cubicBezTo>
                <a:cubicBezTo>
                  <a:pt x="1728" y="482"/>
                  <a:pt x="1729" y="484"/>
                  <a:pt x="1729" y="486"/>
                </a:cubicBezTo>
                <a:cubicBezTo>
                  <a:pt x="1731" y="490"/>
                  <a:pt x="1734" y="496"/>
                  <a:pt x="1742" y="497"/>
                </a:cubicBezTo>
                <a:cubicBezTo>
                  <a:pt x="1744" y="497"/>
                  <a:pt x="1745" y="496"/>
                  <a:pt x="1746" y="496"/>
                </a:cubicBezTo>
                <a:cubicBezTo>
                  <a:pt x="1746" y="496"/>
                  <a:pt x="1746" y="496"/>
                  <a:pt x="1747" y="496"/>
                </a:cubicBezTo>
                <a:cubicBezTo>
                  <a:pt x="1756" y="496"/>
                  <a:pt x="1762" y="492"/>
                  <a:pt x="1769" y="485"/>
                </a:cubicBezTo>
                <a:cubicBezTo>
                  <a:pt x="1780" y="474"/>
                  <a:pt x="1777" y="461"/>
                  <a:pt x="1778" y="454"/>
                </a:cubicBezTo>
                <a:cubicBezTo>
                  <a:pt x="1778" y="451"/>
                  <a:pt x="1778" y="449"/>
                  <a:pt x="1778" y="447"/>
                </a:cubicBezTo>
                <a:cubicBezTo>
                  <a:pt x="1778" y="447"/>
                  <a:pt x="1779" y="448"/>
                  <a:pt x="1779" y="448"/>
                </a:cubicBezTo>
                <a:cubicBezTo>
                  <a:pt x="1781" y="448"/>
                  <a:pt x="1783" y="449"/>
                  <a:pt x="1786" y="449"/>
                </a:cubicBezTo>
                <a:cubicBezTo>
                  <a:pt x="1790" y="449"/>
                  <a:pt x="1794" y="447"/>
                  <a:pt x="1797" y="444"/>
                </a:cubicBezTo>
                <a:cubicBezTo>
                  <a:pt x="1799" y="441"/>
                  <a:pt x="1800" y="437"/>
                  <a:pt x="1800" y="433"/>
                </a:cubicBezTo>
                <a:cubicBezTo>
                  <a:pt x="1800" y="432"/>
                  <a:pt x="1800" y="431"/>
                  <a:pt x="1800" y="431"/>
                </a:cubicBezTo>
                <a:cubicBezTo>
                  <a:pt x="1799" y="424"/>
                  <a:pt x="1797" y="419"/>
                  <a:pt x="1797" y="416"/>
                </a:cubicBezTo>
                <a:cubicBezTo>
                  <a:pt x="1797" y="415"/>
                  <a:pt x="1798" y="415"/>
                  <a:pt x="1798" y="415"/>
                </a:cubicBezTo>
                <a:cubicBezTo>
                  <a:pt x="1798" y="415"/>
                  <a:pt x="1799" y="414"/>
                  <a:pt x="1801" y="414"/>
                </a:cubicBezTo>
                <a:cubicBezTo>
                  <a:pt x="1810" y="412"/>
                  <a:pt x="1817" y="408"/>
                  <a:pt x="1822" y="405"/>
                </a:cubicBezTo>
                <a:cubicBezTo>
                  <a:pt x="1827" y="401"/>
                  <a:pt x="1830" y="399"/>
                  <a:pt x="1832" y="399"/>
                </a:cubicBezTo>
                <a:cubicBezTo>
                  <a:pt x="1837" y="399"/>
                  <a:pt x="1850" y="401"/>
                  <a:pt x="1860" y="401"/>
                </a:cubicBezTo>
                <a:cubicBezTo>
                  <a:pt x="1863" y="401"/>
                  <a:pt x="1865" y="401"/>
                  <a:pt x="1867" y="401"/>
                </a:cubicBezTo>
                <a:cubicBezTo>
                  <a:pt x="1869" y="400"/>
                  <a:pt x="1872" y="400"/>
                  <a:pt x="1874" y="397"/>
                </a:cubicBezTo>
                <a:cubicBezTo>
                  <a:pt x="1876" y="394"/>
                  <a:pt x="1879" y="388"/>
                  <a:pt x="1883" y="382"/>
                </a:cubicBezTo>
                <a:cubicBezTo>
                  <a:pt x="1885" y="379"/>
                  <a:pt x="1888" y="377"/>
                  <a:pt x="1889" y="375"/>
                </a:cubicBezTo>
                <a:cubicBezTo>
                  <a:pt x="1890" y="374"/>
                  <a:pt x="1891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900" y="372"/>
                  <a:pt x="1920" y="370"/>
                  <a:pt x="1939" y="366"/>
                </a:cubicBezTo>
                <a:cubicBezTo>
                  <a:pt x="1949" y="364"/>
                  <a:pt x="1958" y="359"/>
                  <a:pt x="1966" y="355"/>
                </a:cubicBezTo>
                <a:cubicBezTo>
                  <a:pt x="1973" y="352"/>
                  <a:pt x="1980" y="348"/>
                  <a:pt x="1981" y="348"/>
                </a:cubicBezTo>
                <a:cubicBezTo>
                  <a:pt x="1981" y="348"/>
                  <a:pt x="1981" y="348"/>
                  <a:pt x="1981" y="348"/>
                </a:cubicBezTo>
                <a:cubicBezTo>
                  <a:pt x="1984" y="348"/>
                  <a:pt x="1986" y="349"/>
                  <a:pt x="1989" y="349"/>
                </a:cubicBezTo>
                <a:cubicBezTo>
                  <a:pt x="1992" y="349"/>
                  <a:pt x="1995" y="350"/>
                  <a:pt x="1998" y="349"/>
                </a:cubicBezTo>
                <a:cubicBezTo>
                  <a:pt x="1999" y="349"/>
                  <a:pt x="2001" y="348"/>
                  <a:pt x="2002" y="347"/>
                </a:cubicBezTo>
                <a:cubicBezTo>
                  <a:pt x="2004" y="346"/>
                  <a:pt x="2006" y="344"/>
                  <a:pt x="2006" y="341"/>
                </a:cubicBezTo>
                <a:cubicBezTo>
                  <a:pt x="2006" y="339"/>
                  <a:pt x="2005" y="337"/>
                  <a:pt x="2004" y="336"/>
                </a:cubicBezTo>
                <a:cubicBezTo>
                  <a:pt x="2006" y="336"/>
                  <a:pt x="2007" y="337"/>
                  <a:pt x="2008" y="337"/>
                </a:cubicBezTo>
                <a:cubicBezTo>
                  <a:pt x="2010" y="337"/>
                  <a:pt x="2012" y="336"/>
                  <a:pt x="2014" y="336"/>
                </a:cubicBezTo>
                <a:cubicBezTo>
                  <a:pt x="2026" y="333"/>
                  <a:pt x="2030" y="323"/>
                  <a:pt x="2030" y="316"/>
                </a:cubicBezTo>
                <a:cubicBezTo>
                  <a:pt x="2030" y="312"/>
                  <a:pt x="2029" y="308"/>
                  <a:pt x="2027" y="305"/>
                </a:cubicBezTo>
                <a:cubicBezTo>
                  <a:pt x="2025" y="304"/>
                  <a:pt x="2023" y="294"/>
                  <a:pt x="2020" y="287"/>
                </a:cubicBezTo>
                <a:cubicBezTo>
                  <a:pt x="2019" y="286"/>
                  <a:pt x="2019" y="285"/>
                  <a:pt x="2019" y="284"/>
                </a:cubicBezTo>
                <a:cubicBezTo>
                  <a:pt x="2019" y="283"/>
                  <a:pt x="2019" y="282"/>
                  <a:pt x="2020" y="281"/>
                </a:cubicBezTo>
                <a:cubicBezTo>
                  <a:pt x="2021" y="281"/>
                  <a:pt x="2023" y="279"/>
                  <a:pt x="2028" y="279"/>
                </a:cubicBezTo>
                <a:close/>
                <a:moveTo>
                  <a:pt x="1640" y="304"/>
                </a:moveTo>
                <a:cubicBezTo>
                  <a:pt x="1639" y="304"/>
                  <a:pt x="1637" y="304"/>
                  <a:pt x="1636" y="304"/>
                </a:cubicBezTo>
                <a:cubicBezTo>
                  <a:pt x="1634" y="304"/>
                  <a:pt x="1633" y="304"/>
                  <a:pt x="1631" y="304"/>
                </a:cubicBezTo>
                <a:cubicBezTo>
                  <a:pt x="1632" y="303"/>
                  <a:pt x="1633" y="302"/>
                  <a:pt x="1633" y="302"/>
                </a:cubicBezTo>
                <a:cubicBezTo>
                  <a:pt x="1633" y="301"/>
                  <a:pt x="1634" y="301"/>
                  <a:pt x="1635" y="301"/>
                </a:cubicBezTo>
                <a:cubicBezTo>
                  <a:pt x="1637" y="301"/>
                  <a:pt x="1642" y="304"/>
                  <a:pt x="1645" y="304"/>
                </a:cubicBezTo>
                <a:cubicBezTo>
                  <a:pt x="1642" y="304"/>
                  <a:pt x="1641" y="304"/>
                  <a:pt x="1640" y="304"/>
                </a:cubicBezTo>
                <a:close/>
                <a:moveTo>
                  <a:pt x="1660" y="330"/>
                </a:moveTo>
                <a:cubicBezTo>
                  <a:pt x="1660" y="332"/>
                  <a:pt x="1660" y="335"/>
                  <a:pt x="1659" y="336"/>
                </a:cubicBezTo>
                <a:cubicBezTo>
                  <a:pt x="1658" y="336"/>
                  <a:pt x="1657" y="336"/>
                  <a:pt x="1657" y="335"/>
                </a:cubicBezTo>
                <a:cubicBezTo>
                  <a:pt x="1658" y="333"/>
                  <a:pt x="1658" y="329"/>
                  <a:pt x="1659" y="326"/>
                </a:cubicBezTo>
                <a:cubicBezTo>
                  <a:pt x="1660" y="328"/>
                  <a:pt x="1660" y="330"/>
                  <a:pt x="1660" y="330"/>
                </a:cubicBezTo>
                <a:close/>
                <a:moveTo>
                  <a:pt x="1978" y="315"/>
                </a:moveTo>
                <a:cubicBezTo>
                  <a:pt x="1978" y="313"/>
                  <a:pt x="1979" y="310"/>
                  <a:pt x="1980" y="308"/>
                </a:cubicBezTo>
                <a:cubicBezTo>
                  <a:pt x="1980" y="308"/>
                  <a:pt x="1980" y="307"/>
                  <a:pt x="1981" y="307"/>
                </a:cubicBezTo>
                <a:cubicBezTo>
                  <a:pt x="1982" y="307"/>
                  <a:pt x="1984" y="308"/>
                  <a:pt x="1985" y="308"/>
                </a:cubicBezTo>
                <a:cubicBezTo>
                  <a:pt x="1988" y="310"/>
                  <a:pt x="1989" y="311"/>
                  <a:pt x="1989" y="312"/>
                </a:cubicBezTo>
                <a:cubicBezTo>
                  <a:pt x="1989" y="312"/>
                  <a:pt x="1989" y="312"/>
                  <a:pt x="1989" y="312"/>
                </a:cubicBezTo>
                <a:cubicBezTo>
                  <a:pt x="1989" y="313"/>
                  <a:pt x="1989" y="313"/>
                  <a:pt x="1989" y="314"/>
                </a:cubicBezTo>
                <a:cubicBezTo>
                  <a:pt x="1989" y="316"/>
                  <a:pt x="1989" y="317"/>
                  <a:pt x="1989" y="319"/>
                </a:cubicBezTo>
                <a:cubicBezTo>
                  <a:pt x="1986" y="317"/>
                  <a:pt x="1982" y="315"/>
                  <a:pt x="1978" y="315"/>
                </a:cubicBezTo>
                <a:close/>
                <a:moveTo>
                  <a:pt x="2143" y="431"/>
                </a:moveTo>
                <a:cubicBezTo>
                  <a:pt x="2144" y="430"/>
                  <a:pt x="2149" y="428"/>
                  <a:pt x="2153" y="428"/>
                </a:cubicBezTo>
                <a:cubicBezTo>
                  <a:pt x="2158" y="427"/>
                  <a:pt x="2162" y="427"/>
                  <a:pt x="2162" y="427"/>
                </a:cubicBezTo>
                <a:cubicBezTo>
                  <a:pt x="2164" y="427"/>
                  <a:pt x="2165" y="426"/>
                  <a:pt x="2166" y="425"/>
                </a:cubicBezTo>
                <a:cubicBezTo>
                  <a:pt x="2166" y="425"/>
                  <a:pt x="2169" y="422"/>
                  <a:pt x="2173" y="418"/>
                </a:cubicBezTo>
                <a:cubicBezTo>
                  <a:pt x="2176" y="414"/>
                  <a:pt x="2180" y="409"/>
                  <a:pt x="2180" y="402"/>
                </a:cubicBezTo>
                <a:cubicBezTo>
                  <a:pt x="2180" y="400"/>
                  <a:pt x="2179" y="397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69" y="386"/>
                  <a:pt x="2154" y="382"/>
                  <a:pt x="2146" y="381"/>
                </a:cubicBezTo>
                <a:cubicBezTo>
                  <a:pt x="2145" y="381"/>
                  <a:pt x="2144" y="381"/>
                  <a:pt x="2144" y="381"/>
                </a:cubicBezTo>
                <a:cubicBezTo>
                  <a:pt x="2133" y="381"/>
                  <a:pt x="2129" y="387"/>
                  <a:pt x="2116" y="387"/>
                </a:cubicBezTo>
                <a:cubicBezTo>
                  <a:pt x="2104" y="387"/>
                  <a:pt x="2096" y="391"/>
                  <a:pt x="2092" y="391"/>
                </a:cubicBezTo>
                <a:cubicBezTo>
                  <a:pt x="2090" y="390"/>
                  <a:pt x="2090" y="390"/>
                  <a:pt x="2089" y="389"/>
                </a:cubicBezTo>
                <a:cubicBezTo>
                  <a:pt x="2082" y="381"/>
                  <a:pt x="2068" y="379"/>
                  <a:pt x="2058" y="379"/>
                </a:cubicBezTo>
                <a:cubicBezTo>
                  <a:pt x="2056" y="379"/>
                  <a:pt x="2054" y="379"/>
                  <a:pt x="2052" y="379"/>
                </a:cubicBezTo>
                <a:cubicBezTo>
                  <a:pt x="2050" y="380"/>
                  <a:pt x="2047" y="381"/>
                  <a:pt x="2045" y="384"/>
                </a:cubicBezTo>
                <a:cubicBezTo>
                  <a:pt x="2045" y="385"/>
                  <a:pt x="2044" y="386"/>
                  <a:pt x="2042" y="388"/>
                </a:cubicBezTo>
                <a:cubicBezTo>
                  <a:pt x="2041" y="390"/>
                  <a:pt x="2039" y="393"/>
                  <a:pt x="2039" y="397"/>
                </a:cubicBezTo>
                <a:cubicBezTo>
                  <a:pt x="2039" y="401"/>
                  <a:pt x="2040" y="404"/>
                  <a:pt x="2042" y="409"/>
                </a:cubicBezTo>
                <a:cubicBezTo>
                  <a:pt x="2045" y="415"/>
                  <a:pt x="2048" y="420"/>
                  <a:pt x="2051" y="424"/>
                </a:cubicBezTo>
                <a:cubicBezTo>
                  <a:pt x="2054" y="428"/>
                  <a:pt x="2057" y="431"/>
                  <a:pt x="2063" y="432"/>
                </a:cubicBezTo>
                <a:cubicBezTo>
                  <a:pt x="2063" y="432"/>
                  <a:pt x="2064" y="432"/>
                  <a:pt x="2065" y="431"/>
                </a:cubicBezTo>
                <a:cubicBezTo>
                  <a:pt x="2066" y="431"/>
                  <a:pt x="2069" y="431"/>
                  <a:pt x="2072" y="431"/>
                </a:cubicBezTo>
                <a:cubicBezTo>
                  <a:pt x="2076" y="431"/>
                  <a:pt x="2079" y="431"/>
                  <a:pt x="2082" y="432"/>
                </a:cubicBezTo>
                <a:cubicBezTo>
                  <a:pt x="2083" y="432"/>
                  <a:pt x="2084" y="433"/>
                  <a:pt x="2084" y="433"/>
                </a:cubicBezTo>
                <a:cubicBezTo>
                  <a:pt x="2084" y="433"/>
                  <a:pt x="2084" y="433"/>
                  <a:pt x="2084" y="433"/>
                </a:cubicBezTo>
                <a:cubicBezTo>
                  <a:pt x="2086" y="440"/>
                  <a:pt x="2092" y="448"/>
                  <a:pt x="2103" y="448"/>
                </a:cubicBezTo>
                <a:cubicBezTo>
                  <a:pt x="2103" y="448"/>
                  <a:pt x="2103" y="448"/>
                  <a:pt x="2103" y="448"/>
                </a:cubicBezTo>
                <a:cubicBezTo>
                  <a:pt x="2106" y="448"/>
                  <a:pt x="2110" y="447"/>
                  <a:pt x="2113" y="446"/>
                </a:cubicBezTo>
                <a:cubicBezTo>
                  <a:pt x="2120" y="444"/>
                  <a:pt x="2126" y="442"/>
                  <a:pt x="2131" y="440"/>
                </a:cubicBezTo>
                <a:cubicBezTo>
                  <a:pt x="2136" y="438"/>
                  <a:pt x="2140" y="435"/>
                  <a:pt x="2143" y="431"/>
                </a:cubicBezTo>
                <a:close/>
                <a:moveTo>
                  <a:pt x="3068" y="1676"/>
                </a:moveTo>
                <a:cubicBezTo>
                  <a:pt x="3066" y="1668"/>
                  <a:pt x="3063" y="1661"/>
                  <a:pt x="3055" y="1658"/>
                </a:cubicBezTo>
                <a:cubicBezTo>
                  <a:pt x="3053" y="1664"/>
                  <a:pt x="3053" y="1664"/>
                  <a:pt x="3053" y="1664"/>
                </a:cubicBezTo>
                <a:cubicBezTo>
                  <a:pt x="3055" y="1658"/>
                  <a:pt x="3055" y="1658"/>
                  <a:pt x="3055" y="1658"/>
                </a:cubicBezTo>
                <a:cubicBezTo>
                  <a:pt x="3053" y="1657"/>
                  <a:pt x="3051" y="1657"/>
                  <a:pt x="3049" y="1657"/>
                </a:cubicBezTo>
                <a:cubicBezTo>
                  <a:pt x="3045" y="1657"/>
                  <a:pt x="3041" y="1659"/>
                  <a:pt x="3038" y="1662"/>
                </a:cubicBezTo>
                <a:cubicBezTo>
                  <a:pt x="3031" y="1671"/>
                  <a:pt x="3028" y="1684"/>
                  <a:pt x="3021" y="1693"/>
                </a:cubicBezTo>
                <a:cubicBezTo>
                  <a:pt x="3015" y="1700"/>
                  <a:pt x="3010" y="1707"/>
                  <a:pt x="3005" y="1711"/>
                </a:cubicBezTo>
                <a:cubicBezTo>
                  <a:pt x="3003" y="1713"/>
                  <a:pt x="3001" y="1715"/>
                  <a:pt x="2999" y="1716"/>
                </a:cubicBezTo>
                <a:cubicBezTo>
                  <a:pt x="2998" y="1717"/>
                  <a:pt x="2998" y="1717"/>
                  <a:pt x="2997" y="1717"/>
                </a:cubicBezTo>
                <a:cubicBezTo>
                  <a:pt x="2997" y="1717"/>
                  <a:pt x="2996" y="1717"/>
                  <a:pt x="2996" y="1717"/>
                </a:cubicBezTo>
                <a:cubicBezTo>
                  <a:pt x="2991" y="1717"/>
                  <a:pt x="2985" y="1720"/>
                  <a:pt x="2979" y="1724"/>
                </a:cubicBezTo>
                <a:cubicBezTo>
                  <a:pt x="2973" y="1728"/>
                  <a:pt x="2967" y="1736"/>
                  <a:pt x="2967" y="1746"/>
                </a:cubicBezTo>
                <a:cubicBezTo>
                  <a:pt x="2967" y="1749"/>
                  <a:pt x="2968" y="1752"/>
                  <a:pt x="2969" y="1756"/>
                </a:cubicBezTo>
                <a:cubicBezTo>
                  <a:pt x="2973" y="1765"/>
                  <a:pt x="2974" y="1773"/>
                  <a:pt x="2974" y="1781"/>
                </a:cubicBezTo>
                <a:cubicBezTo>
                  <a:pt x="2974" y="1790"/>
                  <a:pt x="2972" y="1797"/>
                  <a:pt x="2969" y="1801"/>
                </a:cubicBezTo>
                <a:cubicBezTo>
                  <a:pt x="2966" y="1804"/>
                  <a:pt x="2965" y="1809"/>
                  <a:pt x="2965" y="1813"/>
                </a:cubicBezTo>
                <a:cubicBezTo>
                  <a:pt x="2966" y="1826"/>
                  <a:pt x="2973" y="1843"/>
                  <a:pt x="2973" y="1853"/>
                </a:cubicBezTo>
                <a:cubicBezTo>
                  <a:pt x="2973" y="1854"/>
                  <a:pt x="2972" y="1855"/>
                  <a:pt x="2972" y="1856"/>
                </a:cubicBezTo>
                <a:cubicBezTo>
                  <a:pt x="2972" y="1858"/>
                  <a:pt x="2972" y="1861"/>
                  <a:pt x="2972" y="1863"/>
                </a:cubicBezTo>
                <a:cubicBezTo>
                  <a:pt x="2972" y="1870"/>
                  <a:pt x="2974" y="1876"/>
                  <a:pt x="2978" y="1881"/>
                </a:cubicBezTo>
                <a:cubicBezTo>
                  <a:pt x="2983" y="1886"/>
                  <a:pt x="2990" y="1888"/>
                  <a:pt x="2998" y="1888"/>
                </a:cubicBezTo>
                <a:cubicBezTo>
                  <a:pt x="2998" y="1888"/>
                  <a:pt x="2998" y="1888"/>
                  <a:pt x="2998" y="1888"/>
                </a:cubicBezTo>
                <a:cubicBezTo>
                  <a:pt x="3007" y="1888"/>
                  <a:pt x="3014" y="1886"/>
                  <a:pt x="3020" y="1881"/>
                </a:cubicBezTo>
                <a:cubicBezTo>
                  <a:pt x="3025" y="1875"/>
                  <a:pt x="3029" y="1868"/>
                  <a:pt x="3032" y="1859"/>
                </a:cubicBezTo>
                <a:cubicBezTo>
                  <a:pt x="3040" y="1840"/>
                  <a:pt x="3041" y="1822"/>
                  <a:pt x="3047" y="1808"/>
                </a:cubicBezTo>
                <a:cubicBezTo>
                  <a:pt x="3051" y="1800"/>
                  <a:pt x="3054" y="1788"/>
                  <a:pt x="3057" y="1777"/>
                </a:cubicBezTo>
                <a:cubicBezTo>
                  <a:pt x="3060" y="1766"/>
                  <a:pt x="3062" y="1756"/>
                  <a:pt x="3063" y="1753"/>
                </a:cubicBezTo>
                <a:cubicBezTo>
                  <a:pt x="3067" y="1744"/>
                  <a:pt x="3073" y="1722"/>
                  <a:pt x="3073" y="1705"/>
                </a:cubicBezTo>
                <a:cubicBezTo>
                  <a:pt x="3073" y="1703"/>
                  <a:pt x="3073" y="1702"/>
                  <a:pt x="3073" y="1701"/>
                </a:cubicBezTo>
                <a:cubicBezTo>
                  <a:pt x="3072" y="1693"/>
                  <a:pt x="3071" y="1684"/>
                  <a:pt x="3068" y="1676"/>
                </a:cubicBezTo>
                <a:close/>
                <a:moveTo>
                  <a:pt x="4007" y="1637"/>
                </a:moveTo>
                <a:cubicBezTo>
                  <a:pt x="4007" y="1637"/>
                  <a:pt x="4008" y="1637"/>
                  <a:pt x="4008" y="1637"/>
                </a:cubicBezTo>
                <a:cubicBezTo>
                  <a:pt x="4014" y="1637"/>
                  <a:pt x="4021" y="1631"/>
                  <a:pt x="4021" y="1623"/>
                </a:cubicBezTo>
                <a:cubicBezTo>
                  <a:pt x="4021" y="1622"/>
                  <a:pt x="4021" y="1622"/>
                  <a:pt x="4021" y="1621"/>
                </a:cubicBezTo>
                <a:cubicBezTo>
                  <a:pt x="4021" y="1616"/>
                  <a:pt x="4019" y="1612"/>
                  <a:pt x="4016" y="1609"/>
                </a:cubicBezTo>
                <a:cubicBezTo>
                  <a:pt x="4013" y="1606"/>
                  <a:pt x="4010" y="1605"/>
                  <a:pt x="4006" y="1605"/>
                </a:cubicBezTo>
                <a:cubicBezTo>
                  <a:pt x="3999" y="1605"/>
                  <a:pt x="3992" y="1609"/>
                  <a:pt x="3991" y="1617"/>
                </a:cubicBezTo>
                <a:cubicBezTo>
                  <a:pt x="3991" y="1617"/>
                  <a:pt x="3991" y="1617"/>
                  <a:pt x="3991" y="1617"/>
                </a:cubicBezTo>
                <a:cubicBezTo>
                  <a:pt x="3991" y="1618"/>
                  <a:pt x="3990" y="1619"/>
                  <a:pt x="3990" y="1621"/>
                </a:cubicBezTo>
                <a:cubicBezTo>
                  <a:pt x="3991" y="1631"/>
                  <a:pt x="3999" y="1637"/>
                  <a:pt x="4007" y="1637"/>
                </a:cubicBezTo>
                <a:close/>
                <a:moveTo>
                  <a:pt x="1369" y="1135"/>
                </a:moveTo>
                <a:cubicBezTo>
                  <a:pt x="1368" y="1129"/>
                  <a:pt x="1365" y="1124"/>
                  <a:pt x="1360" y="1119"/>
                </a:cubicBezTo>
                <a:cubicBezTo>
                  <a:pt x="1355" y="1115"/>
                  <a:pt x="1350" y="1111"/>
                  <a:pt x="1343" y="1111"/>
                </a:cubicBezTo>
                <a:cubicBezTo>
                  <a:pt x="1342" y="1111"/>
                  <a:pt x="1342" y="1112"/>
                  <a:pt x="1341" y="1112"/>
                </a:cubicBezTo>
                <a:cubicBezTo>
                  <a:pt x="1341" y="1112"/>
                  <a:pt x="1341" y="1112"/>
                  <a:pt x="1341" y="1112"/>
                </a:cubicBezTo>
                <a:cubicBezTo>
                  <a:pt x="1339" y="1112"/>
                  <a:pt x="1333" y="1109"/>
                  <a:pt x="1327" y="1106"/>
                </a:cubicBezTo>
                <a:cubicBezTo>
                  <a:pt x="1322" y="1102"/>
                  <a:pt x="1316" y="1097"/>
                  <a:pt x="1312" y="1093"/>
                </a:cubicBezTo>
                <a:cubicBezTo>
                  <a:pt x="1300" y="1081"/>
                  <a:pt x="1281" y="1082"/>
                  <a:pt x="1274" y="1082"/>
                </a:cubicBezTo>
                <a:cubicBezTo>
                  <a:pt x="1269" y="1082"/>
                  <a:pt x="1261" y="1084"/>
                  <a:pt x="1253" y="1087"/>
                </a:cubicBezTo>
                <a:cubicBezTo>
                  <a:pt x="1245" y="1089"/>
                  <a:pt x="1238" y="1092"/>
                  <a:pt x="1238" y="1092"/>
                </a:cubicBezTo>
                <a:cubicBezTo>
                  <a:pt x="1235" y="1092"/>
                  <a:pt x="1234" y="1094"/>
                  <a:pt x="1234" y="1097"/>
                </a:cubicBezTo>
                <a:cubicBezTo>
                  <a:pt x="1233" y="1098"/>
                  <a:pt x="1233" y="1098"/>
                  <a:pt x="1233" y="1099"/>
                </a:cubicBezTo>
                <a:cubicBezTo>
                  <a:pt x="1233" y="1104"/>
                  <a:pt x="1235" y="1108"/>
                  <a:pt x="1239" y="1111"/>
                </a:cubicBezTo>
                <a:cubicBezTo>
                  <a:pt x="1243" y="1113"/>
                  <a:pt x="1246" y="1113"/>
                  <a:pt x="1250" y="1114"/>
                </a:cubicBezTo>
                <a:cubicBezTo>
                  <a:pt x="1254" y="1114"/>
                  <a:pt x="1259" y="1113"/>
                  <a:pt x="1264" y="1113"/>
                </a:cubicBezTo>
                <a:cubicBezTo>
                  <a:pt x="1270" y="1113"/>
                  <a:pt x="1278" y="1112"/>
                  <a:pt x="1286" y="1112"/>
                </a:cubicBezTo>
                <a:cubicBezTo>
                  <a:pt x="1290" y="1112"/>
                  <a:pt x="1294" y="1113"/>
                  <a:pt x="1298" y="1113"/>
                </a:cubicBezTo>
                <a:cubicBezTo>
                  <a:pt x="1299" y="1113"/>
                  <a:pt x="1300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5" y="1120"/>
                  <a:pt x="1312" y="1124"/>
                  <a:pt x="1318" y="1128"/>
                </a:cubicBezTo>
                <a:cubicBezTo>
                  <a:pt x="1325" y="1133"/>
                  <a:pt x="1331" y="1137"/>
                  <a:pt x="1333" y="1139"/>
                </a:cubicBezTo>
                <a:cubicBezTo>
                  <a:pt x="1339" y="1144"/>
                  <a:pt x="1347" y="1145"/>
                  <a:pt x="1354" y="1145"/>
                </a:cubicBezTo>
                <a:cubicBezTo>
                  <a:pt x="1357" y="1145"/>
                  <a:pt x="1359" y="1145"/>
                  <a:pt x="1362" y="1144"/>
                </a:cubicBezTo>
                <a:cubicBezTo>
                  <a:pt x="1364" y="1143"/>
                  <a:pt x="1368" y="1141"/>
                  <a:pt x="1369" y="1137"/>
                </a:cubicBezTo>
                <a:cubicBezTo>
                  <a:pt x="1363" y="1136"/>
                  <a:pt x="1363" y="1136"/>
                  <a:pt x="1363" y="1136"/>
                </a:cubicBezTo>
                <a:cubicBezTo>
                  <a:pt x="1369" y="1137"/>
                  <a:pt x="1369" y="1137"/>
                  <a:pt x="1369" y="1137"/>
                </a:cubicBezTo>
                <a:cubicBezTo>
                  <a:pt x="1369" y="1136"/>
                  <a:pt x="1369" y="1136"/>
                  <a:pt x="1369" y="1135"/>
                </a:cubicBezTo>
                <a:close/>
                <a:moveTo>
                  <a:pt x="1328" y="1167"/>
                </a:moveTo>
                <a:cubicBezTo>
                  <a:pt x="1328" y="1167"/>
                  <a:pt x="1328" y="1167"/>
                  <a:pt x="1328" y="1167"/>
                </a:cubicBezTo>
                <a:cubicBezTo>
                  <a:pt x="1319" y="1169"/>
                  <a:pt x="1317" y="1178"/>
                  <a:pt x="1317" y="1184"/>
                </a:cubicBezTo>
                <a:cubicBezTo>
                  <a:pt x="1317" y="1188"/>
                  <a:pt x="1318" y="1191"/>
                  <a:pt x="1320" y="1194"/>
                </a:cubicBezTo>
                <a:cubicBezTo>
                  <a:pt x="1322" y="1198"/>
                  <a:pt x="1326" y="1200"/>
                  <a:pt x="1331" y="1200"/>
                </a:cubicBezTo>
                <a:cubicBezTo>
                  <a:pt x="1331" y="1200"/>
                  <a:pt x="1331" y="1200"/>
                  <a:pt x="1331" y="1200"/>
                </a:cubicBezTo>
                <a:cubicBezTo>
                  <a:pt x="1333" y="1200"/>
                  <a:pt x="1334" y="1201"/>
                  <a:pt x="1336" y="1200"/>
                </a:cubicBezTo>
                <a:cubicBezTo>
                  <a:pt x="1343" y="1198"/>
                  <a:pt x="1347" y="1191"/>
                  <a:pt x="1347" y="1185"/>
                </a:cubicBezTo>
                <a:cubicBezTo>
                  <a:pt x="1347" y="1176"/>
                  <a:pt x="1342" y="1167"/>
                  <a:pt x="1331" y="1166"/>
                </a:cubicBezTo>
                <a:cubicBezTo>
                  <a:pt x="1330" y="1166"/>
                  <a:pt x="1329" y="1167"/>
                  <a:pt x="1328" y="1167"/>
                </a:cubicBezTo>
                <a:close/>
                <a:moveTo>
                  <a:pt x="1341" y="1066"/>
                </a:moveTo>
                <a:cubicBezTo>
                  <a:pt x="1341" y="1058"/>
                  <a:pt x="1334" y="1053"/>
                  <a:pt x="1325" y="1053"/>
                </a:cubicBezTo>
                <a:cubicBezTo>
                  <a:pt x="1324" y="1053"/>
                  <a:pt x="1324" y="1053"/>
                  <a:pt x="1323" y="1053"/>
                </a:cubicBezTo>
                <a:cubicBezTo>
                  <a:pt x="1316" y="1053"/>
                  <a:pt x="1311" y="1060"/>
                  <a:pt x="1311" y="1065"/>
                </a:cubicBezTo>
                <a:cubicBezTo>
                  <a:pt x="1311" y="1069"/>
                  <a:pt x="1312" y="1073"/>
                  <a:pt x="1315" y="1075"/>
                </a:cubicBezTo>
                <a:cubicBezTo>
                  <a:pt x="1317" y="1078"/>
                  <a:pt x="1321" y="1080"/>
                  <a:pt x="1325" y="1080"/>
                </a:cubicBezTo>
                <a:cubicBezTo>
                  <a:pt x="1325" y="1080"/>
                  <a:pt x="1325" y="1080"/>
                  <a:pt x="1325" y="1080"/>
                </a:cubicBezTo>
                <a:cubicBezTo>
                  <a:pt x="1327" y="1080"/>
                  <a:pt x="1328" y="1079"/>
                  <a:pt x="1329" y="1079"/>
                </a:cubicBezTo>
                <a:cubicBezTo>
                  <a:pt x="1328" y="1073"/>
                  <a:pt x="1328" y="1073"/>
                  <a:pt x="1328" y="1073"/>
                </a:cubicBezTo>
                <a:cubicBezTo>
                  <a:pt x="1329" y="1079"/>
                  <a:pt x="1329" y="1079"/>
                  <a:pt x="1329" y="1079"/>
                </a:cubicBezTo>
                <a:cubicBezTo>
                  <a:pt x="1336" y="1077"/>
                  <a:pt x="1341" y="1072"/>
                  <a:pt x="1341" y="1066"/>
                </a:cubicBezTo>
                <a:close/>
                <a:moveTo>
                  <a:pt x="3938" y="1610"/>
                </a:moveTo>
                <a:cubicBezTo>
                  <a:pt x="3940" y="1609"/>
                  <a:pt x="3943" y="1606"/>
                  <a:pt x="3943" y="1603"/>
                </a:cubicBezTo>
                <a:cubicBezTo>
                  <a:pt x="3937" y="1602"/>
                  <a:pt x="3937" y="1602"/>
                  <a:pt x="3937" y="1602"/>
                </a:cubicBezTo>
                <a:cubicBezTo>
                  <a:pt x="3943" y="1603"/>
                  <a:pt x="3943" y="1603"/>
                  <a:pt x="3943" y="1603"/>
                </a:cubicBezTo>
                <a:cubicBezTo>
                  <a:pt x="3943" y="1602"/>
                  <a:pt x="3943" y="1601"/>
                  <a:pt x="3943" y="1601"/>
                </a:cubicBezTo>
                <a:cubicBezTo>
                  <a:pt x="3943" y="1594"/>
                  <a:pt x="3938" y="1588"/>
                  <a:pt x="3934" y="1584"/>
                </a:cubicBezTo>
                <a:cubicBezTo>
                  <a:pt x="3929" y="1579"/>
                  <a:pt x="3925" y="1575"/>
                  <a:pt x="3919" y="1575"/>
                </a:cubicBezTo>
                <a:cubicBezTo>
                  <a:pt x="3917" y="1575"/>
                  <a:pt x="3908" y="1573"/>
                  <a:pt x="3901" y="1571"/>
                </a:cubicBezTo>
                <a:cubicBezTo>
                  <a:pt x="3893" y="1569"/>
                  <a:pt x="3886" y="1567"/>
                  <a:pt x="3886" y="1567"/>
                </a:cubicBezTo>
                <a:cubicBezTo>
                  <a:pt x="3884" y="1567"/>
                  <a:pt x="3883" y="1567"/>
                  <a:pt x="3881" y="1567"/>
                </a:cubicBezTo>
                <a:cubicBezTo>
                  <a:pt x="3878" y="1569"/>
                  <a:pt x="3874" y="1570"/>
                  <a:pt x="3870" y="1573"/>
                </a:cubicBezTo>
                <a:cubicBezTo>
                  <a:pt x="3870" y="1573"/>
                  <a:pt x="3869" y="1572"/>
                  <a:pt x="3869" y="1572"/>
                </a:cubicBezTo>
                <a:cubicBezTo>
                  <a:pt x="3861" y="1567"/>
                  <a:pt x="3852" y="1567"/>
                  <a:pt x="3847" y="1566"/>
                </a:cubicBezTo>
                <a:cubicBezTo>
                  <a:pt x="3844" y="1566"/>
                  <a:pt x="3842" y="1566"/>
                  <a:pt x="3841" y="1566"/>
                </a:cubicBezTo>
                <a:cubicBezTo>
                  <a:pt x="3840" y="1565"/>
                  <a:pt x="3840" y="1565"/>
                  <a:pt x="3839" y="1564"/>
                </a:cubicBezTo>
                <a:cubicBezTo>
                  <a:pt x="3836" y="1557"/>
                  <a:pt x="3831" y="1551"/>
                  <a:pt x="3824" y="1551"/>
                </a:cubicBezTo>
                <a:cubicBezTo>
                  <a:pt x="3823" y="1551"/>
                  <a:pt x="3822" y="1551"/>
                  <a:pt x="3821" y="1552"/>
                </a:cubicBezTo>
                <a:cubicBezTo>
                  <a:pt x="3821" y="1538"/>
                  <a:pt x="3824" y="1522"/>
                  <a:pt x="3828" y="1517"/>
                </a:cubicBezTo>
                <a:cubicBezTo>
                  <a:pt x="3828" y="1517"/>
                  <a:pt x="3828" y="1517"/>
                  <a:pt x="3828" y="1517"/>
                </a:cubicBezTo>
                <a:cubicBezTo>
                  <a:pt x="3831" y="1513"/>
                  <a:pt x="3832" y="1508"/>
                  <a:pt x="3832" y="1504"/>
                </a:cubicBezTo>
                <a:cubicBezTo>
                  <a:pt x="3832" y="1500"/>
                  <a:pt x="3831" y="1496"/>
                  <a:pt x="3829" y="1493"/>
                </a:cubicBezTo>
                <a:cubicBezTo>
                  <a:pt x="3827" y="1490"/>
                  <a:pt x="3823" y="1488"/>
                  <a:pt x="3819" y="1488"/>
                </a:cubicBezTo>
                <a:cubicBezTo>
                  <a:pt x="3818" y="1488"/>
                  <a:pt x="3817" y="1488"/>
                  <a:pt x="3816" y="1488"/>
                </a:cubicBezTo>
                <a:cubicBezTo>
                  <a:pt x="3816" y="1488"/>
                  <a:pt x="3816" y="1488"/>
                  <a:pt x="3816" y="1488"/>
                </a:cubicBezTo>
                <a:cubicBezTo>
                  <a:pt x="3816" y="1488"/>
                  <a:pt x="3815" y="1488"/>
                  <a:pt x="3814" y="1487"/>
                </a:cubicBezTo>
                <a:cubicBezTo>
                  <a:pt x="3808" y="1482"/>
                  <a:pt x="3801" y="1469"/>
                  <a:pt x="3789" y="1459"/>
                </a:cubicBezTo>
                <a:cubicBezTo>
                  <a:pt x="3774" y="1447"/>
                  <a:pt x="3763" y="1439"/>
                  <a:pt x="3750" y="1422"/>
                </a:cubicBezTo>
                <a:cubicBezTo>
                  <a:pt x="3735" y="1403"/>
                  <a:pt x="3717" y="1391"/>
                  <a:pt x="3709" y="1383"/>
                </a:cubicBezTo>
                <a:cubicBezTo>
                  <a:pt x="3699" y="1373"/>
                  <a:pt x="3687" y="1368"/>
                  <a:pt x="3678" y="1368"/>
                </a:cubicBezTo>
                <a:cubicBezTo>
                  <a:pt x="3677" y="1368"/>
                  <a:pt x="3676" y="1368"/>
                  <a:pt x="3674" y="1368"/>
                </a:cubicBezTo>
                <a:cubicBezTo>
                  <a:pt x="3670" y="1369"/>
                  <a:pt x="3666" y="1374"/>
                  <a:pt x="3666" y="1378"/>
                </a:cubicBezTo>
                <a:cubicBezTo>
                  <a:pt x="3666" y="1383"/>
                  <a:pt x="3669" y="1386"/>
                  <a:pt x="3671" y="1390"/>
                </a:cubicBezTo>
                <a:cubicBezTo>
                  <a:pt x="3675" y="1396"/>
                  <a:pt x="3681" y="1401"/>
                  <a:pt x="3686" y="1406"/>
                </a:cubicBezTo>
                <a:cubicBezTo>
                  <a:pt x="3690" y="1411"/>
                  <a:pt x="3695" y="1415"/>
                  <a:pt x="3695" y="1415"/>
                </a:cubicBezTo>
                <a:cubicBezTo>
                  <a:pt x="3697" y="1418"/>
                  <a:pt x="3706" y="1427"/>
                  <a:pt x="3714" y="1437"/>
                </a:cubicBezTo>
                <a:cubicBezTo>
                  <a:pt x="3722" y="1446"/>
                  <a:pt x="3729" y="1459"/>
                  <a:pt x="3728" y="1463"/>
                </a:cubicBezTo>
                <a:cubicBezTo>
                  <a:pt x="3729" y="1473"/>
                  <a:pt x="3734" y="1485"/>
                  <a:pt x="3740" y="1497"/>
                </a:cubicBezTo>
                <a:cubicBezTo>
                  <a:pt x="3746" y="1509"/>
                  <a:pt x="3752" y="1519"/>
                  <a:pt x="3757" y="1523"/>
                </a:cubicBezTo>
                <a:cubicBezTo>
                  <a:pt x="3760" y="1527"/>
                  <a:pt x="3769" y="1533"/>
                  <a:pt x="3777" y="1540"/>
                </a:cubicBezTo>
                <a:cubicBezTo>
                  <a:pt x="3785" y="1547"/>
                  <a:pt x="3793" y="1556"/>
                  <a:pt x="3794" y="1559"/>
                </a:cubicBezTo>
                <a:cubicBezTo>
                  <a:pt x="3797" y="1565"/>
                  <a:pt x="3801" y="1570"/>
                  <a:pt x="3808" y="1571"/>
                </a:cubicBezTo>
                <a:cubicBezTo>
                  <a:pt x="3808" y="1583"/>
                  <a:pt x="3816" y="1589"/>
                  <a:pt x="3819" y="1591"/>
                </a:cubicBezTo>
                <a:cubicBezTo>
                  <a:pt x="3825" y="1595"/>
                  <a:pt x="3834" y="1597"/>
                  <a:pt x="3844" y="1597"/>
                </a:cubicBezTo>
                <a:cubicBezTo>
                  <a:pt x="3847" y="1597"/>
                  <a:pt x="3849" y="1597"/>
                  <a:pt x="3851" y="1597"/>
                </a:cubicBezTo>
                <a:cubicBezTo>
                  <a:pt x="3855" y="1596"/>
                  <a:pt x="3859" y="1596"/>
                  <a:pt x="3863" y="1594"/>
                </a:cubicBezTo>
                <a:cubicBezTo>
                  <a:pt x="3865" y="1594"/>
                  <a:pt x="3866" y="1594"/>
                  <a:pt x="3868" y="1593"/>
                </a:cubicBezTo>
                <a:cubicBezTo>
                  <a:pt x="3868" y="1593"/>
                  <a:pt x="3868" y="1593"/>
                  <a:pt x="3868" y="1594"/>
                </a:cubicBezTo>
                <a:cubicBezTo>
                  <a:pt x="3876" y="1602"/>
                  <a:pt x="3884" y="1608"/>
                  <a:pt x="3896" y="1608"/>
                </a:cubicBezTo>
                <a:cubicBezTo>
                  <a:pt x="3898" y="1608"/>
                  <a:pt x="3900" y="1608"/>
                  <a:pt x="3902" y="1608"/>
                </a:cubicBezTo>
                <a:cubicBezTo>
                  <a:pt x="3903" y="1608"/>
                  <a:pt x="3903" y="1608"/>
                  <a:pt x="3904" y="1608"/>
                </a:cubicBezTo>
                <a:cubicBezTo>
                  <a:pt x="3912" y="1608"/>
                  <a:pt x="3923" y="1611"/>
                  <a:pt x="3931" y="1611"/>
                </a:cubicBezTo>
                <a:cubicBezTo>
                  <a:pt x="3933" y="1611"/>
                  <a:pt x="3936" y="1611"/>
                  <a:pt x="3938" y="1610"/>
                </a:cubicBezTo>
                <a:close/>
                <a:moveTo>
                  <a:pt x="4119" y="1427"/>
                </a:moveTo>
                <a:cubicBezTo>
                  <a:pt x="4111" y="1436"/>
                  <a:pt x="4105" y="1453"/>
                  <a:pt x="4104" y="1466"/>
                </a:cubicBezTo>
                <a:cubicBezTo>
                  <a:pt x="4104" y="1469"/>
                  <a:pt x="4105" y="1472"/>
                  <a:pt x="4106" y="1475"/>
                </a:cubicBezTo>
                <a:cubicBezTo>
                  <a:pt x="4107" y="1478"/>
                  <a:pt x="4110" y="1481"/>
                  <a:pt x="4114" y="1482"/>
                </a:cubicBezTo>
                <a:cubicBezTo>
                  <a:pt x="4115" y="1483"/>
                  <a:pt x="4116" y="1483"/>
                  <a:pt x="4117" y="1483"/>
                </a:cubicBezTo>
                <a:cubicBezTo>
                  <a:pt x="4128" y="1482"/>
                  <a:pt x="4131" y="1473"/>
                  <a:pt x="4135" y="1464"/>
                </a:cubicBezTo>
                <a:cubicBezTo>
                  <a:pt x="4138" y="1455"/>
                  <a:pt x="4140" y="1445"/>
                  <a:pt x="4140" y="1436"/>
                </a:cubicBezTo>
                <a:cubicBezTo>
                  <a:pt x="4140" y="1434"/>
                  <a:pt x="4140" y="1431"/>
                  <a:pt x="4139" y="1429"/>
                </a:cubicBezTo>
                <a:cubicBezTo>
                  <a:pt x="4139" y="1426"/>
                  <a:pt x="4138" y="1423"/>
                  <a:pt x="4134" y="1421"/>
                </a:cubicBezTo>
                <a:cubicBezTo>
                  <a:pt x="4134" y="1421"/>
                  <a:pt x="4134" y="1421"/>
                  <a:pt x="4134" y="1421"/>
                </a:cubicBezTo>
                <a:cubicBezTo>
                  <a:pt x="4133" y="1421"/>
                  <a:pt x="4131" y="1420"/>
                  <a:pt x="4130" y="1420"/>
                </a:cubicBezTo>
                <a:cubicBezTo>
                  <a:pt x="4124" y="1420"/>
                  <a:pt x="4121" y="1423"/>
                  <a:pt x="4119" y="1427"/>
                </a:cubicBezTo>
                <a:close/>
                <a:moveTo>
                  <a:pt x="4266" y="830"/>
                </a:moveTo>
                <a:cubicBezTo>
                  <a:pt x="4263" y="839"/>
                  <a:pt x="4260" y="846"/>
                  <a:pt x="4257" y="852"/>
                </a:cubicBezTo>
                <a:cubicBezTo>
                  <a:pt x="4256" y="855"/>
                  <a:pt x="4254" y="857"/>
                  <a:pt x="4253" y="858"/>
                </a:cubicBezTo>
                <a:cubicBezTo>
                  <a:pt x="4253" y="858"/>
                  <a:pt x="4253" y="858"/>
                  <a:pt x="4253" y="858"/>
                </a:cubicBezTo>
                <a:cubicBezTo>
                  <a:pt x="4251" y="859"/>
                  <a:pt x="4249" y="859"/>
                  <a:pt x="4246" y="860"/>
                </a:cubicBezTo>
                <a:cubicBezTo>
                  <a:pt x="4236" y="864"/>
                  <a:pt x="4221" y="872"/>
                  <a:pt x="4214" y="880"/>
                </a:cubicBezTo>
                <a:cubicBezTo>
                  <a:pt x="4214" y="880"/>
                  <a:pt x="4213" y="880"/>
                  <a:pt x="4211" y="880"/>
                </a:cubicBezTo>
                <a:cubicBezTo>
                  <a:pt x="4203" y="880"/>
                  <a:pt x="4189" y="876"/>
                  <a:pt x="4180" y="876"/>
                </a:cubicBezTo>
                <a:cubicBezTo>
                  <a:pt x="4176" y="876"/>
                  <a:pt x="4172" y="876"/>
                  <a:pt x="4169" y="880"/>
                </a:cubicBezTo>
                <a:cubicBezTo>
                  <a:pt x="4165" y="886"/>
                  <a:pt x="4156" y="894"/>
                  <a:pt x="4150" y="900"/>
                </a:cubicBezTo>
                <a:cubicBezTo>
                  <a:pt x="4150" y="900"/>
                  <a:pt x="4146" y="901"/>
                  <a:pt x="4141" y="903"/>
                </a:cubicBezTo>
                <a:cubicBezTo>
                  <a:pt x="4136" y="904"/>
                  <a:pt x="4129" y="909"/>
                  <a:pt x="4130" y="918"/>
                </a:cubicBezTo>
                <a:cubicBezTo>
                  <a:pt x="4130" y="920"/>
                  <a:pt x="4130" y="922"/>
                  <a:pt x="4130" y="924"/>
                </a:cubicBezTo>
                <a:cubicBezTo>
                  <a:pt x="4132" y="932"/>
                  <a:pt x="4135" y="941"/>
                  <a:pt x="4139" y="947"/>
                </a:cubicBezTo>
                <a:cubicBezTo>
                  <a:pt x="4142" y="954"/>
                  <a:pt x="4146" y="959"/>
                  <a:pt x="4154" y="960"/>
                </a:cubicBezTo>
                <a:cubicBezTo>
                  <a:pt x="4159" y="960"/>
                  <a:pt x="4165" y="958"/>
                  <a:pt x="4169" y="953"/>
                </a:cubicBezTo>
                <a:cubicBezTo>
                  <a:pt x="4173" y="949"/>
                  <a:pt x="4176" y="942"/>
                  <a:pt x="4176" y="933"/>
                </a:cubicBezTo>
                <a:cubicBezTo>
                  <a:pt x="4176" y="933"/>
                  <a:pt x="4176" y="933"/>
                  <a:pt x="4176" y="933"/>
                </a:cubicBezTo>
                <a:cubicBezTo>
                  <a:pt x="4176" y="933"/>
                  <a:pt x="4180" y="934"/>
                  <a:pt x="4182" y="935"/>
                </a:cubicBezTo>
                <a:cubicBezTo>
                  <a:pt x="4185" y="936"/>
                  <a:pt x="4189" y="938"/>
                  <a:pt x="4193" y="938"/>
                </a:cubicBezTo>
                <a:cubicBezTo>
                  <a:pt x="4194" y="938"/>
                  <a:pt x="4195" y="938"/>
                  <a:pt x="4195" y="938"/>
                </a:cubicBezTo>
                <a:cubicBezTo>
                  <a:pt x="4204" y="936"/>
                  <a:pt x="4209" y="930"/>
                  <a:pt x="4212" y="922"/>
                </a:cubicBezTo>
                <a:cubicBezTo>
                  <a:pt x="4214" y="924"/>
                  <a:pt x="4216" y="925"/>
                  <a:pt x="4218" y="925"/>
                </a:cubicBezTo>
                <a:cubicBezTo>
                  <a:pt x="4221" y="926"/>
                  <a:pt x="4223" y="926"/>
                  <a:pt x="4226" y="926"/>
                </a:cubicBezTo>
                <a:cubicBezTo>
                  <a:pt x="4232" y="926"/>
                  <a:pt x="4238" y="923"/>
                  <a:pt x="4240" y="919"/>
                </a:cubicBezTo>
                <a:cubicBezTo>
                  <a:pt x="4243" y="916"/>
                  <a:pt x="4244" y="914"/>
                  <a:pt x="4244" y="911"/>
                </a:cubicBezTo>
                <a:cubicBezTo>
                  <a:pt x="4246" y="910"/>
                  <a:pt x="4251" y="907"/>
                  <a:pt x="4256" y="905"/>
                </a:cubicBezTo>
                <a:cubicBezTo>
                  <a:pt x="4263" y="903"/>
                  <a:pt x="4268" y="901"/>
                  <a:pt x="4272" y="898"/>
                </a:cubicBezTo>
                <a:cubicBezTo>
                  <a:pt x="4273" y="897"/>
                  <a:pt x="4279" y="894"/>
                  <a:pt x="4285" y="891"/>
                </a:cubicBezTo>
                <a:cubicBezTo>
                  <a:pt x="4287" y="889"/>
                  <a:pt x="4290" y="888"/>
                  <a:pt x="4293" y="886"/>
                </a:cubicBezTo>
                <a:cubicBezTo>
                  <a:pt x="4295" y="884"/>
                  <a:pt x="4297" y="882"/>
                  <a:pt x="4298" y="878"/>
                </a:cubicBezTo>
                <a:cubicBezTo>
                  <a:pt x="4299" y="874"/>
                  <a:pt x="4299" y="865"/>
                  <a:pt x="4300" y="856"/>
                </a:cubicBezTo>
                <a:cubicBezTo>
                  <a:pt x="4300" y="852"/>
                  <a:pt x="4300" y="848"/>
                  <a:pt x="4301" y="845"/>
                </a:cubicBezTo>
                <a:cubicBezTo>
                  <a:pt x="4301" y="843"/>
                  <a:pt x="4302" y="842"/>
                  <a:pt x="4302" y="842"/>
                </a:cubicBezTo>
                <a:cubicBezTo>
                  <a:pt x="4303" y="841"/>
                  <a:pt x="4305" y="841"/>
                  <a:pt x="4308" y="839"/>
                </a:cubicBezTo>
                <a:cubicBezTo>
                  <a:pt x="4310" y="837"/>
                  <a:pt x="4313" y="833"/>
                  <a:pt x="4313" y="828"/>
                </a:cubicBezTo>
                <a:cubicBezTo>
                  <a:pt x="4313" y="824"/>
                  <a:pt x="4312" y="819"/>
                  <a:pt x="4308" y="812"/>
                </a:cubicBezTo>
                <a:cubicBezTo>
                  <a:pt x="4305" y="805"/>
                  <a:pt x="4303" y="797"/>
                  <a:pt x="4300" y="791"/>
                </a:cubicBezTo>
                <a:cubicBezTo>
                  <a:pt x="4300" y="789"/>
                  <a:pt x="4299" y="788"/>
                  <a:pt x="4298" y="786"/>
                </a:cubicBezTo>
                <a:cubicBezTo>
                  <a:pt x="4303" y="785"/>
                  <a:pt x="4308" y="783"/>
                  <a:pt x="4313" y="783"/>
                </a:cubicBezTo>
                <a:cubicBezTo>
                  <a:pt x="4327" y="782"/>
                  <a:pt x="4340" y="780"/>
                  <a:pt x="4344" y="776"/>
                </a:cubicBezTo>
                <a:cubicBezTo>
                  <a:pt x="4344" y="776"/>
                  <a:pt x="4345" y="776"/>
                  <a:pt x="4345" y="776"/>
                </a:cubicBezTo>
                <a:cubicBezTo>
                  <a:pt x="4348" y="776"/>
                  <a:pt x="4353" y="776"/>
                  <a:pt x="4358" y="775"/>
                </a:cubicBezTo>
                <a:cubicBezTo>
                  <a:pt x="4363" y="773"/>
                  <a:pt x="4370" y="769"/>
                  <a:pt x="4370" y="761"/>
                </a:cubicBezTo>
                <a:cubicBezTo>
                  <a:pt x="4370" y="759"/>
                  <a:pt x="4370" y="758"/>
                  <a:pt x="4370" y="757"/>
                </a:cubicBezTo>
                <a:cubicBezTo>
                  <a:pt x="4367" y="748"/>
                  <a:pt x="4360" y="744"/>
                  <a:pt x="4354" y="741"/>
                </a:cubicBezTo>
                <a:cubicBezTo>
                  <a:pt x="4347" y="739"/>
                  <a:pt x="4340" y="738"/>
                  <a:pt x="4335" y="738"/>
                </a:cubicBezTo>
                <a:cubicBezTo>
                  <a:pt x="4333" y="738"/>
                  <a:pt x="4332" y="738"/>
                  <a:pt x="4330" y="738"/>
                </a:cubicBezTo>
                <a:cubicBezTo>
                  <a:pt x="4329" y="737"/>
                  <a:pt x="4327" y="735"/>
                  <a:pt x="4325" y="732"/>
                </a:cubicBezTo>
                <a:cubicBezTo>
                  <a:pt x="4321" y="729"/>
                  <a:pt x="4317" y="726"/>
                  <a:pt x="4311" y="726"/>
                </a:cubicBezTo>
                <a:cubicBezTo>
                  <a:pt x="4309" y="726"/>
                  <a:pt x="4308" y="726"/>
                  <a:pt x="4307" y="726"/>
                </a:cubicBezTo>
                <a:cubicBezTo>
                  <a:pt x="4300" y="728"/>
                  <a:pt x="4296" y="734"/>
                  <a:pt x="4294" y="739"/>
                </a:cubicBezTo>
                <a:cubicBezTo>
                  <a:pt x="4292" y="743"/>
                  <a:pt x="4292" y="747"/>
                  <a:pt x="4291" y="750"/>
                </a:cubicBezTo>
                <a:cubicBezTo>
                  <a:pt x="4289" y="751"/>
                  <a:pt x="4284" y="754"/>
                  <a:pt x="4280" y="756"/>
                </a:cubicBezTo>
                <a:cubicBezTo>
                  <a:pt x="4275" y="760"/>
                  <a:pt x="4268" y="763"/>
                  <a:pt x="4267" y="772"/>
                </a:cubicBezTo>
                <a:cubicBezTo>
                  <a:pt x="4267" y="775"/>
                  <a:pt x="4269" y="778"/>
                  <a:pt x="4271" y="780"/>
                </a:cubicBezTo>
                <a:cubicBezTo>
                  <a:pt x="4272" y="782"/>
                  <a:pt x="4274" y="783"/>
                  <a:pt x="4275" y="784"/>
                </a:cubicBezTo>
                <a:cubicBezTo>
                  <a:pt x="4271" y="790"/>
                  <a:pt x="4271" y="797"/>
                  <a:pt x="4270" y="805"/>
                </a:cubicBezTo>
                <a:cubicBezTo>
                  <a:pt x="4270" y="814"/>
                  <a:pt x="4269" y="824"/>
                  <a:pt x="4266" y="830"/>
                </a:cubicBezTo>
                <a:close/>
                <a:moveTo>
                  <a:pt x="3920" y="1392"/>
                </a:moveTo>
                <a:cubicBezTo>
                  <a:pt x="3917" y="1395"/>
                  <a:pt x="3916" y="1398"/>
                  <a:pt x="3915" y="1401"/>
                </a:cubicBezTo>
                <a:cubicBezTo>
                  <a:pt x="3914" y="1402"/>
                  <a:pt x="3914" y="1403"/>
                  <a:pt x="3914" y="1404"/>
                </a:cubicBezTo>
                <a:cubicBezTo>
                  <a:pt x="3914" y="1404"/>
                  <a:pt x="3913" y="1404"/>
                  <a:pt x="3913" y="1404"/>
                </a:cubicBezTo>
                <a:cubicBezTo>
                  <a:pt x="3910" y="1407"/>
                  <a:pt x="3907" y="1408"/>
                  <a:pt x="3897" y="1411"/>
                </a:cubicBezTo>
                <a:cubicBezTo>
                  <a:pt x="3886" y="1415"/>
                  <a:pt x="3883" y="1425"/>
                  <a:pt x="3881" y="1432"/>
                </a:cubicBezTo>
                <a:cubicBezTo>
                  <a:pt x="3880" y="1431"/>
                  <a:pt x="3878" y="1430"/>
                  <a:pt x="3877" y="1429"/>
                </a:cubicBezTo>
                <a:cubicBezTo>
                  <a:pt x="3873" y="1427"/>
                  <a:pt x="3870" y="1424"/>
                  <a:pt x="3864" y="1424"/>
                </a:cubicBezTo>
                <a:cubicBezTo>
                  <a:pt x="3862" y="1424"/>
                  <a:pt x="3859" y="1425"/>
                  <a:pt x="3857" y="1427"/>
                </a:cubicBezTo>
                <a:cubicBezTo>
                  <a:pt x="3854" y="1431"/>
                  <a:pt x="3854" y="1436"/>
                  <a:pt x="3854" y="1441"/>
                </a:cubicBezTo>
                <a:cubicBezTo>
                  <a:pt x="3854" y="1453"/>
                  <a:pt x="3857" y="1471"/>
                  <a:pt x="3863" y="1487"/>
                </a:cubicBezTo>
                <a:cubicBezTo>
                  <a:pt x="3868" y="1499"/>
                  <a:pt x="3876" y="1509"/>
                  <a:pt x="3883" y="1515"/>
                </a:cubicBezTo>
                <a:cubicBezTo>
                  <a:pt x="3891" y="1522"/>
                  <a:pt x="3897" y="1526"/>
                  <a:pt x="3903" y="1527"/>
                </a:cubicBezTo>
                <a:cubicBezTo>
                  <a:pt x="3909" y="1526"/>
                  <a:pt x="3920" y="1527"/>
                  <a:pt x="3927" y="1529"/>
                </a:cubicBezTo>
                <a:cubicBezTo>
                  <a:pt x="3931" y="1530"/>
                  <a:pt x="3938" y="1532"/>
                  <a:pt x="3946" y="1532"/>
                </a:cubicBezTo>
                <a:cubicBezTo>
                  <a:pt x="3950" y="1532"/>
                  <a:pt x="3955" y="1531"/>
                  <a:pt x="3959" y="1529"/>
                </a:cubicBezTo>
                <a:cubicBezTo>
                  <a:pt x="3964" y="1528"/>
                  <a:pt x="3968" y="1523"/>
                  <a:pt x="3968" y="1517"/>
                </a:cubicBezTo>
                <a:cubicBezTo>
                  <a:pt x="3968" y="1517"/>
                  <a:pt x="3968" y="1516"/>
                  <a:pt x="3968" y="1516"/>
                </a:cubicBezTo>
                <a:cubicBezTo>
                  <a:pt x="3968" y="1511"/>
                  <a:pt x="3967" y="1506"/>
                  <a:pt x="3967" y="1501"/>
                </a:cubicBezTo>
                <a:cubicBezTo>
                  <a:pt x="3967" y="1491"/>
                  <a:pt x="3969" y="1482"/>
                  <a:pt x="3975" y="1476"/>
                </a:cubicBezTo>
                <a:cubicBezTo>
                  <a:pt x="3979" y="1472"/>
                  <a:pt x="3984" y="1467"/>
                  <a:pt x="3988" y="1462"/>
                </a:cubicBezTo>
                <a:cubicBezTo>
                  <a:pt x="3992" y="1458"/>
                  <a:pt x="3995" y="1451"/>
                  <a:pt x="3995" y="1444"/>
                </a:cubicBezTo>
                <a:cubicBezTo>
                  <a:pt x="3995" y="1440"/>
                  <a:pt x="3995" y="1437"/>
                  <a:pt x="3993" y="1433"/>
                </a:cubicBezTo>
                <a:cubicBezTo>
                  <a:pt x="3988" y="1419"/>
                  <a:pt x="3981" y="1408"/>
                  <a:pt x="3982" y="1404"/>
                </a:cubicBezTo>
                <a:cubicBezTo>
                  <a:pt x="3982" y="1403"/>
                  <a:pt x="3982" y="1403"/>
                  <a:pt x="3983" y="1402"/>
                </a:cubicBezTo>
                <a:cubicBezTo>
                  <a:pt x="3986" y="1398"/>
                  <a:pt x="3990" y="1396"/>
                  <a:pt x="3994" y="1393"/>
                </a:cubicBezTo>
                <a:cubicBezTo>
                  <a:pt x="3997" y="1390"/>
                  <a:pt x="4002" y="1386"/>
                  <a:pt x="4002" y="1380"/>
                </a:cubicBezTo>
                <a:cubicBezTo>
                  <a:pt x="4002" y="1379"/>
                  <a:pt x="4002" y="1377"/>
                  <a:pt x="4000" y="1375"/>
                </a:cubicBezTo>
                <a:cubicBezTo>
                  <a:pt x="3999" y="1373"/>
                  <a:pt x="3996" y="1373"/>
                  <a:pt x="3995" y="1373"/>
                </a:cubicBezTo>
                <a:cubicBezTo>
                  <a:pt x="3991" y="1373"/>
                  <a:pt x="3990" y="1374"/>
                  <a:pt x="3989" y="1374"/>
                </a:cubicBezTo>
                <a:cubicBezTo>
                  <a:pt x="3987" y="1375"/>
                  <a:pt x="3986" y="1375"/>
                  <a:pt x="3985" y="1375"/>
                </a:cubicBezTo>
                <a:cubicBezTo>
                  <a:pt x="3985" y="1375"/>
                  <a:pt x="3985" y="1375"/>
                  <a:pt x="3985" y="1375"/>
                </a:cubicBezTo>
                <a:cubicBezTo>
                  <a:pt x="3985" y="1375"/>
                  <a:pt x="3985" y="1375"/>
                  <a:pt x="3983" y="1373"/>
                </a:cubicBezTo>
                <a:cubicBezTo>
                  <a:pt x="3982" y="1370"/>
                  <a:pt x="3980" y="1364"/>
                  <a:pt x="3980" y="1353"/>
                </a:cubicBezTo>
                <a:cubicBezTo>
                  <a:pt x="3980" y="1351"/>
                  <a:pt x="3979" y="1349"/>
                  <a:pt x="3977" y="1347"/>
                </a:cubicBezTo>
                <a:cubicBezTo>
                  <a:pt x="3975" y="1345"/>
                  <a:pt x="3973" y="1344"/>
                  <a:pt x="3971" y="1344"/>
                </a:cubicBezTo>
                <a:cubicBezTo>
                  <a:pt x="3965" y="1344"/>
                  <a:pt x="3961" y="1347"/>
                  <a:pt x="3957" y="1351"/>
                </a:cubicBezTo>
                <a:cubicBezTo>
                  <a:pt x="3953" y="1355"/>
                  <a:pt x="3949" y="1359"/>
                  <a:pt x="3948" y="1365"/>
                </a:cubicBezTo>
                <a:cubicBezTo>
                  <a:pt x="3948" y="1366"/>
                  <a:pt x="3948" y="1367"/>
                  <a:pt x="3948" y="1367"/>
                </a:cubicBezTo>
                <a:cubicBezTo>
                  <a:pt x="3948" y="1371"/>
                  <a:pt x="3949" y="1374"/>
                  <a:pt x="3950" y="1376"/>
                </a:cubicBezTo>
                <a:cubicBezTo>
                  <a:pt x="3950" y="1377"/>
                  <a:pt x="3950" y="1377"/>
                  <a:pt x="3951" y="1378"/>
                </a:cubicBezTo>
                <a:cubicBezTo>
                  <a:pt x="3949" y="1378"/>
                  <a:pt x="3947" y="1378"/>
                  <a:pt x="3945" y="1378"/>
                </a:cubicBezTo>
                <a:cubicBezTo>
                  <a:pt x="3932" y="1378"/>
                  <a:pt x="3924" y="1385"/>
                  <a:pt x="3920" y="1392"/>
                </a:cubicBezTo>
                <a:close/>
                <a:moveTo>
                  <a:pt x="4009" y="1068"/>
                </a:moveTo>
                <a:cubicBezTo>
                  <a:pt x="4005" y="1076"/>
                  <a:pt x="4003" y="1085"/>
                  <a:pt x="4003" y="1093"/>
                </a:cubicBezTo>
                <a:cubicBezTo>
                  <a:pt x="4003" y="1096"/>
                  <a:pt x="4003" y="1099"/>
                  <a:pt x="4005" y="1102"/>
                </a:cubicBezTo>
                <a:cubicBezTo>
                  <a:pt x="4006" y="1106"/>
                  <a:pt x="4010" y="1108"/>
                  <a:pt x="4014" y="1108"/>
                </a:cubicBezTo>
                <a:cubicBezTo>
                  <a:pt x="4014" y="1108"/>
                  <a:pt x="4014" y="1108"/>
                  <a:pt x="4015" y="1108"/>
                </a:cubicBezTo>
                <a:cubicBezTo>
                  <a:pt x="4015" y="1108"/>
                  <a:pt x="4015" y="1108"/>
                  <a:pt x="4016" y="1108"/>
                </a:cubicBezTo>
                <a:cubicBezTo>
                  <a:pt x="4025" y="1107"/>
                  <a:pt x="4030" y="1099"/>
                  <a:pt x="4034" y="1091"/>
                </a:cubicBezTo>
                <a:cubicBezTo>
                  <a:pt x="4038" y="1083"/>
                  <a:pt x="4041" y="1073"/>
                  <a:pt x="4041" y="1065"/>
                </a:cubicBezTo>
                <a:cubicBezTo>
                  <a:pt x="4041" y="1062"/>
                  <a:pt x="4041" y="1059"/>
                  <a:pt x="4039" y="1056"/>
                </a:cubicBezTo>
                <a:cubicBezTo>
                  <a:pt x="4038" y="1053"/>
                  <a:pt x="4034" y="1051"/>
                  <a:pt x="4030" y="1051"/>
                </a:cubicBezTo>
                <a:cubicBezTo>
                  <a:pt x="4029" y="1051"/>
                  <a:pt x="4029" y="1051"/>
                  <a:pt x="4028" y="1051"/>
                </a:cubicBezTo>
                <a:cubicBezTo>
                  <a:pt x="4028" y="1051"/>
                  <a:pt x="4028" y="1051"/>
                  <a:pt x="4028" y="1051"/>
                </a:cubicBezTo>
                <a:cubicBezTo>
                  <a:pt x="4019" y="1053"/>
                  <a:pt x="4013" y="1061"/>
                  <a:pt x="4009" y="1068"/>
                </a:cubicBezTo>
                <a:close/>
                <a:moveTo>
                  <a:pt x="3994" y="1206"/>
                </a:moveTo>
                <a:cubicBezTo>
                  <a:pt x="3994" y="1209"/>
                  <a:pt x="3995" y="1213"/>
                  <a:pt x="3997" y="1217"/>
                </a:cubicBezTo>
                <a:cubicBezTo>
                  <a:pt x="3997" y="1217"/>
                  <a:pt x="3997" y="1217"/>
                  <a:pt x="3997" y="1217"/>
                </a:cubicBezTo>
                <a:cubicBezTo>
                  <a:pt x="4001" y="1226"/>
                  <a:pt x="4008" y="1233"/>
                  <a:pt x="4014" y="1238"/>
                </a:cubicBezTo>
                <a:cubicBezTo>
                  <a:pt x="4017" y="1241"/>
                  <a:pt x="4019" y="1244"/>
                  <a:pt x="4021" y="1246"/>
                </a:cubicBezTo>
                <a:cubicBezTo>
                  <a:pt x="4021" y="1246"/>
                  <a:pt x="4022" y="1247"/>
                  <a:pt x="4022" y="1247"/>
                </a:cubicBezTo>
                <a:cubicBezTo>
                  <a:pt x="4017" y="1254"/>
                  <a:pt x="4000" y="1267"/>
                  <a:pt x="3997" y="1282"/>
                </a:cubicBezTo>
                <a:cubicBezTo>
                  <a:pt x="3996" y="1283"/>
                  <a:pt x="3996" y="1284"/>
                  <a:pt x="3996" y="1285"/>
                </a:cubicBezTo>
                <a:cubicBezTo>
                  <a:pt x="3996" y="1286"/>
                  <a:pt x="3997" y="1288"/>
                  <a:pt x="3998" y="1289"/>
                </a:cubicBezTo>
                <a:cubicBezTo>
                  <a:pt x="3999" y="1291"/>
                  <a:pt x="4002" y="1292"/>
                  <a:pt x="4003" y="1292"/>
                </a:cubicBezTo>
                <a:cubicBezTo>
                  <a:pt x="4003" y="1292"/>
                  <a:pt x="4004" y="1292"/>
                  <a:pt x="4004" y="1292"/>
                </a:cubicBezTo>
                <a:cubicBezTo>
                  <a:pt x="4009" y="1292"/>
                  <a:pt x="4011" y="1289"/>
                  <a:pt x="4014" y="1287"/>
                </a:cubicBezTo>
                <a:cubicBezTo>
                  <a:pt x="4024" y="1279"/>
                  <a:pt x="4038" y="1264"/>
                  <a:pt x="4043" y="1255"/>
                </a:cubicBezTo>
                <a:cubicBezTo>
                  <a:pt x="4046" y="1251"/>
                  <a:pt x="4049" y="1250"/>
                  <a:pt x="4054" y="1249"/>
                </a:cubicBezTo>
                <a:cubicBezTo>
                  <a:pt x="4057" y="1249"/>
                  <a:pt x="4060" y="1249"/>
                  <a:pt x="4063" y="1248"/>
                </a:cubicBezTo>
                <a:cubicBezTo>
                  <a:pt x="4065" y="1248"/>
                  <a:pt x="4069" y="1246"/>
                  <a:pt x="4071" y="1242"/>
                </a:cubicBezTo>
                <a:cubicBezTo>
                  <a:pt x="4075" y="1235"/>
                  <a:pt x="4075" y="1235"/>
                  <a:pt x="4075" y="1235"/>
                </a:cubicBezTo>
                <a:cubicBezTo>
                  <a:pt x="4076" y="1233"/>
                  <a:pt x="4076" y="1231"/>
                  <a:pt x="4075" y="1230"/>
                </a:cubicBezTo>
                <a:cubicBezTo>
                  <a:pt x="4074" y="1228"/>
                  <a:pt x="4072" y="1227"/>
                  <a:pt x="4071" y="1226"/>
                </a:cubicBezTo>
                <a:cubicBezTo>
                  <a:pt x="4071" y="1226"/>
                  <a:pt x="4058" y="1224"/>
                  <a:pt x="4048" y="1220"/>
                </a:cubicBezTo>
                <a:cubicBezTo>
                  <a:pt x="4046" y="1219"/>
                  <a:pt x="4044" y="1219"/>
                  <a:pt x="4042" y="1219"/>
                </a:cubicBezTo>
                <a:cubicBezTo>
                  <a:pt x="4039" y="1219"/>
                  <a:pt x="4036" y="1219"/>
                  <a:pt x="4034" y="1220"/>
                </a:cubicBezTo>
                <a:cubicBezTo>
                  <a:pt x="4034" y="1219"/>
                  <a:pt x="4034" y="1218"/>
                  <a:pt x="4035" y="1216"/>
                </a:cubicBezTo>
                <a:cubicBezTo>
                  <a:pt x="4037" y="1207"/>
                  <a:pt x="4041" y="1204"/>
                  <a:pt x="4045" y="1201"/>
                </a:cubicBezTo>
                <a:cubicBezTo>
                  <a:pt x="4049" y="1198"/>
                  <a:pt x="4055" y="1193"/>
                  <a:pt x="4055" y="1184"/>
                </a:cubicBezTo>
                <a:cubicBezTo>
                  <a:pt x="4055" y="1182"/>
                  <a:pt x="4055" y="1181"/>
                  <a:pt x="4054" y="1179"/>
                </a:cubicBezTo>
                <a:cubicBezTo>
                  <a:pt x="4053" y="1169"/>
                  <a:pt x="4048" y="1163"/>
                  <a:pt x="4043" y="1159"/>
                </a:cubicBezTo>
                <a:cubicBezTo>
                  <a:pt x="4038" y="1155"/>
                  <a:pt x="4034" y="1153"/>
                  <a:pt x="4030" y="1153"/>
                </a:cubicBezTo>
                <a:cubicBezTo>
                  <a:pt x="4026" y="1153"/>
                  <a:pt x="4021" y="1157"/>
                  <a:pt x="4021" y="1160"/>
                </a:cubicBezTo>
                <a:cubicBezTo>
                  <a:pt x="4019" y="1169"/>
                  <a:pt x="4022" y="1175"/>
                  <a:pt x="4016" y="1179"/>
                </a:cubicBezTo>
                <a:cubicBezTo>
                  <a:pt x="4012" y="1183"/>
                  <a:pt x="4007" y="1186"/>
                  <a:pt x="4003" y="1190"/>
                </a:cubicBezTo>
                <a:cubicBezTo>
                  <a:pt x="3998" y="1193"/>
                  <a:pt x="3994" y="1199"/>
                  <a:pt x="3994" y="1206"/>
                </a:cubicBezTo>
                <a:close/>
              </a:path>
            </a:pathLst>
          </a:custGeom>
          <a:solidFill>
            <a:schemeClr val="bg1"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: 圆角 5"/>
          <p:cNvSpPr/>
          <p:nvPr userDrawn="1"/>
        </p:nvSpPr>
        <p:spPr>
          <a:xfrm>
            <a:off x="1463864" y="2607129"/>
            <a:ext cx="9804400" cy="2260600"/>
          </a:xfrm>
          <a:prstGeom prst="roundRect">
            <a:avLst/>
          </a:prstGeom>
          <a:gradFill>
            <a:gsLst>
              <a:gs pos="100000">
                <a:schemeClr val="accent2">
                  <a:alpha val="0"/>
                </a:schemeClr>
              </a:gs>
              <a:gs pos="0">
                <a:schemeClr val="accent1">
                  <a:alpha val="40000"/>
                </a:schemeClr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2" name="矩形: 圆角 1"/>
          <p:cNvSpPr/>
          <p:nvPr userDrawn="1"/>
        </p:nvSpPr>
        <p:spPr>
          <a:xfrm>
            <a:off x="1333500" y="2377673"/>
            <a:ext cx="9804400" cy="2260600"/>
          </a:xfrm>
          <a:prstGeom prst="round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482370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483486" y="3429002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图形 3"/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0262"/>
          <a:stretch>
            <a:fillRect/>
          </a:stretch>
        </p:blipFill>
        <p:spPr>
          <a:xfrm>
            <a:off x="923737" y="1983973"/>
            <a:ext cx="4323404" cy="3113212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2/1/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301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2/1/1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16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8" name="Freeform 113"/>
          <p:cNvSpPr>
            <a:spLocks noEditPoints="1"/>
          </p:cNvSpPr>
          <p:nvPr userDrawn="1"/>
        </p:nvSpPr>
        <p:spPr bwMode="auto">
          <a:xfrm>
            <a:off x="561232" y="688977"/>
            <a:ext cx="11069536" cy="5442156"/>
          </a:xfrm>
          <a:custGeom>
            <a:avLst/>
            <a:gdLst>
              <a:gd name="T0" fmla="*/ 1302 w 4832"/>
              <a:gd name="T1" fmla="*/ 472 h 2374"/>
              <a:gd name="T2" fmla="*/ 92 w 4832"/>
              <a:gd name="T3" fmla="*/ 600 h 2374"/>
              <a:gd name="T4" fmla="*/ 1495 w 4832"/>
              <a:gd name="T5" fmla="*/ 1292 h 2374"/>
              <a:gd name="T6" fmla="*/ 1140 w 4832"/>
              <a:gd name="T7" fmla="*/ 1152 h 2374"/>
              <a:gd name="T8" fmla="*/ 1388 w 4832"/>
              <a:gd name="T9" fmla="*/ 822 h 2374"/>
              <a:gd name="T10" fmla="*/ 1513 w 4832"/>
              <a:gd name="T11" fmla="*/ 658 h 2374"/>
              <a:gd name="T12" fmla="*/ 1510 w 4832"/>
              <a:gd name="T13" fmla="*/ 476 h 2374"/>
              <a:gd name="T14" fmla="*/ 1245 w 4832"/>
              <a:gd name="T15" fmla="*/ 556 h 2374"/>
              <a:gd name="T16" fmla="*/ 1284 w 4832"/>
              <a:gd name="T17" fmla="*/ 342 h 2374"/>
              <a:gd name="T18" fmla="*/ 1483 w 4832"/>
              <a:gd name="T19" fmla="*/ 457 h 2374"/>
              <a:gd name="T20" fmla="*/ 1210 w 4832"/>
              <a:gd name="T21" fmla="*/ 260 h 2374"/>
              <a:gd name="T22" fmla="*/ 1115 w 4832"/>
              <a:gd name="T23" fmla="*/ 248 h 2374"/>
              <a:gd name="T24" fmla="*/ 972 w 4832"/>
              <a:gd name="T25" fmla="*/ 264 h 2374"/>
              <a:gd name="T26" fmla="*/ 897 w 4832"/>
              <a:gd name="T27" fmla="*/ 188 h 2374"/>
              <a:gd name="T28" fmla="*/ 782 w 4832"/>
              <a:gd name="T29" fmla="*/ 326 h 2374"/>
              <a:gd name="T30" fmla="*/ 208 w 4832"/>
              <a:gd name="T31" fmla="*/ 312 h 2374"/>
              <a:gd name="T32" fmla="*/ 196 w 4832"/>
              <a:gd name="T33" fmla="*/ 519 h 2374"/>
              <a:gd name="T34" fmla="*/ 417 w 4832"/>
              <a:gd name="T35" fmla="*/ 484 h 2374"/>
              <a:gd name="T36" fmla="*/ 813 w 4832"/>
              <a:gd name="T37" fmla="*/ 1027 h 2374"/>
              <a:gd name="T38" fmla="*/ 1225 w 4832"/>
              <a:gd name="T39" fmla="*/ 1313 h 2374"/>
              <a:gd name="T40" fmla="*/ 1402 w 4832"/>
              <a:gd name="T41" fmla="*/ 1972 h 2374"/>
              <a:gd name="T42" fmla="*/ 1500 w 4832"/>
              <a:gd name="T43" fmla="*/ 2229 h 2374"/>
              <a:gd name="T44" fmla="*/ 1858 w 4832"/>
              <a:gd name="T45" fmla="*/ 1697 h 2374"/>
              <a:gd name="T46" fmla="*/ 1242 w 4832"/>
              <a:gd name="T47" fmla="*/ 708 h 2374"/>
              <a:gd name="T48" fmla="*/ 1197 w 4832"/>
              <a:gd name="T49" fmla="*/ 354 h 2374"/>
              <a:gd name="T50" fmla="*/ 1678 w 4832"/>
              <a:gd name="T51" fmla="*/ 1473 h 2374"/>
              <a:gd name="T52" fmla="*/ 4069 w 4832"/>
              <a:gd name="T53" fmla="*/ 1312 h 2374"/>
              <a:gd name="T54" fmla="*/ 4372 w 4832"/>
              <a:gd name="T55" fmla="*/ 1753 h 2374"/>
              <a:gd name="T56" fmla="*/ 4278 w 4832"/>
              <a:gd name="T57" fmla="*/ 1604 h 2374"/>
              <a:gd name="T58" fmla="*/ 3915 w 4832"/>
              <a:gd name="T59" fmla="*/ 1902 h 2374"/>
              <a:gd name="T60" fmla="*/ 4355 w 4832"/>
              <a:gd name="T61" fmla="*/ 2105 h 2374"/>
              <a:gd name="T62" fmla="*/ 4769 w 4832"/>
              <a:gd name="T63" fmla="*/ 2066 h 2374"/>
              <a:gd name="T64" fmla="*/ 2422 w 4832"/>
              <a:gd name="T65" fmla="*/ 804 h 2374"/>
              <a:gd name="T66" fmla="*/ 4823 w 4832"/>
              <a:gd name="T67" fmla="*/ 362 h 2374"/>
              <a:gd name="T68" fmla="*/ 4216 w 4832"/>
              <a:gd name="T69" fmla="*/ 296 h 2374"/>
              <a:gd name="T70" fmla="*/ 3529 w 4832"/>
              <a:gd name="T71" fmla="*/ 259 h 2374"/>
              <a:gd name="T72" fmla="*/ 3291 w 4832"/>
              <a:gd name="T73" fmla="*/ 342 h 2374"/>
              <a:gd name="T74" fmla="*/ 2474 w 4832"/>
              <a:gd name="T75" fmla="*/ 531 h 2374"/>
              <a:gd name="T76" fmla="*/ 2305 w 4832"/>
              <a:gd name="T77" fmla="*/ 617 h 2374"/>
              <a:gd name="T78" fmla="*/ 2144 w 4832"/>
              <a:gd name="T79" fmla="*/ 1215 h 2374"/>
              <a:gd name="T80" fmla="*/ 2625 w 4832"/>
              <a:gd name="T81" fmla="*/ 2014 h 2374"/>
              <a:gd name="T82" fmla="*/ 2980 w 4832"/>
              <a:gd name="T83" fmla="*/ 1294 h 2374"/>
              <a:gd name="T84" fmla="*/ 3319 w 4832"/>
              <a:gd name="T85" fmla="*/ 1093 h 2374"/>
              <a:gd name="T86" fmla="*/ 3704 w 4832"/>
              <a:gd name="T87" fmla="*/ 1197 h 2374"/>
              <a:gd name="T88" fmla="*/ 3889 w 4832"/>
              <a:gd name="T89" fmla="*/ 1144 h 2374"/>
              <a:gd name="T90" fmla="*/ 4171 w 4832"/>
              <a:gd name="T91" fmla="*/ 771 h 2374"/>
              <a:gd name="T92" fmla="*/ 4460 w 4832"/>
              <a:gd name="T93" fmla="*/ 517 h 2374"/>
              <a:gd name="T94" fmla="*/ 2804 w 4832"/>
              <a:gd name="T95" fmla="*/ 472 h 2374"/>
              <a:gd name="T96" fmla="*/ 2604 w 4832"/>
              <a:gd name="T97" fmla="*/ 555 h 2374"/>
              <a:gd name="T98" fmla="*/ 2520 w 4832"/>
              <a:gd name="T99" fmla="*/ 531 h 2374"/>
              <a:gd name="T100" fmla="*/ 2577 w 4832"/>
              <a:gd name="T101" fmla="*/ 935 h 2374"/>
              <a:gd name="T102" fmla="*/ 2607 w 4832"/>
              <a:gd name="T103" fmla="*/ 851 h 2374"/>
              <a:gd name="T104" fmla="*/ 2929 w 4832"/>
              <a:gd name="T105" fmla="*/ 1150 h 2374"/>
              <a:gd name="T106" fmla="*/ 3433 w 4832"/>
              <a:gd name="T107" fmla="*/ 335 h 2374"/>
              <a:gd name="T108" fmla="*/ 2048 w 4832"/>
              <a:gd name="T109" fmla="*/ 113 h 2374"/>
              <a:gd name="T110" fmla="*/ 1424 w 4832"/>
              <a:gd name="T111" fmla="*/ 188 h 2374"/>
              <a:gd name="T112" fmla="*/ 1778 w 4832"/>
              <a:gd name="T113" fmla="*/ 447 h 2374"/>
              <a:gd name="T114" fmla="*/ 1978 w 4832"/>
              <a:gd name="T115" fmla="*/ 315 h 2374"/>
              <a:gd name="T116" fmla="*/ 3020 w 4832"/>
              <a:gd name="T117" fmla="*/ 1881 h 2374"/>
              <a:gd name="T118" fmla="*/ 1328 w 4832"/>
              <a:gd name="T119" fmla="*/ 1167 h 2374"/>
              <a:gd name="T120" fmla="*/ 3863 w 4832"/>
              <a:gd name="T121" fmla="*/ 1594 h 2374"/>
              <a:gd name="T122" fmla="*/ 4308 w 4832"/>
              <a:gd name="T123" fmla="*/ 812 h 2374"/>
              <a:gd name="T124" fmla="*/ 3980 w 4832"/>
              <a:gd name="T125" fmla="*/ 1353 h 2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32" h="2374">
                <a:moveTo>
                  <a:pt x="3080" y="309"/>
                </a:moveTo>
                <a:cubicBezTo>
                  <a:pt x="3080" y="309"/>
                  <a:pt x="3080" y="309"/>
                  <a:pt x="3080" y="309"/>
                </a:cubicBezTo>
                <a:cubicBezTo>
                  <a:pt x="3088" y="312"/>
                  <a:pt x="3102" y="313"/>
                  <a:pt x="3113" y="320"/>
                </a:cubicBezTo>
                <a:cubicBezTo>
                  <a:pt x="3121" y="325"/>
                  <a:pt x="3131" y="328"/>
                  <a:pt x="3140" y="328"/>
                </a:cubicBezTo>
                <a:cubicBezTo>
                  <a:pt x="3140" y="328"/>
                  <a:pt x="3140" y="328"/>
                  <a:pt x="3140" y="328"/>
                </a:cubicBezTo>
                <a:cubicBezTo>
                  <a:pt x="3148" y="328"/>
                  <a:pt x="3155" y="326"/>
                  <a:pt x="3160" y="320"/>
                </a:cubicBezTo>
                <a:cubicBezTo>
                  <a:pt x="3163" y="316"/>
                  <a:pt x="3165" y="312"/>
                  <a:pt x="3165" y="307"/>
                </a:cubicBezTo>
                <a:cubicBezTo>
                  <a:pt x="3165" y="303"/>
                  <a:pt x="3163" y="299"/>
                  <a:pt x="3161" y="295"/>
                </a:cubicBezTo>
                <a:cubicBezTo>
                  <a:pt x="3159" y="292"/>
                  <a:pt x="3156" y="289"/>
                  <a:pt x="3152" y="288"/>
                </a:cubicBezTo>
                <a:cubicBezTo>
                  <a:pt x="3152" y="288"/>
                  <a:pt x="3152" y="288"/>
                  <a:pt x="3152" y="288"/>
                </a:cubicBezTo>
                <a:cubicBezTo>
                  <a:pt x="3152" y="287"/>
                  <a:pt x="3152" y="287"/>
                  <a:pt x="3152" y="286"/>
                </a:cubicBezTo>
                <a:cubicBezTo>
                  <a:pt x="3152" y="285"/>
                  <a:pt x="3153" y="281"/>
                  <a:pt x="3160" y="277"/>
                </a:cubicBezTo>
                <a:cubicBezTo>
                  <a:pt x="3175" y="267"/>
                  <a:pt x="3191" y="255"/>
                  <a:pt x="3206" y="253"/>
                </a:cubicBezTo>
                <a:cubicBezTo>
                  <a:pt x="3215" y="251"/>
                  <a:pt x="3231" y="250"/>
                  <a:pt x="3245" y="250"/>
                </a:cubicBezTo>
                <a:cubicBezTo>
                  <a:pt x="3257" y="250"/>
                  <a:pt x="3269" y="251"/>
                  <a:pt x="3273" y="253"/>
                </a:cubicBezTo>
                <a:cubicBezTo>
                  <a:pt x="3275" y="253"/>
                  <a:pt x="3277" y="253"/>
                  <a:pt x="3279" y="253"/>
                </a:cubicBezTo>
                <a:cubicBezTo>
                  <a:pt x="3288" y="253"/>
                  <a:pt x="3297" y="247"/>
                  <a:pt x="3304" y="241"/>
                </a:cubicBezTo>
                <a:cubicBezTo>
                  <a:pt x="3312" y="235"/>
                  <a:pt x="3318" y="228"/>
                  <a:pt x="3321" y="222"/>
                </a:cubicBezTo>
                <a:cubicBezTo>
                  <a:pt x="3322" y="220"/>
                  <a:pt x="3322" y="218"/>
                  <a:pt x="3322" y="216"/>
                </a:cubicBezTo>
                <a:cubicBezTo>
                  <a:pt x="3322" y="211"/>
                  <a:pt x="3319" y="207"/>
                  <a:pt x="3315" y="205"/>
                </a:cubicBezTo>
                <a:cubicBezTo>
                  <a:pt x="3311" y="203"/>
                  <a:pt x="3307" y="202"/>
                  <a:pt x="3302" y="202"/>
                </a:cubicBezTo>
                <a:cubicBezTo>
                  <a:pt x="3296" y="202"/>
                  <a:pt x="3289" y="204"/>
                  <a:pt x="3285" y="210"/>
                </a:cubicBezTo>
                <a:cubicBezTo>
                  <a:pt x="3285" y="213"/>
                  <a:pt x="3274" y="216"/>
                  <a:pt x="3263" y="216"/>
                </a:cubicBezTo>
                <a:cubicBezTo>
                  <a:pt x="3255" y="216"/>
                  <a:pt x="3247" y="214"/>
                  <a:pt x="3245" y="214"/>
                </a:cubicBezTo>
                <a:cubicBezTo>
                  <a:pt x="3243" y="213"/>
                  <a:pt x="3242" y="213"/>
                  <a:pt x="3240" y="213"/>
                </a:cubicBezTo>
                <a:cubicBezTo>
                  <a:pt x="3232" y="213"/>
                  <a:pt x="3217" y="216"/>
                  <a:pt x="3202" y="218"/>
                </a:cubicBezTo>
                <a:cubicBezTo>
                  <a:pt x="3188" y="221"/>
                  <a:pt x="3173" y="224"/>
                  <a:pt x="3169" y="224"/>
                </a:cubicBezTo>
                <a:cubicBezTo>
                  <a:pt x="3160" y="224"/>
                  <a:pt x="3155" y="230"/>
                  <a:pt x="3151" y="235"/>
                </a:cubicBezTo>
                <a:cubicBezTo>
                  <a:pt x="3146" y="241"/>
                  <a:pt x="3141" y="246"/>
                  <a:pt x="3134" y="250"/>
                </a:cubicBezTo>
                <a:cubicBezTo>
                  <a:pt x="3118" y="258"/>
                  <a:pt x="3096" y="270"/>
                  <a:pt x="3088" y="274"/>
                </a:cubicBezTo>
                <a:cubicBezTo>
                  <a:pt x="3080" y="279"/>
                  <a:pt x="3074" y="289"/>
                  <a:pt x="3073" y="299"/>
                </a:cubicBezTo>
                <a:cubicBezTo>
                  <a:pt x="3073" y="302"/>
                  <a:pt x="3075" y="307"/>
                  <a:pt x="3080" y="309"/>
                </a:cubicBezTo>
                <a:close/>
                <a:moveTo>
                  <a:pt x="969" y="199"/>
                </a:moveTo>
                <a:cubicBezTo>
                  <a:pt x="977" y="199"/>
                  <a:pt x="989" y="196"/>
                  <a:pt x="995" y="196"/>
                </a:cubicBezTo>
                <a:cubicBezTo>
                  <a:pt x="995" y="196"/>
                  <a:pt x="995" y="196"/>
                  <a:pt x="995" y="196"/>
                </a:cubicBezTo>
                <a:cubicBezTo>
                  <a:pt x="995" y="200"/>
                  <a:pt x="995" y="199"/>
                  <a:pt x="996" y="201"/>
                </a:cubicBezTo>
                <a:cubicBezTo>
                  <a:pt x="999" y="206"/>
                  <a:pt x="1003" y="208"/>
                  <a:pt x="1009" y="209"/>
                </a:cubicBezTo>
                <a:cubicBezTo>
                  <a:pt x="1019" y="210"/>
                  <a:pt x="1024" y="213"/>
                  <a:pt x="1031" y="213"/>
                </a:cubicBezTo>
                <a:cubicBezTo>
                  <a:pt x="1031" y="213"/>
                  <a:pt x="1032" y="213"/>
                  <a:pt x="1032" y="213"/>
                </a:cubicBezTo>
                <a:cubicBezTo>
                  <a:pt x="1035" y="213"/>
                  <a:pt x="1038" y="211"/>
                  <a:pt x="1039" y="209"/>
                </a:cubicBezTo>
                <a:cubicBezTo>
                  <a:pt x="1041" y="206"/>
                  <a:pt x="1041" y="204"/>
                  <a:pt x="1041" y="202"/>
                </a:cubicBezTo>
                <a:cubicBezTo>
                  <a:pt x="1041" y="195"/>
                  <a:pt x="1039" y="189"/>
                  <a:pt x="1035" y="183"/>
                </a:cubicBezTo>
                <a:cubicBezTo>
                  <a:pt x="1032" y="179"/>
                  <a:pt x="1031" y="177"/>
                  <a:pt x="1028" y="174"/>
                </a:cubicBezTo>
                <a:cubicBezTo>
                  <a:pt x="1024" y="172"/>
                  <a:pt x="1021" y="171"/>
                  <a:pt x="1014" y="169"/>
                </a:cubicBezTo>
                <a:cubicBezTo>
                  <a:pt x="1004" y="165"/>
                  <a:pt x="994" y="164"/>
                  <a:pt x="985" y="164"/>
                </a:cubicBezTo>
                <a:cubicBezTo>
                  <a:pt x="981" y="164"/>
                  <a:pt x="978" y="165"/>
                  <a:pt x="975" y="165"/>
                </a:cubicBezTo>
                <a:cubicBezTo>
                  <a:pt x="971" y="165"/>
                  <a:pt x="966" y="165"/>
                  <a:pt x="960" y="166"/>
                </a:cubicBezTo>
                <a:cubicBezTo>
                  <a:pt x="955" y="167"/>
                  <a:pt x="949" y="173"/>
                  <a:pt x="948" y="181"/>
                </a:cubicBezTo>
                <a:cubicBezTo>
                  <a:pt x="948" y="182"/>
                  <a:pt x="948" y="182"/>
                  <a:pt x="948" y="183"/>
                </a:cubicBezTo>
                <a:cubicBezTo>
                  <a:pt x="948" y="194"/>
                  <a:pt x="959" y="199"/>
                  <a:pt x="969" y="199"/>
                </a:cubicBezTo>
                <a:close/>
                <a:moveTo>
                  <a:pt x="1296" y="449"/>
                </a:moveTo>
                <a:cubicBezTo>
                  <a:pt x="1294" y="449"/>
                  <a:pt x="1292" y="449"/>
                  <a:pt x="1290" y="450"/>
                </a:cubicBezTo>
                <a:cubicBezTo>
                  <a:pt x="1290" y="450"/>
                  <a:pt x="1290" y="450"/>
                  <a:pt x="1290" y="450"/>
                </a:cubicBezTo>
                <a:cubicBezTo>
                  <a:pt x="1285" y="452"/>
                  <a:pt x="1281" y="455"/>
                  <a:pt x="1281" y="461"/>
                </a:cubicBezTo>
                <a:cubicBezTo>
                  <a:pt x="1282" y="470"/>
                  <a:pt x="1289" y="473"/>
                  <a:pt x="1296" y="474"/>
                </a:cubicBezTo>
                <a:cubicBezTo>
                  <a:pt x="1298" y="474"/>
                  <a:pt x="1300" y="473"/>
                  <a:pt x="1302" y="472"/>
                </a:cubicBezTo>
                <a:cubicBezTo>
                  <a:pt x="1306" y="470"/>
                  <a:pt x="1309" y="466"/>
                  <a:pt x="1309" y="461"/>
                </a:cubicBezTo>
                <a:cubicBezTo>
                  <a:pt x="1309" y="458"/>
                  <a:pt x="1308" y="455"/>
                  <a:pt x="1305" y="452"/>
                </a:cubicBezTo>
                <a:cubicBezTo>
                  <a:pt x="1303" y="450"/>
                  <a:pt x="1300" y="449"/>
                  <a:pt x="1296" y="449"/>
                </a:cubicBezTo>
                <a:close/>
                <a:moveTo>
                  <a:pt x="1480" y="1152"/>
                </a:move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71" y="1152"/>
                  <a:pt x="1469" y="1162"/>
                  <a:pt x="1469" y="1169"/>
                </a:cubicBezTo>
                <a:cubicBezTo>
                  <a:pt x="1469" y="1173"/>
                  <a:pt x="1470" y="1177"/>
                  <a:pt x="1472" y="1181"/>
                </a:cubicBezTo>
                <a:cubicBezTo>
                  <a:pt x="1474" y="1184"/>
                  <a:pt x="1478" y="1188"/>
                  <a:pt x="1483" y="1188"/>
                </a:cubicBezTo>
                <a:cubicBezTo>
                  <a:pt x="1483" y="1188"/>
                  <a:pt x="1483" y="1188"/>
                  <a:pt x="1483" y="1188"/>
                </a:cubicBezTo>
                <a:cubicBezTo>
                  <a:pt x="1485" y="1188"/>
                  <a:pt x="1486" y="1187"/>
                  <a:pt x="1488" y="1186"/>
                </a:cubicBezTo>
                <a:cubicBezTo>
                  <a:pt x="1495" y="1184"/>
                  <a:pt x="1499" y="1176"/>
                  <a:pt x="1499" y="1170"/>
                </a:cubicBezTo>
                <a:cubicBezTo>
                  <a:pt x="1499" y="1162"/>
                  <a:pt x="1494" y="1152"/>
                  <a:pt x="1483" y="1152"/>
                </a:cubicBezTo>
                <a:cubicBezTo>
                  <a:pt x="1482" y="1152"/>
                  <a:pt x="1481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lose/>
                <a:moveTo>
                  <a:pt x="54" y="612"/>
                </a:moveTo>
                <a:cubicBezTo>
                  <a:pt x="51" y="611"/>
                  <a:pt x="38" y="605"/>
                  <a:pt x="38" y="605"/>
                </a:cubicBezTo>
                <a:cubicBezTo>
                  <a:pt x="37" y="605"/>
                  <a:pt x="37" y="605"/>
                  <a:pt x="37" y="605"/>
                </a:cubicBezTo>
                <a:cubicBezTo>
                  <a:pt x="33" y="604"/>
                  <a:pt x="30" y="604"/>
                  <a:pt x="26" y="604"/>
                </a:cubicBezTo>
                <a:cubicBezTo>
                  <a:pt x="21" y="604"/>
                  <a:pt x="16" y="605"/>
                  <a:pt x="12" y="606"/>
                </a:cubicBezTo>
                <a:cubicBezTo>
                  <a:pt x="7" y="607"/>
                  <a:pt x="3" y="609"/>
                  <a:pt x="0" y="614"/>
                </a:cubicBezTo>
                <a:cubicBezTo>
                  <a:pt x="0" y="615"/>
                  <a:pt x="0" y="616"/>
                  <a:pt x="0" y="617"/>
                </a:cubicBezTo>
                <a:cubicBezTo>
                  <a:pt x="0" y="622"/>
                  <a:pt x="2" y="624"/>
                  <a:pt x="4" y="626"/>
                </a:cubicBezTo>
                <a:cubicBezTo>
                  <a:pt x="11" y="630"/>
                  <a:pt x="20" y="632"/>
                  <a:pt x="28" y="632"/>
                </a:cubicBezTo>
                <a:cubicBezTo>
                  <a:pt x="33" y="632"/>
                  <a:pt x="40" y="630"/>
                  <a:pt x="45" y="628"/>
                </a:cubicBezTo>
                <a:cubicBezTo>
                  <a:pt x="48" y="627"/>
                  <a:pt x="50" y="627"/>
                  <a:pt x="53" y="626"/>
                </a:cubicBezTo>
                <a:cubicBezTo>
                  <a:pt x="54" y="625"/>
                  <a:pt x="54" y="624"/>
                  <a:pt x="55" y="624"/>
                </a:cubicBezTo>
                <a:cubicBezTo>
                  <a:pt x="56" y="623"/>
                  <a:pt x="58" y="622"/>
                  <a:pt x="59" y="618"/>
                </a:cubicBezTo>
                <a:cubicBezTo>
                  <a:pt x="59" y="614"/>
                  <a:pt x="55" y="612"/>
                  <a:pt x="54" y="612"/>
                </a:cubicBezTo>
                <a:close/>
                <a:moveTo>
                  <a:pt x="1421" y="1133"/>
                </a:moveTo>
                <a:cubicBezTo>
                  <a:pt x="1413" y="1133"/>
                  <a:pt x="1406" y="1135"/>
                  <a:pt x="1402" y="1135"/>
                </a:cubicBezTo>
                <a:cubicBezTo>
                  <a:pt x="1395" y="1137"/>
                  <a:pt x="1389" y="1143"/>
                  <a:pt x="1383" y="1148"/>
                </a:cubicBezTo>
                <a:cubicBezTo>
                  <a:pt x="1377" y="1154"/>
                  <a:pt x="1372" y="1159"/>
                  <a:pt x="1372" y="1159"/>
                </a:cubicBezTo>
                <a:cubicBezTo>
                  <a:pt x="1371" y="1161"/>
                  <a:pt x="1370" y="1163"/>
                  <a:pt x="1371" y="1165"/>
                </a:cubicBezTo>
                <a:cubicBezTo>
                  <a:pt x="1371" y="1167"/>
                  <a:pt x="1373" y="1169"/>
                  <a:pt x="1375" y="1169"/>
                </a:cubicBezTo>
                <a:cubicBezTo>
                  <a:pt x="1376" y="1169"/>
                  <a:pt x="1388" y="1172"/>
                  <a:pt x="1397" y="1172"/>
                </a:cubicBezTo>
                <a:cubicBezTo>
                  <a:pt x="1402" y="1172"/>
                  <a:pt x="1406" y="1176"/>
                  <a:pt x="1414" y="1181"/>
                </a:cubicBezTo>
                <a:cubicBezTo>
                  <a:pt x="1416" y="1182"/>
                  <a:pt x="1419" y="1183"/>
                  <a:pt x="1421" y="1183"/>
                </a:cubicBezTo>
                <a:cubicBezTo>
                  <a:pt x="1426" y="1183"/>
                  <a:pt x="1431" y="1181"/>
                  <a:pt x="1435" y="1179"/>
                </a:cubicBezTo>
                <a:cubicBezTo>
                  <a:pt x="1437" y="1178"/>
                  <a:pt x="1438" y="1178"/>
                  <a:pt x="1440" y="1177"/>
                </a:cubicBezTo>
                <a:cubicBezTo>
                  <a:pt x="1440" y="1177"/>
                  <a:pt x="1440" y="1177"/>
                  <a:pt x="1440" y="1177"/>
                </a:cubicBezTo>
                <a:cubicBezTo>
                  <a:pt x="1441" y="1177"/>
                  <a:pt x="1441" y="1178"/>
                  <a:pt x="1442" y="1179"/>
                </a:cubicBezTo>
                <a:cubicBezTo>
                  <a:pt x="1444" y="1180"/>
                  <a:pt x="1444" y="1183"/>
                  <a:pt x="1450" y="1183"/>
                </a:cubicBezTo>
                <a:cubicBezTo>
                  <a:pt x="1454" y="1183"/>
                  <a:pt x="1457" y="1179"/>
                  <a:pt x="1457" y="1178"/>
                </a:cubicBezTo>
                <a:cubicBezTo>
                  <a:pt x="1458" y="1175"/>
                  <a:pt x="1458" y="1173"/>
                  <a:pt x="1459" y="1169"/>
                </a:cubicBezTo>
                <a:cubicBezTo>
                  <a:pt x="1459" y="1169"/>
                  <a:pt x="1459" y="1168"/>
                  <a:pt x="1459" y="1167"/>
                </a:cubicBezTo>
                <a:cubicBezTo>
                  <a:pt x="1458" y="1146"/>
                  <a:pt x="1441" y="1137"/>
                  <a:pt x="1431" y="1134"/>
                </a:cubicBezTo>
                <a:cubicBezTo>
                  <a:pt x="1428" y="1133"/>
                  <a:pt x="1424" y="1133"/>
                  <a:pt x="1421" y="1133"/>
                </a:cubicBezTo>
                <a:close/>
                <a:moveTo>
                  <a:pt x="128" y="575"/>
                </a:moveTo>
                <a:cubicBezTo>
                  <a:pt x="128" y="575"/>
                  <a:pt x="128" y="575"/>
                  <a:pt x="128" y="575"/>
                </a:cubicBezTo>
                <a:cubicBezTo>
                  <a:pt x="124" y="574"/>
                  <a:pt x="124" y="574"/>
                  <a:pt x="122" y="574"/>
                </a:cubicBezTo>
                <a:cubicBezTo>
                  <a:pt x="118" y="573"/>
                  <a:pt x="114" y="577"/>
                  <a:pt x="113" y="580"/>
                </a:cubicBezTo>
                <a:cubicBezTo>
                  <a:pt x="111" y="584"/>
                  <a:pt x="110" y="588"/>
                  <a:pt x="109" y="591"/>
                </a:cubicBezTo>
                <a:cubicBezTo>
                  <a:pt x="108" y="594"/>
                  <a:pt x="107" y="595"/>
                  <a:pt x="106" y="595"/>
                </a:cubicBezTo>
                <a:cubicBezTo>
                  <a:pt x="101" y="596"/>
                  <a:pt x="96" y="598"/>
                  <a:pt x="92" y="600"/>
                </a:cubicBezTo>
                <a:cubicBezTo>
                  <a:pt x="90" y="601"/>
                  <a:pt x="88" y="602"/>
                  <a:pt x="86" y="604"/>
                </a:cubicBezTo>
                <a:cubicBezTo>
                  <a:pt x="85" y="605"/>
                  <a:pt x="82" y="607"/>
                  <a:pt x="82" y="611"/>
                </a:cubicBezTo>
                <a:cubicBezTo>
                  <a:pt x="82" y="613"/>
                  <a:pt x="84" y="616"/>
                  <a:pt x="85" y="617"/>
                </a:cubicBezTo>
                <a:cubicBezTo>
                  <a:pt x="87" y="618"/>
                  <a:pt x="88" y="619"/>
                  <a:pt x="89" y="619"/>
                </a:cubicBezTo>
                <a:cubicBezTo>
                  <a:pt x="92" y="620"/>
                  <a:pt x="96" y="620"/>
                  <a:pt x="99" y="620"/>
                </a:cubicBezTo>
                <a:cubicBezTo>
                  <a:pt x="104" y="620"/>
                  <a:pt x="110" y="620"/>
                  <a:pt x="116" y="618"/>
                </a:cubicBezTo>
                <a:cubicBezTo>
                  <a:pt x="121" y="616"/>
                  <a:pt x="125" y="616"/>
                  <a:pt x="129" y="611"/>
                </a:cubicBezTo>
                <a:cubicBezTo>
                  <a:pt x="130" y="608"/>
                  <a:pt x="131" y="605"/>
                  <a:pt x="131" y="601"/>
                </a:cubicBezTo>
                <a:cubicBezTo>
                  <a:pt x="132" y="597"/>
                  <a:pt x="132" y="592"/>
                  <a:pt x="132" y="588"/>
                </a:cubicBezTo>
                <a:cubicBezTo>
                  <a:pt x="132" y="586"/>
                  <a:pt x="133" y="584"/>
                  <a:pt x="132" y="582"/>
                </a:cubicBezTo>
                <a:cubicBezTo>
                  <a:pt x="132" y="580"/>
                  <a:pt x="132" y="577"/>
                  <a:pt x="128" y="575"/>
                </a:cubicBezTo>
                <a:close/>
                <a:moveTo>
                  <a:pt x="1894" y="1537"/>
                </a:moveTo>
                <a:cubicBezTo>
                  <a:pt x="1894" y="1537"/>
                  <a:pt x="1894" y="1537"/>
                  <a:pt x="1894" y="1537"/>
                </a:cubicBezTo>
                <a:cubicBezTo>
                  <a:pt x="1884" y="1532"/>
                  <a:pt x="1868" y="1530"/>
                  <a:pt x="1864" y="1523"/>
                </a:cubicBezTo>
                <a:cubicBezTo>
                  <a:pt x="1860" y="1517"/>
                  <a:pt x="1854" y="1511"/>
                  <a:pt x="1847" y="1507"/>
                </a:cubicBezTo>
                <a:cubicBezTo>
                  <a:pt x="1841" y="1503"/>
                  <a:pt x="1834" y="1500"/>
                  <a:pt x="1828" y="1500"/>
                </a:cubicBezTo>
                <a:cubicBezTo>
                  <a:pt x="1826" y="1500"/>
                  <a:pt x="1825" y="1500"/>
                  <a:pt x="1823" y="1501"/>
                </a:cubicBezTo>
                <a:cubicBezTo>
                  <a:pt x="1820" y="1502"/>
                  <a:pt x="1816" y="1504"/>
                  <a:pt x="1811" y="1504"/>
                </a:cubicBezTo>
                <a:cubicBezTo>
                  <a:pt x="1808" y="1504"/>
                  <a:pt x="1804" y="1503"/>
                  <a:pt x="1801" y="1500"/>
                </a:cubicBezTo>
                <a:cubicBezTo>
                  <a:pt x="1792" y="1493"/>
                  <a:pt x="1777" y="1485"/>
                  <a:pt x="1772" y="1480"/>
                </a:cubicBezTo>
                <a:cubicBezTo>
                  <a:pt x="1764" y="1473"/>
                  <a:pt x="1749" y="1469"/>
                  <a:pt x="1740" y="1469"/>
                </a:cubicBezTo>
                <a:cubicBezTo>
                  <a:pt x="1739" y="1469"/>
                  <a:pt x="1739" y="1468"/>
                  <a:pt x="1734" y="1468"/>
                </a:cubicBezTo>
                <a:cubicBezTo>
                  <a:pt x="1732" y="1468"/>
                  <a:pt x="1730" y="1469"/>
                  <a:pt x="1728" y="1470"/>
                </a:cubicBezTo>
                <a:cubicBezTo>
                  <a:pt x="1728" y="1466"/>
                  <a:pt x="1726" y="1463"/>
                  <a:pt x="1723" y="1460"/>
                </a:cubicBezTo>
                <a:cubicBezTo>
                  <a:pt x="1720" y="1457"/>
                  <a:pt x="1715" y="1456"/>
                  <a:pt x="1711" y="1456"/>
                </a:cubicBezTo>
                <a:cubicBezTo>
                  <a:pt x="1711" y="1456"/>
                  <a:pt x="1710" y="1456"/>
                  <a:pt x="1710" y="1456"/>
                </a:cubicBezTo>
                <a:cubicBezTo>
                  <a:pt x="1712" y="1453"/>
                  <a:pt x="1715" y="1451"/>
                  <a:pt x="1715" y="1446"/>
                </a:cubicBezTo>
                <a:cubicBezTo>
                  <a:pt x="1715" y="1442"/>
                  <a:pt x="1715" y="1437"/>
                  <a:pt x="1712" y="1431"/>
                </a:cubicBezTo>
                <a:cubicBezTo>
                  <a:pt x="1711" y="1426"/>
                  <a:pt x="1706" y="1419"/>
                  <a:pt x="1698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5" y="1417"/>
                  <a:pt x="1693" y="1404"/>
                  <a:pt x="1682" y="1390"/>
                </a:cubicBezTo>
                <a:cubicBezTo>
                  <a:pt x="1669" y="1373"/>
                  <a:pt x="1653" y="1361"/>
                  <a:pt x="1636" y="1361"/>
                </a:cubicBezTo>
                <a:cubicBezTo>
                  <a:pt x="1635" y="1361"/>
                  <a:pt x="1633" y="1361"/>
                  <a:pt x="1631" y="1362"/>
                </a:cubicBezTo>
                <a:cubicBezTo>
                  <a:pt x="1625" y="1363"/>
                  <a:pt x="1619" y="1364"/>
                  <a:pt x="1616" y="1364"/>
                </a:cubicBezTo>
                <a:cubicBezTo>
                  <a:pt x="1612" y="1364"/>
                  <a:pt x="1610" y="1364"/>
                  <a:pt x="1606" y="1357"/>
                </a:cubicBezTo>
                <a:cubicBezTo>
                  <a:pt x="1599" y="1340"/>
                  <a:pt x="1590" y="1336"/>
                  <a:pt x="1587" y="1330"/>
                </a:cubicBezTo>
                <a:cubicBezTo>
                  <a:pt x="1584" y="1325"/>
                  <a:pt x="1578" y="1323"/>
                  <a:pt x="1574" y="1323"/>
                </a:cubicBezTo>
                <a:cubicBezTo>
                  <a:pt x="1570" y="1323"/>
                  <a:pt x="1567" y="1324"/>
                  <a:pt x="1566" y="1324"/>
                </a:cubicBezTo>
                <a:cubicBezTo>
                  <a:pt x="1563" y="1321"/>
                  <a:pt x="1563" y="1321"/>
                  <a:pt x="1563" y="1321"/>
                </a:cubicBezTo>
                <a:cubicBezTo>
                  <a:pt x="1562" y="1319"/>
                  <a:pt x="1559" y="1318"/>
                  <a:pt x="1557" y="1319"/>
                </a:cubicBezTo>
                <a:cubicBezTo>
                  <a:pt x="1564" y="1308"/>
                  <a:pt x="1567" y="1294"/>
                  <a:pt x="1567" y="1285"/>
                </a:cubicBezTo>
                <a:cubicBezTo>
                  <a:pt x="1567" y="1284"/>
                  <a:pt x="1567" y="1283"/>
                  <a:pt x="1566" y="1281"/>
                </a:cubicBezTo>
                <a:cubicBezTo>
                  <a:pt x="1566" y="1280"/>
                  <a:pt x="1566" y="1279"/>
                  <a:pt x="1565" y="1278"/>
                </a:cubicBezTo>
                <a:cubicBezTo>
                  <a:pt x="1564" y="1277"/>
                  <a:pt x="1562" y="1276"/>
                  <a:pt x="1560" y="1276"/>
                </a:cubicBezTo>
                <a:cubicBezTo>
                  <a:pt x="1559" y="1276"/>
                  <a:pt x="1558" y="1276"/>
                  <a:pt x="1557" y="1277"/>
                </a:cubicBezTo>
                <a:cubicBezTo>
                  <a:pt x="1557" y="1277"/>
                  <a:pt x="1557" y="1277"/>
                  <a:pt x="1557" y="1277"/>
                </a:cubicBezTo>
                <a:cubicBezTo>
                  <a:pt x="1553" y="1279"/>
                  <a:pt x="1553" y="1281"/>
                  <a:pt x="1551" y="1283"/>
                </a:cubicBezTo>
                <a:cubicBezTo>
                  <a:pt x="1550" y="1286"/>
                  <a:pt x="1548" y="1290"/>
                  <a:pt x="1546" y="1292"/>
                </a:cubicBezTo>
                <a:cubicBezTo>
                  <a:pt x="1546" y="1293"/>
                  <a:pt x="1545" y="1293"/>
                  <a:pt x="1545" y="1294"/>
                </a:cubicBezTo>
                <a:cubicBezTo>
                  <a:pt x="1544" y="1291"/>
                  <a:pt x="1541" y="1288"/>
                  <a:pt x="1535" y="1284"/>
                </a:cubicBezTo>
                <a:cubicBezTo>
                  <a:pt x="1530" y="1280"/>
                  <a:pt x="1525" y="1279"/>
                  <a:pt x="1519" y="1279"/>
                </a:cubicBezTo>
                <a:cubicBezTo>
                  <a:pt x="1514" y="1279"/>
                  <a:pt x="1509" y="1280"/>
                  <a:pt x="1504" y="1283"/>
                </a:cubicBezTo>
                <a:cubicBezTo>
                  <a:pt x="1500" y="1285"/>
                  <a:pt x="1496" y="1288"/>
                  <a:pt x="1496" y="1294"/>
                </a:cubicBezTo>
                <a:cubicBezTo>
                  <a:pt x="1496" y="1294"/>
                  <a:pt x="1496" y="1294"/>
                  <a:pt x="1496" y="1294"/>
                </a:cubicBezTo>
                <a:cubicBezTo>
                  <a:pt x="1496" y="1294"/>
                  <a:pt x="1495" y="1293"/>
                  <a:pt x="1495" y="1292"/>
                </a:cubicBezTo>
                <a:cubicBezTo>
                  <a:pt x="1491" y="1284"/>
                  <a:pt x="1483" y="1281"/>
                  <a:pt x="1476" y="1281"/>
                </a:cubicBezTo>
                <a:cubicBezTo>
                  <a:pt x="1470" y="1281"/>
                  <a:pt x="1464" y="1283"/>
                  <a:pt x="1459" y="1287"/>
                </a:cubicBezTo>
                <a:cubicBezTo>
                  <a:pt x="1458" y="1285"/>
                  <a:pt x="1456" y="1282"/>
                  <a:pt x="1455" y="1279"/>
                </a:cubicBezTo>
                <a:cubicBezTo>
                  <a:pt x="1454" y="1276"/>
                  <a:pt x="1453" y="1274"/>
                  <a:pt x="1452" y="1272"/>
                </a:cubicBezTo>
                <a:cubicBezTo>
                  <a:pt x="1450" y="1270"/>
                  <a:pt x="1449" y="1267"/>
                  <a:pt x="1443" y="1266"/>
                </a:cubicBezTo>
                <a:cubicBezTo>
                  <a:pt x="1434" y="1267"/>
                  <a:pt x="1422" y="1275"/>
                  <a:pt x="1415" y="1289"/>
                </a:cubicBezTo>
                <a:cubicBezTo>
                  <a:pt x="1414" y="1290"/>
                  <a:pt x="1414" y="1292"/>
                  <a:pt x="1413" y="1293"/>
                </a:cubicBezTo>
                <a:cubicBezTo>
                  <a:pt x="1413" y="1291"/>
                  <a:pt x="1413" y="1289"/>
                  <a:pt x="1414" y="1288"/>
                </a:cubicBezTo>
                <a:cubicBezTo>
                  <a:pt x="1414" y="1287"/>
                  <a:pt x="1415" y="1283"/>
                  <a:pt x="1417" y="1280"/>
                </a:cubicBezTo>
                <a:cubicBezTo>
                  <a:pt x="1419" y="1276"/>
                  <a:pt x="1421" y="1272"/>
                  <a:pt x="1422" y="1267"/>
                </a:cubicBezTo>
                <a:cubicBezTo>
                  <a:pt x="1422" y="1263"/>
                  <a:pt x="1418" y="1258"/>
                  <a:pt x="1414" y="1257"/>
                </a:cubicBezTo>
                <a:cubicBezTo>
                  <a:pt x="1413" y="1257"/>
                  <a:pt x="1411" y="1256"/>
                  <a:pt x="1410" y="1256"/>
                </a:cubicBezTo>
                <a:cubicBezTo>
                  <a:pt x="1402" y="1257"/>
                  <a:pt x="1397" y="1261"/>
                  <a:pt x="1392" y="1265"/>
                </a:cubicBezTo>
                <a:cubicBezTo>
                  <a:pt x="1389" y="1267"/>
                  <a:pt x="1387" y="1269"/>
                  <a:pt x="1385" y="1270"/>
                </a:cubicBezTo>
                <a:cubicBezTo>
                  <a:pt x="1384" y="1271"/>
                  <a:pt x="1383" y="1271"/>
                  <a:pt x="1383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73" y="1275"/>
                  <a:pt x="1362" y="1284"/>
                  <a:pt x="1354" y="1297"/>
                </a:cubicBezTo>
                <a:cubicBezTo>
                  <a:pt x="1347" y="1308"/>
                  <a:pt x="1344" y="1314"/>
                  <a:pt x="1339" y="1317"/>
                </a:cubicBezTo>
                <a:cubicBezTo>
                  <a:pt x="1338" y="1317"/>
                  <a:pt x="1336" y="1318"/>
                  <a:pt x="1335" y="1318"/>
                </a:cubicBezTo>
                <a:cubicBezTo>
                  <a:pt x="1334" y="1318"/>
                  <a:pt x="1332" y="1318"/>
                  <a:pt x="1332" y="1317"/>
                </a:cubicBezTo>
                <a:cubicBezTo>
                  <a:pt x="1332" y="1317"/>
                  <a:pt x="1332" y="1317"/>
                  <a:pt x="1332" y="1317"/>
                </a:cubicBezTo>
                <a:cubicBezTo>
                  <a:pt x="1332" y="1313"/>
                  <a:pt x="1330" y="1311"/>
                  <a:pt x="1329" y="1309"/>
                </a:cubicBezTo>
                <a:cubicBezTo>
                  <a:pt x="1323" y="1303"/>
                  <a:pt x="1315" y="1297"/>
                  <a:pt x="1306" y="1297"/>
                </a:cubicBezTo>
                <a:cubicBezTo>
                  <a:pt x="1304" y="1297"/>
                  <a:pt x="1301" y="1298"/>
                  <a:pt x="1299" y="1301"/>
                </a:cubicBezTo>
                <a:cubicBezTo>
                  <a:pt x="1298" y="1303"/>
                  <a:pt x="1288" y="1308"/>
                  <a:pt x="1277" y="1314"/>
                </a:cubicBezTo>
                <a:cubicBezTo>
                  <a:pt x="1276" y="1314"/>
                  <a:pt x="1275" y="1315"/>
                  <a:pt x="1275" y="1315"/>
                </a:cubicBezTo>
                <a:cubicBezTo>
                  <a:pt x="1271" y="1315"/>
                  <a:pt x="1265" y="1308"/>
                  <a:pt x="1264" y="1304"/>
                </a:cubicBezTo>
                <a:cubicBezTo>
                  <a:pt x="1260" y="1296"/>
                  <a:pt x="1257" y="1299"/>
                  <a:pt x="1256" y="1282"/>
                </a:cubicBezTo>
                <a:cubicBezTo>
                  <a:pt x="1256" y="1279"/>
                  <a:pt x="1256" y="1277"/>
                  <a:pt x="1256" y="1275"/>
                </a:cubicBezTo>
                <a:cubicBezTo>
                  <a:pt x="1256" y="1260"/>
                  <a:pt x="1259" y="1244"/>
                  <a:pt x="1261" y="1236"/>
                </a:cubicBezTo>
                <a:cubicBezTo>
                  <a:pt x="1262" y="1234"/>
                  <a:pt x="1262" y="1232"/>
                  <a:pt x="1262" y="1231"/>
                </a:cubicBezTo>
                <a:cubicBezTo>
                  <a:pt x="1262" y="1223"/>
                  <a:pt x="1257" y="1215"/>
                  <a:pt x="1251" y="1208"/>
                </a:cubicBezTo>
                <a:cubicBezTo>
                  <a:pt x="1245" y="1202"/>
                  <a:pt x="1239" y="1196"/>
                  <a:pt x="1231" y="1196"/>
                </a:cubicBezTo>
                <a:cubicBezTo>
                  <a:pt x="1231" y="1196"/>
                  <a:pt x="1230" y="1196"/>
                  <a:pt x="1229" y="1196"/>
                </a:cubicBezTo>
                <a:cubicBezTo>
                  <a:pt x="1224" y="1197"/>
                  <a:pt x="1220" y="1200"/>
                  <a:pt x="1216" y="1202"/>
                </a:cubicBezTo>
                <a:cubicBezTo>
                  <a:pt x="1212" y="1205"/>
                  <a:pt x="1209" y="1206"/>
                  <a:pt x="1208" y="1206"/>
                </a:cubicBezTo>
                <a:cubicBezTo>
                  <a:pt x="1208" y="1206"/>
                  <a:pt x="1207" y="1206"/>
                  <a:pt x="1207" y="1206"/>
                </a:cubicBezTo>
                <a:cubicBezTo>
                  <a:pt x="1204" y="1205"/>
                  <a:pt x="1205" y="1205"/>
                  <a:pt x="1202" y="1204"/>
                </a:cubicBezTo>
                <a:cubicBezTo>
                  <a:pt x="1200" y="1203"/>
                  <a:pt x="1197" y="1202"/>
                  <a:pt x="1192" y="1202"/>
                </a:cubicBezTo>
                <a:cubicBezTo>
                  <a:pt x="1193" y="1199"/>
                  <a:pt x="1194" y="1197"/>
                  <a:pt x="1195" y="1194"/>
                </a:cubicBezTo>
                <a:cubicBezTo>
                  <a:pt x="1195" y="1191"/>
                  <a:pt x="1196" y="1188"/>
                  <a:pt x="1196" y="1186"/>
                </a:cubicBezTo>
                <a:cubicBezTo>
                  <a:pt x="1196" y="1181"/>
                  <a:pt x="1195" y="1177"/>
                  <a:pt x="1195" y="1173"/>
                </a:cubicBezTo>
                <a:cubicBezTo>
                  <a:pt x="1195" y="1166"/>
                  <a:pt x="1196" y="1161"/>
                  <a:pt x="1201" y="1157"/>
                </a:cubicBezTo>
                <a:cubicBezTo>
                  <a:pt x="1209" y="1150"/>
                  <a:pt x="1211" y="1141"/>
                  <a:pt x="1211" y="1132"/>
                </a:cubicBezTo>
                <a:cubicBezTo>
                  <a:pt x="1211" y="1127"/>
                  <a:pt x="1210" y="1122"/>
                  <a:pt x="1208" y="1117"/>
                </a:cubicBezTo>
                <a:cubicBezTo>
                  <a:pt x="1206" y="1113"/>
                  <a:pt x="1204" y="1109"/>
                  <a:pt x="1198" y="1108"/>
                </a:cubicBezTo>
                <a:cubicBezTo>
                  <a:pt x="1197" y="1108"/>
                  <a:pt x="1195" y="1108"/>
                  <a:pt x="1194" y="1108"/>
                </a:cubicBezTo>
                <a:cubicBezTo>
                  <a:pt x="1185" y="1108"/>
                  <a:pt x="1175" y="1111"/>
                  <a:pt x="1167" y="1111"/>
                </a:cubicBezTo>
                <a:cubicBezTo>
                  <a:pt x="1166" y="1111"/>
                  <a:pt x="1165" y="1111"/>
                  <a:pt x="1164" y="1111"/>
                </a:cubicBezTo>
                <a:cubicBezTo>
                  <a:pt x="1164" y="1110"/>
                  <a:pt x="1163" y="1110"/>
                  <a:pt x="1162" y="1110"/>
                </a:cubicBezTo>
                <a:cubicBezTo>
                  <a:pt x="1150" y="1111"/>
                  <a:pt x="1142" y="1121"/>
                  <a:pt x="1142" y="1133"/>
                </a:cubicBezTo>
                <a:cubicBezTo>
                  <a:pt x="1142" y="1135"/>
                  <a:pt x="1142" y="1138"/>
                  <a:pt x="1143" y="1140"/>
                </a:cubicBezTo>
                <a:cubicBezTo>
                  <a:pt x="1143" y="1142"/>
                  <a:pt x="1143" y="1143"/>
                  <a:pt x="1143" y="1144"/>
                </a:cubicBezTo>
                <a:cubicBezTo>
                  <a:pt x="1143" y="1147"/>
                  <a:pt x="1142" y="1149"/>
                  <a:pt x="1141" y="1151"/>
                </a:cubicBezTo>
                <a:cubicBezTo>
                  <a:pt x="1141" y="1151"/>
                  <a:pt x="1141" y="1151"/>
                  <a:pt x="1140" y="1152"/>
                </a:cubicBezTo>
                <a:cubicBezTo>
                  <a:pt x="1139" y="1150"/>
                  <a:pt x="1136" y="1148"/>
                  <a:pt x="1131" y="1148"/>
                </a:cubicBezTo>
                <a:cubicBezTo>
                  <a:pt x="1126" y="1148"/>
                  <a:pt x="1121" y="1151"/>
                  <a:pt x="1115" y="1156"/>
                </a:cubicBezTo>
                <a:cubicBezTo>
                  <a:pt x="1110" y="1160"/>
                  <a:pt x="1108" y="1161"/>
                  <a:pt x="1106" y="1161"/>
                </a:cubicBezTo>
                <a:cubicBezTo>
                  <a:pt x="1105" y="1161"/>
                  <a:pt x="1101" y="1159"/>
                  <a:pt x="1093" y="1151"/>
                </a:cubicBezTo>
                <a:cubicBezTo>
                  <a:pt x="1080" y="1138"/>
                  <a:pt x="1068" y="1127"/>
                  <a:pt x="1066" y="1110"/>
                </a:cubicBezTo>
                <a:cubicBezTo>
                  <a:pt x="1065" y="1101"/>
                  <a:pt x="1064" y="1091"/>
                  <a:pt x="1064" y="1083"/>
                </a:cubicBezTo>
                <a:cubicBezTo>
                  <a:pt x="1064" y="1075"/>
                  <a:pt x="1065" y="1068"/>
                  <a:pt x="1067" y="1064"/>
                </a:cubicBezTo>
                <a:cubicBezTo>
                  <a:pt x="1069" y="1058"/>
                  <a:pt x="1071" y="1051"/>
                  <a:pt x="1071" y="1044"/>
                </a:cubicBezTo>
                <a:cubicBezTo>
                  <a:pt x="1071" y="1040"/>
                  <a:pt x="1070" y="1036"/>
                  <a:pt x="1069" y="1032"/>
                </a:cubicBezTo>
                <a:cubicBezTo>
                  <a:pt x="1068" y="1029"/>
                  <a:pt x="1067" y="1027"/>
                  <a:pt x="1064" y="1025"/>
                </a:cubicBezTo>
                <a:cubicBezTo>
                  <a:pt x="1064" y="1025"/>
                  <a:pt x="1064" y="1024"/>
                  <a:pt x="1064" y="1024"/>
                </a:cubicBezTo>
                <a:cubicBezTo>
                  <a:pt x="1067" y="1021"/>
                  <a:pt x="1074" y="1016"/>
                  <a:pt x="1077" y="1015"/>
                </a:cubicBezTo>
                <a:cubicBezTo>
                  <a:pt x="1088" y="1010"/>
                  <a:pt x="1099" y="999"/>
                  <a:pt x="1104" y="991"/>
                </a:cubicBezTo>
                <a:cubicBezTo>
                  <a:pt x="1104" y="991"/>
                  <a:pt x="1108" y="990"/>
                  <a:pt x="1113" y="990"/>
                </a:cubicBezTo>
                <a:cubicBezTo>
                  <a:pt x="1116" y="990"/>
                  <a:pt x="1120" y="990"/>
                  <a:pt x="1125" y="990"/>
                </a:cubicBezTo>
                <a:cubicBezTo>
                  <a:pt x="1138" y="991"/>
                  <a:pt x="1136" y="990"/>
                  <a:pt x="1149" y="998"/>
                </a:cubicBezTo>
                <a:cubicBezTo>
                  <a:pt x="1153" y="1000"/>
                  <a:pt x="1156" y="1001"/>
                  <a:pt x="1160" y="1001"/>
                </a:cubicBezTo>
                <a:cubicBezTo>
                  <a:pt x="1166" y="1001"/>
                  <a:pt x="1170" y="997"/>
                  <a:pt x="1171" y="993"/>
                </a:cubicBezTo>
                <a:cubicBezTo>
                  <a:pt x="1173" y="990"/>
                  <a:pt x="1173" y="987"/>
                  <a:pt x="1173" y="984"/>
                </a:cubicBezTo>
                <a:cubicBezTo>
                  <a:pt x="1173" y="984"/>
                  <a:pt x="1174" y="979"/>
                  <a:pt x="1183" y="979"/>
                </a:cubicBezTo>
                <a:cubicBezTo>
                  <a:pt x="1183" y="979"/>
                  <a:pt x="1184" y="979"/>
                  <a:pt x="1185" y="979"/>
                </a:cubicBezTo>
                <a:cubicBezTo>
                  <a:pt x="1186" y="979"/>
                  <a:pt x="1188" y="979"/>
                  <a:pt x="1189" y="979"/>
                </a:cubicBezTo>
                <a:cubicBezTo>
                  <a:pt x="1200" y="979"/>
                  <a:pt x="1212" y="976"/>
                  <a:pt x="1217" y="977"/>
                </a:cubicBezTo>
                <a:cubicBezTo>
                  <a:pt x="1218" y="977"/>
                  <a:pt x="1218" y="977"/>
                  <a:pt x="1218" y="977"/>
                </a:cubicBezTo>
                <a:cubicBezTo>
                  <a:pt x="1219" y="978"/>
                  <a:pt x="1221" y="982"/>
                  <a:pt x="1223" y="985"/>
                </a:cubicBezTo>
                <a:cubicBezTo>
                  <a:pt x="1226" y="988"/>
                  <a:pt x="1229" y="993"/>
                  <a:pt x="1237" y="994"/>
                </a:cubicBezTo>
                <a:cubicBezTo>
                  <a:pt x="1239" y="994"/>
                  <a:pt x="1242" y="993"/>
                  <a:pt x="1243" y="992"/>
                </a:cubicBezTo>
                <a:cubicBezTo>
                  <a:pt x="1244" y="991"/>
                  <a:pt x="1245" y="991"/>
                  <a:pt x="1245" y="990"/>
                </a:cubicBezTo>
                <a:cubicBezTo>
                  <a:pt x="1246" y="998"/>
                  <a:pt x="1248" y="1009"/>
                  <a:pt x="1252" y="1018"/>
                </a:cubicBezTo>
                <a:cubicBezTo>
                  <a:pt x="1255" y="1027"/>
                  <a:pt x="1259" y="1036"/>
                  <a:pt x="1267" y="1040"/>
                </a:cubicBezTo>
                <a:cubicBezTo>
                  <a:pt x="1269" y="1040"/>
                  <a:pt x="1270" y="1042"/>
                  <a:pt x="1271" y="1047"/>
                </a:cubicBezTo>
                <a:cubicBezTo>
                  <a:pt x="1272" y="1050"/>
                  <a:pt x="1272" y="1053"/>
                  <a:pt x="1274" y="1056"/>
                </a:cubicBezTo>
                <a:cubicBezTo>
                  <a:pt x="1276" y="1059"/>
                  <a:pt x="1279" y="1062"/>
                  <a:pt x="1284" y="1062"/>
                </a:cubicBezTo>
                <a:cubicBezTo>
                  <a:pt x="1284" y="1062"/>
                  <a:pt x="1285" y="1062"/>
                  <a:pt x="1285" y="1062"/>
                </a:cubicBezTo>
                <a:cubicBezTo>
                  <a:pt x="1289" y="1062"/>
                  <a:pt x="1293" y="1060"/>
                  <a:pt x="1295" y="1057"/>
                </a:cubicBezTo>
                <a:cubicBezTo>
                  <a:pt x="1301" y="1050"/>
                  <a:pt x="1303" y="1038"/>
                  <a:pt x="1303" y="1029"/>
                </a:cubicBezTo>
                <a:cubicBezTo>
                  <a:pt x="1303" y="1025"/>
                  <a:pt x="1303" y="1021"/>
                  <a:pt x="1302" y="1018"/>
                </a:cubicBezTo>
                <a:cubicBezTo>
                  <a:pt x="1300" y="1014"/>
                  <a:pt x="1298" y="1004"/>
                  <a:pt x="1295" y="994"/>
                </a:cubicBezTo>
                <a:cubicBezTo>
                  <a:pt x="1292" y="985"/>
                  <a:pt x="1289" y="976"/>
                  <a:pt x="1285" y="971"/>
                </a:cubicBezTo>
                <a:cubicBezTo>
                  <a:pt x="1283" y="969"/>
                  <a:pt x="1282" y="966"/>
                  <a:pt x="1282" y="962"/>
                </a:cubicBezTo>
                <a:cubicBezTo>
                  <a:pt x="1282" y="956"/>
                  <a:pt x="1284" y="951"/>
                  <a:pt x="1288" y="950"/>
                </a:cubicBezTo>
                <a:cubicBezTo>
                  <a:pt x="1296" y="946"/>
                  <a:pt x="1305" y="938"/>
                  <a:pt x="1315" y="929"/>
                </a:cubicBezTo>
                <a:cubicBezTo>
                  <a:pt x="1324" y="920"/>
                  <a:pt x="1333" y="911"/>
                  <a:pt x="1337" y="907"/>
                </a:cubicBezTo>
                <a:cubicBezTo>
                  <a:pt x="1340" y="905"/>
                  <a:pt x="1345" y="901"/>
                  <a:pt x="1351" y="898"/>
                </a:cubicBezTo>
                <a:cubicBezTo>
                  <a:pt x="1356" y="894"/>
                  <a:pt x="1363" y="890"/>
                  <a:pt x="1363" y="881"/>
                </a:cubicBezTo>
                <a:cubicBezTo>
                  <a:pt x="1363" y="878"/>
                  <a:pt x="1362" y="876"/>
                  <a:pt x="1361" y="873"/>
                </a:cubicBezTo>
                <a:cubicBezTo>
                  <a:pt x="1356" y="865"/>
                  <a:pt x="1354" y="860"/>
                  <a:pt x="1353" y="855"/>
                </a:cubicBezTo>
                <a:cubicBezTo>
                  <a:pt x="1355" y="857"/>
                  <a:pt x="1357" y="858"/>
                  <a:pt x="1359" y="858"/>
                </a:cubicBezTo>
                <a:cubicBezTo>
                  <a:pt x="1365" y="857"/>
                  <a:pt x="1368" y="854"/>
                  <a:pt x="1371" y="851"/>
                </a:cubicBezTo>
                <a:cubicBezTo>
                  <a:pt x="1375" y="847"/>
                  <a:pt x="1377" y="843"/>
                  <a:pt x="1377" y="838"/>
                </a:cubicBezTo>
                <a:cubicBezTo>
                  <a:pt x="1377" y="836"/>
                  <a:pt x="1377" y="834"/>
                  <a:pt x="1376" y="833"/>
                </a:cubicBezTo>
                <a:cubicBezTo>
                  <a:pt x="1375" y="831"/>
                  <a:pt x="1375" y="829"/>
                  <a:pt x="1375" y="828"/>
                </a:cubicBezTo>
                <a:cubicBezTo>
                  <a:pt x="1375" y="827"/>
                  <a:pt x="1375" y="826"/>
                  <a:pt x="1375" y="826"/>
                </a:cubicBezTo>
                <a:cubicBezTo>
                  <a:pt x="1375" y="826"/>
                  <a:pt x="1375" y="826"/>
                  <a:pt x="1376" y="826"/>
                </a:cubicBezTo>
                <a:cubicBezTo>
                  <a:pt x="1376" y="826"/>
                  <a:pt x="1377" y="826"/>
                  <a:pt x="1378" y="826"/>
                </a:cubicBezTo>
                <a:cubicBezTo>
                  <a:pt x="1382" y="826"/>
                  <a:pt x="1386" y="825"/>
                  <a:pt x="1388" y="822"/>
                </a:cubicBezTo>
                <a:cubicBezTo>
                  <a:pt x="1390" y="819"/>
                  <a:pt x="1391" y="816"/>
                  <a:pt x="1391" y="813"/>
                </a:cubicBezTo>
                <a:cubicBezTo>
                  <a:pt x="1391" y="811"/>
                  <a:pt x="1390" y="808"/>
                  <a:pt x="1389" y="806"/>
                </a:cubicBezTo>
                <a:cubicBezTo>
                  <a:pt x="1390" y="805"/>
                  <a:pt x="1393" y="803"/>
                  <a:pt x="1396" y="804"/>
                </a:cubicBezTo>
                <a:cubicBezTo>
                  <a:pt x="1396" y="804"/>
                  <a:pt x="1397" y="804"/>
                  <a:pt x="1398" y="804"/>
                </a:cubicBezTo>
                <a:cubicBezTo>
                  <a:pt x="1400" y="805"/>
                  <a:pt x="1403" y="805"/>
                  <a:pt x="1406" y="805"/>
                </a:cubicBezTo>
                <a:cubicBezTo>
                  <a:pt x="1412" y="805"/>
                  <a:pt x="1418" y="804"/>
                  <a:pt x="1423" y="803"/>
                </a:cubicBezTo>
                <a:cubicBezTo>
                  <a:pt x="1429" y="801"/>
                  <a:pt x="1433" y="799"/>
                  <a:pt x="1437" y="794"/>
                </a:cubicBezTo>
                <a:cubicBezTo>
                  <a:pt x="1438" y="793"/>
                  <a:pt x="1439" y="791"/>
                  <a:pt x="1439" y="789"/>
                </a:cubicBezTo>
                <a:cubicBezTo>
                  <a:pt x="1438" y="783"/>
                  <a:pt x="1435" y="781"/>
                  <a:pt x="1434" y="778"/>
                </a:cubicBezTo>
                <a:cubicBezTo>
                  <a:pt x="1432" y="775"/>
                  <a:pt x="1431" y="772"/>
                  <a:pt x="1431" y="769"/>
                </a:cubicBezTo>
                <a:cubicBezTo>
                  <a:pt x="1431" y="766"/>
                  <a:pt x="1433" y="762"/>
                  <a:pt x="1437" y="759"/>
                </a:cubicBezTo>
                <a:cubicBezTo>
                  <a:pt x="1440" y="756"/>
                  <a:pt x="1445" y="753"/>
                  <a:pt x="1448" y="753"/>
                </a:cubicBezTo>
                <a:cubicBezTo>
                  <a:pt x="1451" y="753"/>
                  <a:pt x="1456" y="752"/>
                  <a:pt x="1460" y="752"/>
                </a:cubicBezTo>
                <a:cubicBezTo>
                  <a:pt x="1462" y="752"/>
                  <a:pt x="1464" y="752"/>
                  <a:pt x="1466" y="751"/>
                </a:cubicBezTo>
                <a:cubicBezTo>
                  <a:pt x="1468" y="750"/>
                  <a:pt x="1471" y="748"/>
                  <a:pt x="1472" y="745"/>
                </a:cubicBezTo>
                <a:cubicBezTo>
                  <a:pt x="1472" y="745"/>
                  <a:pt x="1472" y="745"/>
                  <a:pt x="1472" y="745"/>
                </a:cubicBezTo>
                <a:cubicBezTo>
                  <a:pt x="1472" y="744"/>
                  <a:pt x="1473" y="743"/>
                  <a:pt x="1474" y="742"/>
                </a:cubicBezTo>
                <a:cubicBezTo>
                  <a:pt x="1475" y="746"/>
                  <a:pt x="1475" y="751"/>
                  <a:pt x="1476" y="755"/>
                </a:cubicBezTo>
                <a:cubicBezTo>
                  <a:pt x="1476" y="758"/>
                  <a:pt x="1477" y="762"/>
                  <a:pt x="1479" y="764"/>
                </a:cubicBezTo>
                <a:cubicBezTo>
                  <a:pt x="1481" y="767"/>
                  <a:pt x="1485" y="770"/>
                  <a:pt x="1489" y="770"/>
                </a:cubicBezTo>
                <a:cubicBezTo>
                  <a:pt x="1497" y="770"/>
                  <a:pt x="1502" y="766"/>
                  <a:pt x="1507" y="762"/>
                </a:cubicBezTo>
                <a:cubicBezTo>
                  <a:pt x="1510" y="760"/>
                  <a:pt x="1512" y="759"/>
                  <a:pt x="1513" y="757"/>
                </a:cubicBezTo>
                <a:cubicBezTo>
                  <a:pt x="1514" y="757"/>
                  <a:pt x="1515" y="756"/>
                  <a:pt x="1515" y="756"/>
                </a:cubicBezTo>
                <a:cubicBezTo>
                  <a:pt x="1516" y="756"/>
                  <a:pt x="1516" y="756"/>
                  <a:pt x="1516" y="756"/>
                </a:cubicBezTo>
                <a:cubicBezTo>
                  <a:pt x="1516" y="755"/>
                  <a:pt x="1516" y="755"/>
                  <a:pt x="1516" y="755"/>
                </a:cubicBezTo>
                <a:cubicBezTo>
                  <a:pt x="1520" y="754"/>
                  <a:pt x="1541" y="749"/>
                  <a:pt x="1545" y="747"/>
                </a:cubicBezTo>
                <a:cubicBezTo>
                  <a:pt x="1546" y="747"/>
                  <a:pt x="1554" y="746"/>
                  <a:pt x="1561" y="744"/>
                </a:cubicBezTo>
                <a:cubicBezTo>
                  <a:pt x="1565" y="743"/>
                  <a:pt x="1568" y="742"/>
                  <a:pt x="1572" y="740"/>
                </a:cubicBezTo>
                <a:cubicBezTo>
                  <a:pt x="1575" y="738"/>
                  <a:pt x="1578" y="735"/>
                  <a:pt x="1579" y="729"/>
                </a:cubicBezTo>
                <a:cubicBezTo>
                  <a:pt x="1579" y="728"/>
                  <a:pt x="1578" y="727"/>
                  <a:pt x="1578" y="726"/>
                </a:cubicBezTo>
                <a:cubicBezTo>
                  <a:pt x="1574" y="716"/>
                  <a:pt x="1571" y="706"/>
                  <a:pt x="1566" y="701"/>
                </a:cubicBezTo>
                <a:cubicBezTo>
                  <a:pt x="1565" y="699"/>
                  <a:pt x="1562" y="697"/>
                  <a:pt x="1559" y="697"/>
                </a:cubicBezTo>
                <a:cubicBezTo>
                  <a:pt x="1554" y="697"/>
                  <a:pt x="1552" y="700"/>
                  <a:pt x="1551" y="702"/>
                </a:cubicBezTo>
                <a:cubicBezTo>
                  <a:pt x="1549" y="704"/>
                  <a:pt x="1547" y="707"/>
                  <a:pt x="1545" y="709"/>
                </a:cubicBezTo>
                <a:cubicBezTo>
                  <a:pt x="1544" y="712"/>
                  <a:pt x="1542" y="712"/>
                  <a:pt x="1542" y="712"/>
                </a:cubicBezTo>
                <a:cubicBezTo>
                  <a:pt x="1541" y="712"/>
                  <a:pt x="1541" y="712"/>
                  <a:pt x="1541" y="712"/>
                </a:cubicBezTo>
                <a:cubicBezTo>
                  <a:pt x="1541" y="712"/>
                  <a:pt x="1540" y="707"/>
                  <a:pt x="1540" y="703"/>
                </a:cubicBezTo>
                <a:cubicBezTo>
                  <a:pt x="1540" y="701"/>
                  <a:pt x="1540" y="699"/>
                  <a:pt x="1539" y="697"/>
                </a:cubicBezTo>
                <a:cubicBezTo>
                  <a:pt x="1539" y="694"/>
                  <a:pt x="1536" y="690"/>
                  <a:pt x="1531" y="690"/>
                </a:cubicBezTo>
                <a:cubicBezTo>
                  <a:pt x="1529" y="690"/>
                  <a:pt x="1527" y="691"/>
                  <a:pt x="1525" y="693"/>
                </a:cubicBezTo>
                <a:cubicBezTo>
                  <a:pt x="1521" y="695"/>
                  <a:pt x="1519" y="698"/>
                  <a:pt x="1517" y="699"/>
                </a:cubicBezTo>
                <a:cubicBezTo>
                  <a:pt x="1517" y="699"/>
                  <a:pt x="1517" y="700"/>
                  <a:pt x="1517" y="700"/>
                </a:cubicBezTo>
                <a:cubicBezTo>
                  <a:pt x="1516" y="699"/>
                  <a:pt x="1514" y="697"/>
                  <a:pt x="1513" y="695"/>
                </a:cubicBezTo>
                <a:cubicBezTo>
                  <a:pt x="1513" y="695"/>
                  <a:pt x="1513" y="695"/>
                  <a:pt x="1513" y="695"/>
                </a:cubicBezTo>
                <a:cubicBezTo>
                  <a:pt x="1515" y="692"/>
                  <a:pt x="1518" y="688"/>
                  <a:pt x="1518" y="683"/>
                </a:cubicBezTo>
                <a:cubicBezTo>
                  <a:pt x="1518" y="679"/>
                  <a:pt x="1517" y="675"/>
                  <a:pt x="1514" y="671"/>
                </a:cubicBezTo>
                <a:cubicBezTo>
                  <a:pt x="1509" y="663"/>
                  <a:pt x="1502" y="659"/>
                  <a:pt x="1495" y="659"/>
                </a:cubicBezTo>
                <a:cubicBezTo>
                  <a:pt x="1487" y="659"/>
                  <a:pt x="1481" y="662"/>
                  <a:pt x="1475" y="666"/>
                </a:cubicBezTo>
                <a:cubicBezTo>
                  <a:pt x="1468" y="670"/>
                  <a:pt x="1466" y="671"/>
                  <a:pt x="1463" y="672"/>
                </a:cubicBezTo>
                <a:cubicBezTo>
                  <a:pt x="1463" y="672"/>
                  <a:pt x="1464" y="672"/>
                  <a:pt x="1464" y="671"/>
                </a:cubicBezTo>
                <a:cubicBezTo>
                  <a:pt x="1471" y="664"/>
                  <a:pt x="1481" y="660"/>
                  <a:pt x="1489" y="650"/>
                </a:cubicBezTo>
                <a:cubicBezTo>
                  <a:pt x="1490" y="650"/>
                  <a:pt x="1490" y="650"/>
                  <a:pt x="1492" y="650"/>
                </a:cubicBezTo>
                <a:cubicBezTo>
                  <a:pt x="1494" y="650"/>
                  <a:pt x="1498" y="651"/>
                  <a:pt x="1501" y="653"/>
                </a:cubicBezTo>
                <a:cubicBezTo>
                  <a:pt x="1504" y="654"/>
                  <a:pt x="1507" y="656"/>
                  <a:pt x="1507" y="656"/>
                </a:cubicBezTo>
                <a:cubicBezTo>
                  <a:pt x="1509" y="657"/>
                  <a:pt x="1511" y="657"/>
                  <a:pt x="1513" y="656"/>
                </a:cubicBezTo>
                <a:cubicBezTo>
                  <a:pt x="1513" y="657"/>
                  <a:pt x="1513" y="657"/>
                  <a:pt x="1513" y="658"/>
                </a:cubicBezTo>
                <a:cubicBezTo>
                  <a:pt x="1513" y="662"/>
                  <a:pt x="1513" y="665"/>
                  <a:pt x="1514" y="669"/>
                </a:cubicBezTo>
                <a:cubicBezTo>
                  <a:pt x="1515" y="672"/>
                  <a:pt x="1518" y="677"/>
                  <a:pt x="1524" y="677"/>
                </a:cubicBezTo>
                <a:cubicBezTo>
                  <a:pt x="1529" y="677"/>
                  <a:pt x="1534" y="675"/>
                  <a:pt x="1539" y="672"/>
                </a:cubicBezTo>
                <a:cubicBezTo>
                  <a:pt x="1542" y="671"/>
                  <a:pt x="1544" y="669"/>
                  <a:pt x="1546" y="668"/>
                </a:cubicBezTo>
                <a:cubicBezTo>
                  <a:pt x="1547" y="666"/>
                  <a:pt x="1549" y="665"/>
                  <a:pt x="1550" y="661"/>
                </a:cubicBezTo>
                <a:cubicBezTo>
                  <a:pt x="1550" y="661"/>
                  <a:pt x="1551" y="661"/>
                  <a:pt x="1551" y="661"/>
                </a:cubicBezTo>
                <a:cubicBezTo>
                  <a:pt x="1556" y="660"/>
                  <a:pt x="1561" y="659"/>
                  <a:pt x="1566" y="655"/>
                </a:cubicBezTo>
                <a:cubicBezTo>
                  <a:pt x="1572" y="650"/>
                  <a:pt x="1579" y="650"/>
                  <a:pt x="1587" y="646"/>
                </a:cubicBezTo>
                <a:cubicBezTo>
                  <a:pt x="1592" y="643"/>
                  <a:pt x="1593" y="639"/>
                  <a:pt x="1595" y="636"/>
                </a:cubicBezTo>
                <a:cubicBezTo>
                  <a:pt x="1598" y="633"/>
                  <a:pt x="1599" y="632"/>
                  <a:pt x="1600" y="632"/>
                </a:cubicBezTo>
                <a:cubicBezTo>
                  <a:pt x="1600" y="632"/>
                  <a:pt x="1601" y="632"/>
                  <a:pt x="1601" y="634"/>
                </a:cubicBezTo>
                <a:cubicBezTo>
                  <a:pt x="1601" y="636"/>
                  <a:pt x="1600" y="639"/>
                  <a:pt x="1596" y="642"/>
                </a:cubicBezTo>
                <a:cubicBezTo>
                  <a:pt x="1589" y="647"/>
                  <a:pt x="1585" y="656"/>
                  <a:pt x="1583" y="663"/>
                </a:cubicBezTo>
                <a:cubicBezTo>
                  <a:pt x="1580" y="670"/>
                  <a:pt x="1578" y="676"/>
                  <a:pt x="1577" y="677"/>
                </a:cubicBezTo>
                <a:cubicBezTo>
                  <a:pt x="1574" y="679"/>
                  <a:pt x="1573" y="683"/>
                  <a:pt x="1573" y="687"/>
                </a:cubicBezTo>
                <a:cubicBezTo>
                  <a:pt x="1572" y="690"/>
                  <a:pt x="1574" y="693"/>
                  <a:pt x="1577" y="695"/>
                </a:cubicBezTo>
                <a:cubicBezTo>
                  <a:pt x="1579" y="697"/>
                  <a:pt x="1583" y="698"/>
                  <a:pt x="1586" y="698"/>
                </a:cubicBezTo>
                <a:cubicBezTo>
                  <a:pt x="1587" y="698"/>
                  <a:pt x="1588" y="698"/>
                  <a:pt x="1589" y="698"/>
                </a:cubicBezTo>
                <a:cubicBezTo>
                  <a:pt x="1591" y="698"/>
                  <a:pt x="1593" y="698"/>
                  <a:pt x="1594" y="698"/>
                </a:cubicBezTo>
                <a:cubicBezTo>
                  <a:pt x="1598" y="698"/>
                  <a:pt x="1601" y="698"/>
                  <a:pt x="1605" y="698"/>
                </a:cubicBezTo>
                <a:cubicBezTo>
                  <a:pt x="1608" y="698"/>
                  <a:pt x="1612" y="698"/>
                  <a:pt x="1616" y="696"/>
                </a:cubicBezTo>
                <a:cubicBezTo>
                  <a:pt x="1617" y="696"/>
                  <a:pt x="1617" y="696"/>
                  <a:pt x="1618" y="696"/>
                </a:cubicBezTo>
                <a:cubicBezTo>
                  <a:pt x="1620" y="696"/>
                  <a:pt x="1622" y="698"/>
                  <a:pt x="1623" y="700"/>
                </a:cubicBezTo>
                <a:cubicBezTo>
                  <a:pt x="1624" y="703"/>
                  <a:pt x="1628" y="705"/>
                  <a:pt x="1630" y="705"/>
                </a:cubicBezTo>
                <a:cubicBezTo>
                  <a:pt x="1635" y="704"/>
                  <a:pt x="1637" y="702"/>
                  <a:pt x="1639" y="701"/>
                </a:cubicBezTo>
                <a:cubicBezTo>
                  <a:pt x="1640" y="700"/>
                  <a:pt x="1641" y="699"/>
                  <a:pt x="1641" y="699"/>
                </a:cubicBezTo>
                <a:cubicBezTo>
                  <a:pt x="1641" y="699"/>
                  <a:pt x="1641" y="699"/>
                  <a:pt x="1642" y="699"/>
                </a:cubicBezTo>
                <a:cubicBezTo>
                  <a:pt x="1643" y="698"/>
                  <a:pt x="1645" y="698"/>
                  <a:pt x="1647" y="698"/>
                </a:cubicBezTo>
                <a:cubicBezTo>
                  <a:pt x="1650" y="698"/>
                  <a:pt x="1652" y="699"/>
                  <a:pt x="1652" y="699"/>
                </a:cubicBezTo>
                <a:cubicBezTo>
                  <a:pt x="1654" y="702"/>
                  <a:pt x="1656" y="704"/>
                  <a:pt x="1660" y="704"/>
                </a:cubicBezTo>
                <a:cubicBezTo>
                  <a:pt x="1665" y="704"/>
                  <a:pt x="1667" y="701"/>
                  <a:pt x="1668" y="699"/>
                </a:cubicBezTo>
                <a:cubicBezTo>
                  <a:pt x="1669" y="696"/>
                  <a:pt x="1669" y="694"/>
                  <a:pt x="1669" y="691"/>
                </a:cubicBezTo>
                <a:cubicBezTo>
                  <a:pt x="1669" y="689"/>
                  <a:pt x="1669" y="685"/>
                  <a:pt x="1667" y="682"/>
                </a:cubicBezTo>
                <a:cubicBezTo>
                  <a:pt x="1664" y="675"/>
                  <a:pt x="1659" y="668"/>
                  <a:pt x="1656" y="661"/>
                </a:cubicBezTo>
                <a:cubicBezTo>
                  <a:pt x="1653" y="654"/>
                  <a:pt x="1647" y="647"/>
                  <a:pt x="1639" y="648"/>
                </a:cubicBezTo>
                <a:cubicBezTo>
                  <a:pt x="1637" y="648"/>
                  <a:pt x="1634" y="648"/>
                  <a:pt x="1631" y="649"/>
                </a:cubicBezTo>
                <a:cubicBezTo>
                  <a:pt x="1630" y="649"/>
                  <a:pt x="1629" y="649"/>
                  <a:pt x="1629" y="649"/>
                </a:cubicBezTo>
                <a:cubicBezTo>
                  <a:pt x="1627" y="649"/>
                  <a:pt x="1627" y="649"/>
                  <a:pt x="1626" y="648"/>
                </a:cubicBezTo>
                <a:cubicBezTo>
                  <a:pt x="1624" y="647"/>
                  <a:pt x="1622" y="645"/>
                  <a:pt x="1619" y="643"/>
                </a:cubicBezTo>
                <a:cubicBezTo>
                  <a:pt x="1619" y="643"/>
                  <a:pt x="1618" y="642"/>
                  <a:pt x="1618" y="642"/>
                </a:cubicBezTo>
                <a:cubicBezTo>
                  <a:pt x="1621" y="636"/>
                  <a:pt x="1623" y="633"/>
                  <a:pt x="1626" y="625"/>
                </a:cubicBezTo>
                <a:cubicBezTo>
                  <a:pt x="1627" y="624"/>
                  <a:pt x="1629" y="620"/>
                  <a:pt x="1632" y="616"/>
                </a:cubicBezTo>
                <a:cubicBezTo>
                  <a:pt x="1634" y="612"/>
                  <a:pt x="1636" y="608"/>
                  <a:pt x="1637" y="602"/>
                </a:cubicBezTo>
                <a:cubicBezTo>
                  <a:pt x="1637" y="597"/>
                  <a:pt x="1632" y="591"/>
                  <a:pt x="1626" y="590"/>
                </a:cubicBezTo>
                <a:cubicBezTo>
                  <a:pt x="1618" y="588"/>
                  <a:pt x="1614" y="586"/>
                  <a:pt x="1612" y="584"/>
                </a:cubicBezTo>
                <a:cubicBezTo>
                  <a:pt x="1610" y="583"/>
                  <a:pt x="1609" y="582"/>
                  <a:pt x="1608" y="579"/>
                </a:cubicBezTo>
                <a:cubicBezTo>
                  <a:pt x="1606" y="572"/>
                  <a:pt x="1601" y="566"/>
                  <a:pt x="1595" y="561"/>
                </a:cubicBezTo>
                <a:cubicBezTo>
                  <a:pt x="1592" y="558"/>
                  <a:pt x="1589" y="556"/>
                  <a:pt x="1587" y="554"/>
                </a:cubicBezTo>
                <a:cubicBezTo>
                  <a:pt x="1584" y="553"/>
                  <a:pt x="1582" y="551"/>
                  <a:pt x="1578" y="551"/>
                </a:cubicBezTo>
                <a:cubicBezTo>
                  <a:pt x="1576" y="551"/>
                  <a:pt x="1571" y="551"/>
                  <a:pt x="1567" y="550"/>
                </a:cubicBezTo>
                <a:cubicBezTo>
                  <a:pt x="1565" y="550"/>
                  <a:pt x="1563" y="549"/>
                  <a:pt x="1562" y="549"/>
                </a:cubicBezTo>
                <a:cubicBezTo>
                  <a:pt x="1562" y="549"/>
                  <a:pt x="1562" y="549"/>
                  <a:pt x="1562" y="548"/>
                </a:cubicBezTo>
                <a:cubicBezTo>
                  <a:pt x="1559" y="538"/>
                  <a:pt x="1548" y="525"/>
                  <a:pt x="1542" y="517"/>
                </a:cubicBezTo>
                <a:cubicBezTo>
                  <a:pt x="1540" y="514"/>
                  <a:pt x="1533" y="505"/>
                  <a:pt x="1526" y="496"/>
                </a:cubicBezTo>
                <a:cubicBezTo>
                  <a:pt x="1523" y="491"/>
                  <a:pt x="1520" y="487"/>
                  <a:pt x="1517" y="484"/>
                </a:cubicBezTo>
                <a:cubicBezTo>
                  <a:pt x="1514" y="480"/>
                  <a:pt x="1512" y="478"/>
                  <a:pt x="1510" y="476"/>
                </a:cubicBezTo>
                <a:cubicBezTo>
                  <a:pt x="1509" y="475"/>
                  <a:pt x="1506" y="474"/>
                  <a:pt x="1504" y="474"/>
                </a:cubicBezTo>
                <a:cubicBezTo>
                  <a:pt x="1495" y="475"/>
                  <a:pt x="1491" y="481"/>
                  <a:pt x="1483" y="493"/>
                </a:cubicBezTo>
                <a:cubicBezTo>
                  <a:pt x="1476" y="505"/>
                  <a:pt x="1470" y="507"/>
                  <a:pt x="1467" y="507"/>
                </a:cubicBezTo>
                <a:cubicBezTo>
                  <a:pt x="1466" y="507"/>
                  <a:pt x="1465" y="507"/>
                  <a:pt x="1463" y="506"/>
                </a:cubicBezTo>
                <a:cubicBezTo>
                  <a:pt x="1459" y="504"/>
                  <a:pt x="1457" y="503"/>
                  <a:pt x="1455" y="502"/>
                </a:cubicBezTo>
                <a:cubicBezTo>
                  <a:pt x="1454" y="501"/>
                  <a:pt x="1452" y="499"/>
                  <a:pt x="1448" y="494"/>
                </a:cubicBezTo>
                <a:cubicBezTo>
                  <a:pt x="1447" y="493"/>
                  <a:pt x="1447" y="492"/>
                  <a:pt x="1447" y="492"/>
                </a:cubicBezTo>
                <a:cubicBezTo>
                  <a:pt x="1447" y="492"/>
                  <a:pt x="1448" y="491"/>
                  <a:pt x="1450" y="489"/>
                </a:cubicBezTo>
                <a:cubicBezTo>
                  <a:pt x="1451" y="488"/>
                  <a:pt x="1454" y="486"/>
                  <a:pt x="1454" y="480"/>
                </a:cubicBezTo>
                <a:cubicBezTo>
                  <a:pt x="1454" y="479"/>
                  <a:pt x="1454" y="477"/>
                  <a:pt x="1453" y="476"/>
                </a:cubicBezTo>
                <a:cubicBezTo>
                  <a:pt x="1449" y="469"/>
                  <a:pt x="1443" y="467"/>
                  <a:pt x="1436" y="465"/>
                </a:cubicBezTo>
                <a:cubicBezTo>
                  <a:pt x="1429" y="463"/>
                  <a:pt x="1421" y="462"/>
                  <a:pt x="1415" y="461"/>
                </a:cubicBezTo>
                <a:cubicBezTo>
                  <a:pt x="1412" y="461"/>
                  <a:pt x="1408" y="458"/>
                  <a:pt x="1402" y="453"/>
                </a:cubicBezTo>
                <a:cubicBezTo>
                  <a:pt x="1396" y="449"/>
                  <a:pt x="1389" y="444"/>
                  <a:pt x="1378" y="443"/>
                </a:cubicBezTo>
                <a:cubicBezTo>
                  <a:pt x="1376" y="443"/>
                  <a:pt x="1373" y="443"/>
                  <a:pt x="1370" y="443"/>
                </a:cubicBezTo>
                <a:cubicBezTo>
                  <a:pt x="1354" y="443"/>
                  <a:pt x="1337" y="446"/>
                  <a:pt x="1334" y="446"/>
                </a:cubicBezTo>
                <a:cubicBezTo>
                  <a:pt x="1331" y="446"/>
                  <a:pt x="1327" y="448"/>
                  <a:pt x="1326" y="450"/>
                </a:cubicBezTo>
                <a:cubicBezTo>
                  <a:pt x="1321" y="457"/>
                  <a:pt x="1322" y="465"/>
                  <a:pt x="1320" y="476"/>
                </a:cubicBezTo>
                <a:cubicBezTo>
                  <a:pt x="1320" y="478"/>
                  <a:pt x="1320" y="480"/>
                  <a:pt x="1320" y="481"/>
                </a:cubicBezTo>
                <a:cubicBezTo>
                  <a:pt x="1320" y="486"/>
                  <a:pt x="1320" y="489"/>
                  <a:pt x="1321" y="492"/>
                </a:cubicBezTo>
                <a:cubicBezTo>
                  <a:pt x="1321" y="492"/>
                  <a:pt x="1322" y="493"/>
                  <a:pt x="1322" y="493"/>
                </a:cubicBezTo>
                <a:cubicBezTo>
                  <a:pt x="1319" y="494"/>
                  <a:pt x="1316" y="495"/>
                  <a:pt x="1314" y="496"/>
                </a:cubicBezTo>
                <a:cubicBezTo>
                  <a:pt x="1313" y="496"/>
                  <a:pt x="1311" y="497"/>
                  <a:pt x="1310" y="498"/>
                </a:cubicBezTo>
                <a:cubicBezTo>
                  <a:pt x="1309" y="499"/>
                  <a:pt x="1307" y="501"/>
                  <a:pt x="1307" y="504"/>
                </a:cubicBezTo>
                <a:cubicBezTo>
                  <a:pt x="1307" y="507"/>
                  <a:pt x="1309" y="509"/>
                  <a:pt x="1311" y="510"/>
                </a:cubicBezTo>
                <a:cubicBezTo>
                  <a:pt x="1312" y="512"/>
                  <a:pt x="1314" y="513"/>
                  <a:pt x="1316" y="514"/>
                </a:cubicBezTo>
                <a:cubicBezTo>
                  <a:pt x="1320" y="516"/>
                  <a:pt x="1326" y="522"/>
                  <a:pt x="1330" y="528"/>
                </a:cubicBezTo>
                <a:cubicBezTo>
                  <a:pt x="1333" y="532"/>
                  <a:pt x="1336" y="536"/>
                  <a:pt x="1337" y="538"/>
                </a:cubicBezTo>
                <a:cubicBezTo>
                  <a:pt x="1337" y="539"/>
                  <a:pt x="1337" y="540"/>
                  <a:pt x="1336" y="542"/>
                </a:cubicBezTo>
                <a:cubicBezTo>
                  <a:pt x="1335" y="545"/>
                  <a:pt x="1334" y="549"/>
                  <a:pt x="1331" y="551"/>
                </a:cubicBezTo>
                <a:cubicBezTo>
                  <a:pt x="1327" y="555"/>
                  <a:pt x="1321" y="558"/>
                  <a:pt x="1320" y="559"/>
                </a:cubicBezTo>
                <a:cubicBezTo>
                  <a:pt x="1320" y="559"/>
                  <a:pt x="1320" y="558"/>
                  <a:pt x="1320" y="558"/>
                </a:cubicBezTo>
                <a:cubicBezTo>
                  <a:pt x="1316" y="552"/>
                  <a:pt x="1311" y="549"/>
                  <a:pt x="1305" y="549"/>
                </a:cubicBezTo>
                <a:cubicBezTo>
                  <a:pt x="1303" y="549"/>
                  <a:pt x="1300" y="550"/>
                  <a:pt x="1298" y="552"/>
                </a:cubicBezTo>
                <a:cubicBezTo>
                  <a:pt x="1296" y="553"/>
                  <a:pt x="1294" y="557"/>
                  <a:pt x="1294" y="560"/>
                </a:cubicBezTo>
                <a:cubicBezTo>
                  <a:pt x="1294" y="561"/>
                  <a:pt x="1294" y="563"/>
                  <a:pt x="1295" y="565"/>
                </a:cubicBezTo>
                <a:cubicBezTo>
                  <a:pt x="1297" y="570"/>
                  <a:pt x="1300" y="573"/>
                  <a:pt x="1302" y="576"/>
                </a:cubicBezTo>
                <a:cubicBezTo>
                  <a:pt x="1304" y="579"/>
                  <a:pt x="1305" y="581"/>
                  <a:pt x="1305" y="583"/>
                </a:cubicBezTo>
                <a:cubicBezTo>
                  <a:pt x="1305" y="588"/>
                  <a:pt x="1307" y="593"/>
                  <a:pt x="1308" y="598"/>
                </a:cubicBezTo>
                <a:cubicBezTo>
                  <a:pt x="1310" y="603"/>
                  <a:pt x="1311" y="608"/>
                  <a:pt x="1311" y="612"/>
                </a:cubicBezTo>
                <a:cubicBezTo>
                  <a:pt x="1311" y="614"/>
                  <a:pt x="1310" y="615"/>
                  <a:pt x="1310" y="615"/>
                </a:cubicBezTo>
                <a:cubicBezTo>
                  <a:pt x="1308" y="616"/>
                  <a:pt x="1308" y="616"/>
                  <a:pt x="1306" y="616"/>
                </a:cubicBezTo>
                <a:cubicBezTo>
                  <a:pt x="1303" y="616"/>
                  <a:pt x="1300" y="615"/>
                  <a:pt x="1296" y="615"/>
                </a:cubicBezTo>
                <a:cubicBezTo>
                  <a:pt x="1295" y="615"/>
                  <a:pt x="1294" y="615"/>
                  <a:pt x="1293" y="616"/>
                </a:cubicBezTo>
                <a:cubicBezTo>
                  <a:pt x="1292" y="615"/>
                  <a:pt x="1291" y="613"/>
                  <a:pt x="1291" y="612"/>
                </a:cubicBezTo>
                <a:cubicBezTo>
                  <a:pt x="1295" y="609"/>
                  <a:pt x="1294" y="605"/>
                  <a:pt x="1295" y="602"/>
                </a:cubicBezTo>
                <a:cubicBezTo>
                  <a:pt x="1295" y="593"/>
                  <a:pt x="1292" y="583"/>
                  <a:pt x="1291" y="583"/>
                </a:cubicBezTo>
                <a:cubicBezTo>
                  <a:pt x="1291" y="581"/>
                  <a:pt x="1289" y="579"/>
                  <a:pt x="1286" y="578"/>
                </a:cubicBezTo>
                <a:cubicBezTo>
                  <a:pt x="1284" y="578"/>
                  <a:pt x="1282" y="579"/>
                  <a:pt x="1280" y="581"/>
                </a:cubicBezTo>
                <a:cubicBezTo>
                  <a:pt x="1280" y="581"/>
                  <a:pt x="1280" y="583"/>
                  <a:pt x="1278" y="585"/>
                </a:cubicBezTo>
                <a:cubicBezTo>
                  <a:pt x="1277" y="583"/>
                  <a:pt x="1276" y="581"/>
                  <a:pt x="1276" y="579"/>
                </a:cubicBezTo>
                <a:cubicBezTo>
                  <a:pt x="1274" y="576"/>
                  <a:pt x="1273" y="575"/>
                  <a:pt x="1273" y="572"/>
                </a:cubicBezTo>
                <a:cubicBezTo>
                  <a:pt x="1273" y="567"/>
                  <a:pt x="1272" y="562"/>
                  <a:pt x="1269" y="559"/>
                </a:cubicBezTo>
                <a:cubicBezTo>
                  <a:pt x="1265" y="556"/>
                  <a:pt x="1261" y="554"/>
                  <a:pt x="1256" y="554"/>
                </a:cubicBezTo>
                <a:cubicBezTo>
                  <a:pt x="1253" y="554"/>
                  <a:pt x="1251" y="555"/>
                  <a:pt x="1248" y="555"/>
                </a:cubicBezTo>
                <a:cubicBezTo>
                  <a:pt x="1247" y="555"/>
                  <a:pt x="1246" y="556"/>
                  <a:pt x="1245" y="556"/>
                </a:cubicBezTo>
                <a:cubicBezTo>
                  <a:pt x="1238" y="556"/>
                  <a:pt x="1226" y="550"/>
                  <a:pt x="1209" y="547"/>
                </a:cubicBezTo>
                <a:cubicBezTo>
                  <a:pt x="1189" y="543"/>
                  <a:pt x="1183" y="540"/>
                  <a:pt x="1167" y="531"/>
                </a:cubicBezTo>
                <a:cubicBezTo>
                  <a:pt x="1160" y="527"/>
                  <a:pt x="1154" y="525"/>
                  <a:pt x="1149" y="525"/>
                </a:cubicBezTo>
                <a:cubicBezTo>
                  <a:pt x="1142" y="525"/>
                  <a:pt x="1137" y="528"/>
                  <a:pt x="1134" y="529"/>
                </a:cubicBezTo>
                <a:cubicBezTo>
                  <a:pt x="1134" y="527"/>
                  <a:pt x="1133" y="523"/>
                  <a:pt x="1132" y="519"/>
                </a:cubicBezTo>
                <a:cubicBezTo>
                  <a:pt x="1130" y="515"/>
                  <a:pt x="1127" y="509"/>
                  <a:pt x="1120" y="507"/>
                </a:cubicBezTo>
                <a:cubicBezTo>
                  <a:pt x="1114" y="505"/>
                  <a:pt x="1109" y="506"/>
                  <a:pt x="1109" y="505"/>
                </a:cubicBezTo>
                <a:cubicBezTo>
                  <a:pt x="1109" y="505"/>
                  <a:pt x="1109" y="505"/>
                  <a:pt x="1108" y="504"/>
                </a:cubicBezTo>
                <a:cubicBezTo>
                  <a:pt x="1108" y="503"/>
                  <a:pt x="1107" y="501"/>
                  <a:pt x="1106" y="497"/>
                </a:cubicBezTo>
                <a:cubicBezTo>
                  <a:pt x="1106" y="495"/>
                  <a:pt x="1106" y="493"/>
                  <a:pt x="1106" y="491"/>
                </a:cubicBezTo>
                <a:cubicBezTo>
                  <a:pt x="1106" y="486"/>
                  <a:pt x="1107" y="484"/>
                  <a:pt x="1111" y="479"/>
                </a:cubicBezTo>
                <a:cubicBezTo>
                  <a:pt x="1115" y="475"/>
                  <a:pt x="1122" y="469"/>
                  <a:pt x="1133" y="461"/>
                </a:cubicBezTo>
                <a:cubicBezTo>
                  <a:pt x="1146" y="451"/>
                  <a:pt x="1152" y="444"/>
                  <a:pt x="1156" y="439"/>
                </a:cubicBezTo>
                <a:cubicBezTo>
                  <a:pt x="1161" y="435"/>
                  <a:pt x="1162" y="433"/>
                  <a:pt x="1171" y="432"/>
                </a:cubicBezTo>
                <a:cubicBezTo>
                  <a:pt x="1176" y="431"/>
                  <a:pt x="1180" y="431"/>
                  <a:pt x="1183" y="431"/>
                </a:cubicBezTo>
                <a:cubicBezTo>
                  <a:pt x="1187" y="431"/>
                  <a:pt x="1191" y="432"/>
                  <a:pt x="1194" y="432"/>
                </a:cubicBezTo>
                <a:cubicBezTo>
                  <a:pt x="1196" y="431"/>
                  <a:pt x="1198" y="432"/>
                  <a:pt x="1201" y="430"/>
                </a:cubicBezTo>
                <a:cubicBezTo>
                  <a:pt x="1204" y="428"/>
                  <a:pt x="1206" y="424"/>
                  <a:pt x="1205" y="422"/>
                </a:cubicBezTo>
                <a:cubicBezTo>
                  <a:pt x="1205" y="421"/>
                  <a:pt x="1206" y="419"/>
                  <a:pt x="1206" y="416"/>
                </a:cubicBezTo>
                <a:cubicBezTo>
                  <a:pt x="1207" y="417"/>
                  <a:pt x="1207" y="418"/>
                  <a:pt x="1208" y="418"/>
                </a:cubicBezTo>
                <a:cubicBezTo>
                  <a:pt x="1210" y="419"/>
                  <a:pt x="1212" y="421"/>
                  <a:pt x="1213" y="421"/>
                </a:cubicBezTo>
                <a:cubicBezTo>
                  <a:pt x="1212" y="421"/>
                  <a:pt x="1212" y="421"/>
                  <a:pt x="1212" y="421"/>
                </a:cubicBezTo>
                <a:cubicBezTo>
                  <a:pt x="1208" y="426"/>
                  <a:pt x="1205" y="428"/>
                  <a:pt x="1205" y="434"/>
                </a:cubicBezTo>
                <a:cubicBezTo>
                  <a:pt x="1205" y="439"/>
                  <a:pt x="1210" y="442"/>
                  <a:pt x="1212" y="442"/>
                </a:cubicBezTo>
                <a:cubicBezTo>
                  <a:pt x="1215" y="443"/>
                  <a:pt x="1217" y="443"/>
                  <a:pt x="1220" y="443"/>
                </a:cubicBezTo>
                <a:cubicBezTo>
                  <a:pt x="1226" y="443"/>
                  <a:pt x="1232" y="440"/>
                  <a:pt x="1237" y="438"/>
                </a:cubicBezTo>
                <a:cubicBezTo>
                  <a:pt x="1242" y="435"/>
                  <a:pt x="1245" y="433"/>
                  <a:pt x="1246" y="433"/>
                </a:cubicBezTo>
                <a:cubicBezTo>
                  <a:pt x="1247" y="432"/>
                  <a:pt x="1248" y="431"/>
                  <a:pt x="1251" y="431"/>
                </a:cubicBezTo>
                <a:cubicBezTo>
                  <a:pt x="1253" y="430"/>
                  <a:pt x="1257" y="429"/>
                  <a:pt x="1259" y="429"/>
                </a:cubicBezTo>
                <a:cubicBezTo>
                  <a:pt x="1260" y="429"/>
                  <a:pt x="1261" y="429"/>
                  <a:pt x="1261" y="429"/>
                </a:cubicBezTo>
                <a:cubicBezTo>
                  <a:pt x="1261" y="429"/>
                  <a:pt x="1261" y="429"/>
                  <a:pt x="1261" y="429"/>
                </a:cubicBezTo>
                <a:cubicBezTo>
                  <a:pt x="1263" y="432"/>
                  <a:pt x="1264" y="436"/>
                  <a:pt x="1266" y="440"/>
                </a:cubicBezTo>
                <a:cubicBezTo>
                  <a:pt x="1266" y="440"/>
                  <a:pt x="1266" y="440"/>
                  <a:pt x="1266" y="440"/>
                </a:cubicBezTo>
                <a:cubicBezTo>
                  <a:pt x="1263" y="438"/>
                  <a:pt x="1260" y="437"/>
                  <a:pt x="1256" y="437"/>
                </a:cubicBezTo>
                <a:cubicBezTo>
                  <a:pt x="1251" y="437"/>
                  <a:pt x="1246" y="439"/>
                  <a:pt x="1243" y="444"/>
                </a:cubicBezTo>
                <a:cubicBezTo>
                  <a:pt x="1243" y="444"/>
                  <a:pt x="1243" y="444"/>
                  <a:pt x="1243" y="444"/>
                </a:cubicBezTo>
                <a:cubicBezTo>
                  <a:pt x="1242" y="445"/>
                  <a:pt x="1241" y="447"/>
                  <a:pt x="1241" y="449"/>
                </a:cubicBezTo>
                <a:cubicBezTo>
                  <a:pt x="1242" y="455"/>
                  <a:pt x="1246" y="456"/>
                  <a:pt x="1249" y="458"/>
                </a:cubicBezTo>
                <a:cubicBezTo>
                  <a:pt x="1252" y="459"/>
                  <a:pt x="1256" y="460"/>
                  <a:pt x="1259" y="460"/>
                </a:cubicBezTo>
                <a:cubicBezTo>
                  <a:pt x="1262" y="460"/>
                  <a:pt x="1267" y="460"/>
                  <a:pt x="1270" y="455"/>
                </a:cubicBezTo>
                <a:cubicBezTo>
                  <a:pt x="1271" y="454"/>
                  <a:pt x="1271" y="452"/>
                  <a:pt x="1271" y="450"/>
                </a:cubicBezTo>
                <a:cubicBezTo>
                  <a:pt x="1271" y="448"/>
                  <a:pt x="1271" y="447"/>
                  <a:pt x="1270" y="445"/>
                </a:cubicBezTo>
                <a:cubicBezTo>
                  <a:pt x="1272" y="447"/>
                  <a:pt x="1275" y="449"/>
                  <a:pt x="1279" y="449"/>
                </a:cubicBezTo>
                <a:cubicBezTo>
                  <a:pt x="1284" y="448"/>
                  <a:pt x="1288" y="447"/>
                  <a:pt x="1292" y="444"/>
                </a:cubicBezTo>
                <a:cubicBezTo>
                  <a:pt x="1297" y="441"/>
                  <a:pt x="1301" y="437"/>
                  <a:pt x="1301" y="430"/>
                </a:cubicBezTo>
                <a:cubicBezTo>
                  <a:pt x="1301" y="425"/>
                  <a:pt x="1298" y="420"/>
                  <a:pt x="1292" y="417"/>
                </a:cubicBezTo>
                <a:cubicBezTo>
                  <a:pt x="1284" y="411"/>
                  <a:pt x="1278" y="409"/>
                  <a:pt x="1273" y="407"/>
                </a:cubicBezTo>
                <a:cubicBezTo>
                  <a:pt x="1267" y="405"/>
                  <a:pt x="1264" y="403"/>
                  <a:pt x="1260" y="399"/>
                </a:cubicBezTo>
                <a:cubicBezTo>
                  <a:pt x="1259" y="396"/>
                  <a:pt x="1257" y="395"/>
                  <a:pt x="1256" y="393"/>
                </a:cubicBezTo>
                <a:cubicBezTo>
                  <a:pt x="1260" y="392"/>
                  <a:pt x="1268" y="388"/>
                  <a:pt x="1271" y="387"/>
                </a:cubicBezTo>
                <a:cubicBezTo>
                  <a:pt x="1271" y="387"/>
                  <a:pt x="1277" y="386"/>
                  <a:pt x="1282" y="384"/>
                </a:cubicBezTo>
                <a:cubicBezTo>
                  <a:pt x="1286" y="382"/>
                  <a:pt x="1293" y="377"/>
                  <a:pt x="1293" y="368"/>
                </a:cubicBezTo>
                <a:cubicBezTo>
                  <a:pt x="1293" y="367"/>
                  <a:pt x="1293" y="365"/>
                  <a:pt x="1293" y="364"/>
                </a:cubicBezTo>
                <a:cubicBezTo>
                  <a:pt x="1290" y="356"/>
                  <a:pt x="1285" y="351"/>
                  <a:pt x="1281" y="349"/>
                </a:cubicBezTo>
                <a:cubicBezTo>
                  <a:pt x="1279" y="348"/>
                  <a:pt x="1277" y="347"/>
                  <a:pt x="1276" y="346"/>
                </a:cubicBezTo>
                <a:cubicBezTo>
                  <a:pt x="1278" y="345"/>
                  <a:pt x="1281" y="343"/>
                  <a:pt x="1284" y="342"/>
                </a:cubicBezTo>
                <a:cubicBezTo>
                  <a:pt x="1284" y="342"/>
                  <a:pt x="1286" y="341"/>
                  <a:pt x="1289" y="341"/>
                </a:cubicBezTo>
                <a:cubicBezTo>
                  <a:pt x="1292" y="341"/>
                  <a:pt x="1295" y="341"/>
                  <a:pt x="1298" y="342"/>
                </a:cubicBezTo>
                <a:cubicBezTo>
                  <a:pt x="1300" y="342"/>
                  <a:pt x="1302" y="342"/>
                  <a:pt x="1302" y="342"/>
                </a:cubicBezTo>
                <a:cubicBezTo>
                  <a:pt x="1302" y="342"/>
                  <a:pt x="1304" y="343"/>
                  <a:pt x="1306" y="343"/>
                </a:cubicBezTo>
                <a:cubicBezTo>
                  <a:pt x="1308" y="342"/>
                  <a:pt x="1310" y="342"/>
                  <a:pt x="1313" y="341"/>
                </a:cubicBezTo>
                <a:cubicBezTo>
                  <a:pt x="1314" y="341"/>
                  <a:pt x="1316" y="340"/>
                  <a:pt x="1317" y="339"/>
                </a:cubicBezTo>
                <a:cubicBezTo>
                  <a:pt x="1317" y="339"/>
                  <a:pt x="1318" y="340"/>
                  <a:pt x="1319" y="341"/>
                </a:cubicBezTo>
                <a:cubicBezTo>
                  <a:pt x="1320" y="343"/>
                  <a:pt x="1323" y="344"/>
                  <a:pt x="1326" y="344"/>
                </a:cubicBezTo>
                <a:cubicBezTo>
                  <a:pt x="1327" y="344"/>
                  <a:pt x="1328" y="344"/>
                  <a:pt x="1330" y="343"/>
                </a:cubicBezTo>
                <a:cubicBezTo>
                  <a:pt x="1332" y="343"/>
                  <a:pt x="1334" y="343"/>
                  <a:pt x="1335" y="343"/>
                </a:cubicBezTo>
                <a:cubicBezTo>
                  <a:pt x="1338" y="343"/>
                  <a:pt x="1338" y="343"/>
                  <a:pt x="1343" y="346"/>
                </a:cubicBezTo>
                <a:cubicBezTo>
                  <a:pt x="1343" y="347"/>
                  <a:pt x="1343" y="347"/>
                  <a:pt x="1343" y="347"/>
                </a:cubicBezTo>
                <a:cubicBezTo>
                  <a:pt x="1343" y="349"/>
                  <a:pt x="1342" y="353"/>
                  <a:pt x="1340" y="355"/>
                </a:cubicBezTo>
                <a:cubicBezTo>
                  <a:pt x="1340" y="357"/>
                  <a:pt x="1339" y="358"/>
                  <a:pt x="1338" y="359"/>
                </a:cubicBezTo>
                <a:cubicBezTo>
                  <a:pt x="1338" y="360"/>
                  <a:pt x="1337" y="360"/>
                  <a:pt x="1337" y="360"/>
                </a:cubicBezTo>
                <a:cubicBezTo>
                  <a:pt x="1335" y="361"/>
                  <a:pt x="1333" y="362"/>
                  <a:pt x="1331" y="364"/>
                </a:cubicBezTo>
                <a:cubicBezTo>
                  <a:pt x="1329" y="365"/>
                  <a:pt x="1326" y="366"/>
                  <a:pt x="1325" y="372"/>
                </a:cubicBezTo>
                <a:cubicBezTo>
                  <a:pt x="1325" y="376"/>
                  <a:pt x="1328" y="378"/>
                  <a:pt x="1330" y="379"/>
                </a:cubicBezTo>
                <a:cubicBezTo>
                  <a:pt x="1332" y="380"/>
                  <a:pt x="1334" y="381"/>
                  <a:pt x="1337" y="381"/>
                </a:cubicBezTo>
                <a:cubicBezTo>
                  <a:pt x="1350" y="382"/>
                  <a:pt x="1359" y="382"/>
                  <a:pt x="1359" y="382"/>
                </a:cubicBezTo>
                <a:cubicBezTo>
                  <a:pt x="1361" y="382"/>
                  <a:pt x="1363" y="382"/>
                  <a:pt x="1364" y="380"/>
                </a:cubicBezTo>
                <a:cubicBezTo>
                  <a:pt x="1364" y="380"/>
                  <a:pt x="1372" y="370"/>
                  <a:pt x="1376" y="361"/>
                </a:cubicBezTo>
                <a:cubicBezTo>
                  <a:pt x="1376" y="361"/>
                  <a:pt x="1376" y="361"/>
                  <a:pt x="1376" y="360"/>
                </a:cubicBezTo>
                <a:cubicBezTo>
                  <a:pt x="1378" y="361"/>
                  <a:pt x="1380" y="362"/>
                  <a:pt x="1382" y="364"/>
                </a:cubicBezTo>
                <a:cubicBezTo>
                  <a:pt x="1383" y="364"/>
                  <a:pt x="1385" y="365"/>
                  <a:pt x="1386" y="366"/>
                </a:cubicBezTo>
                <a:cubicBezTo>
                  <a:pt x="1371" y="371"/>
                  <a:pt x="1365" y="381"/>
                  <a:pt x="1362" y="387"/>
                </a:cubicBezTo>
                <a:cubicBezTo>
                  <a:pt x="1361" y="390"/>
                  <a:pt x="1360" y="392"/>
                  <a:pt x="1359" y="392"/>
                </a:cubicBezTo>
                <a:cubicBezTo>
                  <a:pt x="1359" y="392"/>
                  <a:pt x="1359" y="392"/>
                  <a:pt x="1357" y="393"/>
                </a:cubicBezTo>
                <a:cubicBezTo>
                  <a:pt x="1356" y="393"/>
                  <a:pt x="1353" y="392"/>
                  <a:pt x="1349" y="391"/>
                </a:cubicBezTo>
                <a:cubicBezTo>
                  <a:pt x="1343" y="389"/>
                  <a:pt x="1338" y="389"/>
                  <a:pt x="1334" y="389"/>
                </a:cubicBezTo>
                <a:cubicBezTo>
                  <a:pt x="1326" y="388"/>
                  <a:pt x="1319" y="392"/>
                  <a:pt x="1316" y="398"/>
                </a:cubicBezTo>
                <a:cubicBezTo>
                  <a:pt x="1314" y="402"/>
                  <a:pt x="1314" y="407"/>
                  <a:pt x="1314" y="411"/>
                </a:cubicBezTo>
                <a:cubicBezTo>
                  <a:pt x="1314" y="415"/>
                  <a:pt x="1314" y="420"/>
                  <a:pt x="1315" y="424"/>
                </a:cubicBezTo>
                <a:cubicBezTo>
                  <a:pt x="1316" y="426"/>
                  <a:pt x="1317" y="428"/>
                  <a:pt x="1318" y="429"/>
                </a:cubicBezTo>
                <a:cubicBezTo>
                  <a:pt x="1319" y="431"/>
                  <a:pt x="1321" y="433"/>
                  <a:pt x="1325" y="434"/>
                </a:cubicBezTo>
                <a:cubicBezTo>
                  <a:pt x="1326" y="434"/>
                  <a:pt x="1327" y="433"/>
                  <a:pt x="1328" y="433"/>
                </a:cubicBezTo>
                <a:cubicBezTo>
                  <a:pt x="1333" y="431"/>
                  <a:pt x="1338" y="431"/>
                  <a:pt x="1347" y="427"/>
                </a:cubicBezTo>
                <a:cubicBezTo>
                  <a:pt x="1347" y="427"/>
                  <a:pt x="1348" y="427"/>
                  <a:pt x="1351" y="427"/>
                </a:cubicBezTo>
                <a:cubicBezTo>
                  <a:pt x="1359" y="427"/>
                  <a:pt x="1374" y="429"/>
                  <a:pt x="1383" y="429"/>
                </a:cubicBezTo>
                <a:cubicBezTo>
                  <a:pt x="1384" y="429"/>
                  <a:pt x="1385" y="429"/>
                  <a:pt x="1387" y="429"/>
                </a:cubicBezTo>
                <a:cubicBezTo>
                  <a:pt x="1387" y="429"/>
                  <a:pt x="1388" y="429"/>
                  <a:pt x="1389" y="430"/>
                </a:cubicBezTo>
                <a:cubicBezTo>
                  <a:pt x="1391" y="431"/>
                  <a:pt x="1394" y="434"/>
                  <a:pt x="1396" y="436"/>
                </a:cubicBezTo>
                <a:cubicBezTo>
                  <a:pt x="1399" y="438"/>
                  <a:pt x="1401" y="440"/>
                  <a:pt x="1407" y="441"/>
                </a:cubicBezTo>
                <a:cubicBezTo>
                  <a:pt x="1408" y="441"/>
                  <a:pt x="1409" y="440"/>
                  <a:pt x="1410" y="440"/>
                </a:cubicBezTo>
                <a:cubicBezTo>
                  <a:pt x="1412" y="441"/>
                  <a:pt x="1417" y="446"/>
                  <a:pt x="1421" y="450"/>
                </a:cubicBezTo>
                <a:cubicBezTo>
                  <a:pt x="1423" y="451"/>
                  <a:pt x="1425" y="452"/>
                  <a:pt x="1427" y="452"/>
                </a:cubicBezTo>
                <a:cubicBezTo>
                  <a:pt x="1430" y="452"/>
                  <a:pt x="1433" y="451"/>
                  <a:pt x="1434" y="450"/>
                </a:cubicBezTo>
                <a:cubicBezTo>
                  <a:pt x="1435" y="448"/>
                  <a:pt x="1435" y="447"/>
                  <a:pt x="1436" y="447"/>
                </a:cubicBezTo>
                <a:cubicBezTo>
                  <a:pt x="1436" y="447"/>
                  <a:pt x="1437" y="448"/>
                  <a:pt x="1438" y="448"/>
                </a:cubicBezTo>
                <a:cubicBezTo>
                  <a:pt x="1444" y="454"/>
                  <a:pt x="1445" y="455"/>
                  <a:pt x="1445" y="456"/>
                </a:cubicBezTo>
                <a:cubicBezTo>
                  <a:pt x="1445" y="457"/>
                  <a:pt x="1447" y="459"/>
                  <a:pt x="1450" y="460"/>
                </a:cubicBezTo>
                <a:cubicBezTo>
                  <a:pt x="1452" y="460"/>
                  <a:pt x="1453" y="460"/>
                  <a:pt x="1454" y="460"/>
                </a:cubicBezTo>
                <a:cubicBezTo>
                  <a:pt x="1454" y="460"/>
                  <a:pt x="1454" y="460"/>
                  <a:pt x="1455" y="460"/>
                </a:cubicBezTo>
                <a:cubicBezTo>
                  <a:pt x="1461" y="460"/>
                  <a:pt x="1476" y="462"/>
                  <a:pt x="1476" y="462"/>
                </a:cubicBezTo>
                <a:cubicBezTo>
                  <a:pt x="1478" y="462"/>
                  <a:pt x="1479" y="462"/>
                  <a:pt x="1481" y="461"/>
                </a:cubicBezTo>
                <a:cubicBezTo>
                  <a:pt x="1482" y="460"/>
                  <a:pt x="1483" y="458"/>
                  <a:pt x="1483" y="457"/>
                </a:cubicBezTo>
                <a:cubicBezTo>
                  <a:pt x="1483" y="457"/>
                  <a:pt x="1483" y="456"/>
                  <a:pt x="1483" y="456"/>
                </a:cubicBezTo>
                <a:cubicBezTo>
                  <a:pt x="1483" y="455"/>
                  <a:pt x="1484" y="453"/>
                  <a:pt x="1484" y="452"/>
                </a:cubicBezTo>
                <a:cubicBezTo>
                  <a:pt x="1485" y="451"/>
                  <a:pt x="1485" y="451"/>
                  <a:pt x="1486" y="451"/>
                </a:cubicBezTo>
                <a:cubicBezTo>
                  <a:pt x="1487" y="451"/>
                  <a:pt x="1487" y="451"/>
                  <a:pt x="1488" y="451"/>
                </a:cubicBezTo>
                <a:cubicBezTo>
                  <a:pt x="1491" y="452"/>
                  <a:pt x="1494" y="454"/>
                  <a:pt x="1498" y="456"/>
                </a:cubicBezTo>
                <a:cubicBezTo>
                  <a:pt x="1499" y="458"/>
                  <a:pt x="1501" y="459"/>
                  <a:pt x="1502" y="460"/>
                </a:cubicBezTo>
                <a:cubicBezTo>
                  <a:pt x="1504" y="461"/>
                  <a:pt x="1505" y="462"/>
                  <a:pt x="1509" y="462"/>
                </a:cubicBezTo>
                <a:cubicBezTo>
                  <a:pt x="1511" y="462"/>
                  <a:pt x="1514" y="461"/>
                  <a:pt x="1515" y="459"/>
                </a:cubicBezTo>
                <a:cubicBezTo>
                  <a:pt x="1516" y="456"/>
                  <a:pt x="1516" y="455"/>
                  <a:pt x="1516" y="454"/>
                </a:cubicBezTo>
                <a:cubicBezTo>
                  <a:pt x="1516" y="453"/>
                  <a:pt x="1516" y="452"/>
                  <a:pt x="1516" y="452"/>
                </a:cubicBezTo>
                <a:cubicBezTo>
                  <a:pt x="1516" y="447"/>
                  <a:pt x="1516" y="442"/>
                  <a:pt x="1515" y="436"/>
                </a:cubicBezTo>
                <a:cubicBezTo>
                  <a:pt x="1514" y="431"/>
                  <a:pt x="1512" y="425"/>
                  <a:pt x="1506" y="420"/>
                </a:cubicBezTo>
                <a:cubicBezTo>
                  <a:pt x="1501" y="415"/>
                  <a:pt x="1494" y="412"/>
                  <a:pt x="1489" y="409"/>
                </a:cubicBezTo>
                <a:cubicBezTo>
                  <a:pt x="1487" y="407"/>
                  <a:pt x="1484" y="406"/>
                  <a:pt x="1483" y="405"/>
                </a:cubicBezTo>
                <a:cubicBezTo>
                  <a:pt x="1482" y="404"/>
                  <a:pt x="1481" y="404"/>
                  <a:pt x="1481" y="404"/>
                </a:cubicBezTo>
                <a:cubicBezTo>
                  <a:pt x="1481" y="404"/>
                  <a:pt x="1481" y="404"/>
                  <a:pt x="1481" y="404"/>
                </a:cubicBezTo>
                <a:cubicBezTo>
                  <a:pt x="1480" y="402"/>
                  <a:pt x="1479" y="401"/>
                  <a:pt x="1479" y="399"/>
                </a:cubicBezTo>
                <a:cubicBezTo>
                  <a:pt x="1484" y="400"/>
                  <a:pt x="1494" y="403"/>
                  <a:pt x="1499" y="407"/>
                </a:cubicBezTo>
                <a:cubicBezTo>
                  <a:pt x="1506" y="412"/>
                  <a:pt x="1512" y="418"/>
                  <a:pt x="1522" y="419"/>
                </a:cubicBezTo>
                <a:cubicBezTo>
                  <a:pt x="1525" y="419"/>
                  <a:pt x="1528" y="418"/>
                  <a:pt x="1531" y="415"/>
                </a:cubicBezTo>
                <a:cubicBezTo>
                  <a:pt x="1537" y="411"/>
                  <a:pt x="1545" y="408"/>
                  <a:pt x="1550" y="402"/>
                </a:cubicBezTo>
                <a:cubicBezTo>
                  <a:pt x="1554" y="397"/>
                  <a:pt x="1562" y="385"/>
                  <a:pt x="1562" y="385"/>
                </a:cubicBezTo>
                <a:cubicBezTo>
                  <a:pt x="1563" y="383"/>
                  <a:pt x="1564" y="381"/>
                  <a:pt x="1563" y="379"/>
                </a:cubicBezTo>
                <a:cubicBezTo>
                  <a:pt x="1562" y="377"/>
                  <a:pt x="1560" y="376"/>
                  <a:pt x="1558" y="376"/>
                </a:cubicBezTo>
                <a:cubicBezTo>
                  <a:pt x="1558" y="376"/>
                  <a:pt x="1550" y="374"/>
                  <a:pt x="1541" y="372"/>
                </a:cubicBezTo>
                <a:cubicBezTo>
                  <a:pt x="1536" y="371"/>
                  <a:pt x="1532" y="370"/>
                  <a:pt x="1528" y="369"/>
                </a:cubicBezTo>
                <a:cubicBezTo>
                  <a:pt x="1527" y="368"/>
                  <a:pt x="1525" y="368"/>
                  <a:pt x="1524" y="368"/>
                </a:cubicBezTo>
                <a:cubicBezTo>
                  <a:pt x="1524" y="367"/>
                  <a:pt x="1523" y="368"/>
                  <a:pt x="1523" y="368"/>
                </a:cubicBezTo>
                <a:cubicBezTo>
                  <a:pt x="1523" y="368"/>
                  <a:pt x="1523" y="368"/>
                  <a:pt x="1523" y="368"/>
                </a:cubicBezTo>
                <a:cubicBezTo>
                  <a:pt x="1520" y="360"/>
                  <a:pt x="1514" y="358"/>
                  <a:pt x="1509" y="354"/>
                </a:cubicBezTo>
                <a:cubicBezTo>
                  <a:pt x="1503" y="351"/>
                  <a:pt x="1498" y="348"/>
                  <a:pt x="1493" y="347"/>
                </a:cubicBezTo>
                <a:cubicBezTo>
                  <a:pt x="1489" y="347"/>
                  <a:pt x="1487" y="348"/>
                  <a:pt x="1485" y="349"/>
                </a:cubicBezTo>
                <a:cubicBezTo>
                  <a:pt x="1483" y="350"/>
                  <a:pt x="1481" y="350"/>
                  <a:pt x="1480" y="350"/>
                </a:cubicBezTo>
                <a:cubicBezTo>
                  <a:pt x="1478" y="350"/>
                  <a:pt x="1478" y="351"/>
                  <a:pt x="1477" y="347"/>
                </a:cubicBezTo>
                <a:cubicBezTo>
                  <a:pt x="1475" y="341"/>
                  <a:pt x="1473" y="333"/>
                  <a:pt x="1472" y="327"/>
                </a:cubicBezTo>
                <a:cubicBezTo>
                  <a:pt x="1472" y="324"/>
                  <a:pt x="1471" y="321"/>
                  <a:pt x="1470" y="319"/>
                </a:cubicBezTo>
                <a:cubicBezTo>
                  <a:pt x="1469" y="316"/>
                  <a:pt x="1468" y="313"/>
                  <a:pt x="1464" y="311"/>
                </a:cubicBezTo>
                <a:cubicBezTo>
                  <a:pt x="1460" y="310"/>
                  <a:pt x="1448" y="308"/>
                  <a:pt x="1434" y="305"/>
                </a:cubicBezTo>
                <a:cubicBezTo>
                  <a:pt x="1427" y="304"/>
                  <a:pt x="1420" y="302"/>
                  <a:pt x="1415" y="301"/>
                </a:cubicBezTo>
                <a:cubicBezTo>
                  <a:pt x="1410" y="300"/>
                  <a:pt x="1405" y="298"/>
                  <a:pt x="1405" y="298"/>
                </a:cubicBezTo>
                <a:cubicBezTo>
                  <a:pt x="1401" y="295"/>
                  <a:pt x="1392" y="292"/>
                  <a:pt x="1383" y="288"/>
                </a:cubicBezTo>
                <a:cubicBezTo>
                  <a:pt x="1374" y="285"/>
                  <a:pt x="1365" y="280"/>
                  <a:pt x="1360" y="278"/>
                </a:cubicBezTo>
                <a:cubicBezTo>
                  <a:pt x="1350" y="271"/>
                  <a:pt x="1335" y="260"/>
                  <a:pt x="1322" y="260"/>
                </a:cubicBezTo>
                <a:cubicBezTo>
                  <a:pt x="1313" y="260"/>
                  <a:pt x="1283" y="264"/>
                  <a:pt x="1272" y="264"/>
                </a:cubicBezTo>
                <a:cubicBezTo>
                  <a:pt x="1271" y="264"/>
                  <a:pt x="1270" y="264"/>
                  <a:pt x="1270" y="264"/>
                </a:cubicBezTo>
                <a:cubicBezTo>
                  <a:pt x="1268" y="264"/>
                  <a:pt x="1266" y="264"/>
                  <a:pt x="1265" y="264"/>
                </a:cubicBezTo>
                <a:cubicBezTo>
                  <a:pt x="1255" y="264"/>
                  <a:pt x="1239" y="267"/>
                  <a:pt x="1232" y="268"/>
                </a:cubicBezTo>
                <a:cubicBezTo>
                  <a:pt x="1230" y="269"/>
                  <a:pt x="1228" y="270"/>
                  <a:pt x="1226" y="271"/>
                </a:cubicBezTo>
                <a:cubicBezTo>
                  <a:pt x="1225" y="273"/>
                  <a:pt x="1225" y="275"/>
                  <a:pt x="1225" y="277"/>
                </a:cubicBezTo>
                <a:cubicBezTo>
                  <a:pt x="1225" y="283"/>
                  <a:pt x="1228" y="287"/>
                  <a:pt x="1227" y="290"/>
                </a:cubicBezTo>
                <a:cubicBezTo>
                  <a:pt x="1227" y="291"/>
                  <a:pt x="1229" y="290"/>
                  <a:pt x="1224" y="292"/>
                </a:cubicBezTo>
                <a:cubicBezTo>
                  <a:pt x="1222" y="292"/>
                  <a:pt x="1220" y="293"/>
                  <a:pt x="1219" y="293"/>
                </a:cubicBezTo>
                <a:cubicBezTo>
                  <a:pt x="1219" y="291"/>
                  <a:pt x="1220" y="288"/>
                  <a:pt x="1220" y="285"/>
                </a:cubicBezTo>
                <a:cubicBezTo>
                  <a:pt x="1221" y="283"/>
                  <a:pt x="1221" y="280"/>
                  <a:pt x="1221" y="278"/>
                </a:cubicBezTo>
                <a:cubicBezTo>
                  <a:pt x="1221" y="272"/>
                  <a:pt x="1219" y="267"/>
                  <a:pt x="1215" y="263"/>
                </a:cubicBezTo>
                <a:cubicBezTo>
                  <a:pt x="1214" y="261"/>
                  <a:pt x="1212" y="260"/>
                  <a:pt x="1210" y="260"/>
                </a:cubicBezTo>
                <a:cubicBezTo>
                  <a:pt x="1210" y="260"/>
                  <a:pt x="1210" y="260"/>
                  <a:pt x="1211" y="260"/>
                </a:cubicBezTo>
                <a:cubicBezTo>
                  <a:pt x="1213" y="260"/>
                  <a:pt x="1216" y="259"/>
                  <a:pt x="1219" y="260"/>
                </a:cubicBezTo>
                <a:cubicBezTo>
                  <a:pt x="1234" y="261"/>
                  <a:pt x="1256" y="263"/>
                  <a:pt x="1271" y="263"/>
                </a:cubicBezTo>
                <a:cubicBezTo>
                  <a:pt x="1274" y="263"/>
                  <a:pt x="1276" y="263"/>
                  <a:pt x="1278" y="263"/>
                </a:cubicBezTo>
                <a:cubicBezTo>
                  <a:pt x="1286" y="262"/>
                  <a:pt x="1291" y="260"/>
                  <a:pt x="1295" y="257"/>
                </a:cubicBezTo>
                <a:cubicBezTo>
                  <a:pt x="1299" y="254"/>
                  <a:pt x="1301" y="250"/>
                  <a:pt x="1302" y="249"/>
                </a:cubicBezTo>
                <a:cubicBezTo>
                  <a:pt x="1302" y="248"/>
                  <a:pt x="1302" y="247"/>
                  <a:pt x="1302" y="246"/>
                </a:cubicBezTo>
                <a:cubicBezTo>
                  <a:pt x="1302" y="242"/>
                  <a:pt x="1300" y="241"/>
                  <a:pt x="1299" y="240"/>
                </a:cubicBezTo>
                <a:cubicBezTo>
                  <a:pt x="1295" y="237"/>
                  <a:pt x="1289" y="235"/>
                  <a:pt x="1282" y="233"/>
                </a:cubicBezTo>
                <a:cubicBezTo>
                  <a:pt x="1275" y="231"/>
                  <a:pt x="1269" y="230"/>
                  <a:pt x="1264" y="230"/>
                </a:cubicBezTo>
                <a:cubicBezTo>
                  <a:pt x="1263" y="230"/>
                  <a:pt x="1262" y="230"/>
                  <a:pt x="1261" y="230"/>
                </a:cubicBezTo>
                <a:cubicBezTo>
                  <a:pt x="1259" y="231"/>
                  <a:pt x="1247" y="231"/>
                  <a:pt x="1235" y="231"/>
                </a:cubicBezTo>
                <a:cubicBezTo>
                  <a:pt x="1223" y="231"/>
                  <a:pt x="1210" y="231"/>
                  <a:pt x="1205" y="230"/>
                </a:cubicBezTo>
                <a:cubicBezTo>
                  <a:pt x="1199" y="230"/>
                  <a:pt x="1193" y="230"/>
                  <a:pt x="1186" y="230"/>
                </a:cubicBezTo>
                <a:cubicBezTo>
                  <a:pt x="1180" y="230"/>
                  <a:pt x="1174" y="228"/>
                  <a:pt x="1169" y="232"/>
                </a:cubicBezTo>
                <a:cubicBezTo>
                  <a:pt x="1169" y="232"/>
                  <a:pt x="1168" y="232"/>
                  <a:pt x="1168" y="232"/>
                </a:cubicBezTo>
                <a:cubicBezTo>
                  <a:pt x="1163" y="232"/>
                  <a:pt x="1157" y="225"/>
                  <a:pt x="1150" y="220"/>
                </a:cubicBezTo>
                <a:cubicBezTo>
                  <a:pt x="1147" y="218"/>
                  <a:pt x="1141" y="213"/>
                  <a:pt x="1135" y="208"/>
                </a:cubicBezTo>
                <a:cubicBezTo>
                  <a:pt x="1129" y="204"/>
                  <a:pt x="1123" y="199"/>
                  <a:pt x="1116" y="197"/>
                </a:cubicBezTo>
                <a:cubicBezTo>
                  <a:pt x="1107" y="196"/>
                  <a:pt x="1109" y="196"/>
                  <a:pt x="1090" y="190"/>
                </a:cubicBezTo>
                <a:cubicBezTo>
                  <a:pt x="1085" y="189"/>
                  <a:pt x="1078" y="187"/>
                  <a:pt x="1073" y="186"/>
                </a:cubicBezTo>
                <a:cubicBezTo>
                  <a:pt x="1071" y="185"/>
                  <a:pt x="1068" y="184"/>
                  <a:pt x="1067" y="184"/>
                </a:cubicBezTo>
                <a:cubicBezTo>
                  <a:pt x="1067" y="184"/>
                  <a:pt x="1067" y="184"/>
                  <a:pt x="1067" y="184"/>
                </a:cubicBezTo>
                <a:cubicBezTo>
                  <a:pt x="1067" y="184"/>
                  <a:pt x="1067" y="183"/>
                  <a:pt x="1067" y="183"/>
                </a:cubicBezTo>
                <a:cubicBezTo>
                  <a:pt x="1066" y="182"/>
                  <a:pt x="1064" y="180"/>
                  <a:pt x="1062" y="180"/>
                </a:cubicBezTo>
                <a:cubicBezTo>
                  <a:pt x="1059" y="181"/>
                  <a:pt x="1058" y="182"/>
                  <a:pt x="1057" y="182"/>
                </a:cubicBezTo>
                <a:cubicBezTo>
                  <a:pt x="1056" y="184"/>
                  <a:pt x="1056" y="184"/>
                  <a:pt x="1056" y="185"/>
                </a:cubicBezTo>
                <a:cubicBezTo>
                  <a:pt x="1055" y="187"/>
                  <a:pt x="1055" y="190"/>
                  <a:pt x="1055" y="193"/>
                </a:cubicBezTo>
                <a:cubicBezTo>
                  <a:pt x="1055" y="198"/>
                  <a:pt x="1056" y="205"/>
                  <a:pt x="1063" y="209"/>
                </a:cubicBezTo>
                <a:cubicBezTo>
                  <a:pt x="1071" y="214"/>
                  <a:pt x="1085" y="222"/>
                  <a:pt x="1096" y="227"/>
                </a:cubicBezTo>
                <a:cubicBezTo>
                  <a:pt x="1102" y="230"/>
                  <a:pt x="1109" y="231"/>
                  <a:pt x="1115" y="233"/>
                </a:cubicBezTo>
                <a:cubicBezTo>
                  <a:pt x="1122" y="235"/>
                  <a:pt x="1127" y="237"/>
                  <a:pt x="1128" y="240"/>
                </a:cubicBezTo>
                <a:cubicBezTo>
                  <a:pt x="1137" y="252"/>
                  <a:pt x="1158" y="258"/>
                  <a:pt x="1158" y="258"/>
                </a:cubicBezTo>
                <a:cubicBezTo>
                  <a:pt x="1160" y="259"/>
                  <a:pt x="1160" y="259"/>
                  <a:pt x="1160" y="259"/>
                </a:cubicBezTo>
                <a:cubicBezTo>
                  <a:pt x="1184" y="261"/>
                  <a:pt x="1184" y="261"/>
                  <a:pt x="1184" y="261"/>
                </a:cubicBezTo>
                <a:cubicBezTo>
                  <a:pt x="1178" y="265"/>
                  <a:pt x="1170" y="268"/>
                  <a:pt x="1163" y="271"/>
                </a:cubicBezTo>
                <a:cubicBezTo>
                  <a:pt x="1160" y="272"/>
                  <a:pt x="1156" y="274"/>
                  <a:pt x="1153" y="276"/>
                </a:cubicBezTo>
                <a:cubicBezTo>
                  <a:pt x="1151" y="278"/>
                  <a:pt x="1148" y="282"/>
                  <a:pt x="1148" y="287"/>
                </a:cubicBezTo>
                <a:cubicBezTo>
                  <a:pt x="1147" y="289"/>
                  <a:pt x="1148" y="291"/>
                  <a:pt x="1149" y="293"/>
                </a:cubicBezTo>
                <a:cubicBezTo>
                  <a:pt x="1151" y="296"/>
                  <a:pt x="1151" y="298"/>
                  <a:pt x="1151" y="303"/>
                </a:cubicBezTo>
                <a:cubicBezTo>
                  <a:pt x="1152" y="308"/>
                  <a:pt x="1154" y="315"/>
                  <a:pt x="1161" y="320"/>
                </a:cubicBezTo>
                <a:cubicBezTo>
                  <a:pt x="1167" y="326"/>
                  <a:pt x="1172" y="329"/>
                  <a:pt x="1178" y="331"/>
                </a:cubicBezTo>
                <a:cubicBezTo>
                  <a:pt x="1178" y="331"/>
                  <a:pt x="1177" y="331"/>
                  <a:pt x="1177" y="331"/>
                </a:cubicBezTo>
                <a:cubicBezTo>
                  <a:pt x="1172" y="331"/>
                  <a:pt x="1168" y="334"/>
                  <a:pt x="1164" y="337"/>
                </a:cubicBezTo>
                <a:cubicBezTo>
                  <a:pt x="1162" y="338"/>
                  <a:pt x="1160" y="340"/>
                  <a:pt x="1159" y="341"/>
                </a:cubicBezTo>
                <a:cubicBezTo>
                  <a:pt x="1159" y="340"/>
                  <a:pt x="1158" y="339"/>
                  <a:pt x="1158" y="338"/>
                </a:cubicBezTo>
                <a:cubicBezTo>
                  <a:pt x="1153" y="327"/>
                  <a:pt x="1142" y="318"/>
                  <a:pt x="1138" y="316"/>
                </a:cubicBezTo>
                <a:cubicBezTo>
                  <a:pt x="1136" y="312"/>
                  <a:pt x="1128" y="301"/>
                  <a:pt x="1122" y="295"/>
                </a:cubicBezTo>
                <a:cubicBezTo>
                  <a:pt x="1120" y="293"/>
                  <a:pt x="1118" y="292"/>
                  <a:pt x="1116" y="290"/>
                </a:cubicBezTo>
                <a:cubicBezTo>
                  <a:pt x="1122" y="290"/>
                  <a:pt x="1129" y="289"/>
                  <a:pt x="1133" y="288"/>
                </a:cubicBezTo>
                <a:cubicBezTo>
                  <a:pt x="1142" y="287"/>
                  <a:pt x="1144" y="279"/>
                  <a:pt x="1145" y="273"/>
                </a:cubicBezTo>
                <a:cubicBezTo>
                  <a:pt x="1145" y="269"/>
                  <a:pt x="1142" y="261"/>
                  <a:pt x="1134" y="260"/>
                </a:cubicBezTo>
                <a:cubicBezTo>
                  <a:pt x="1132" y="260"/>
                  <a:pt x="1130" y="259"/>
                  <a:pt x="1127" y="257"/>
                </a:cubicBezTo>
                <a:cubicBezTo>
                  <a:pt x="1124" y="256"/>
                  <a:pt x="1121" y="254"/>
                  <a:pt x="1116" y="253"/>
                </a:cubicBezTo>
                <a:cubicBezTo>
                  <a:pt x="1115" y="253"/>
                  <a:pt x="1114" y="253"/>
                  <a:pt x="1113" y="254"/>
                </a:cubicBezTo>
                <a:cubicBezTo>
                  <a:pt x="1114" y="252"/>
                  <a:pt x="1115" y="250"/>
                  <a:pt x="1115" y="248"/>
                </a:cubicBezTo>
                <a:cubicBezTo>
                  <a:pt x="1115" y="247"/>
                  <a:pt x="1115" y="245"/>
                  <a:pt x="1115" y="244"/>
                </a:cubicBezTo>
                <a:cubicBezTo>
                  <a:pt x="1115" y="244"/>
                  <a:pt x="1115" y="244"/>
                  <a:pt x="1115" y="244"/>
                </a:cubicBezTo>
                <a:cubicBezTo>
                  <a:pt x="1111" y="235"/>
                  <a:pt x="1101" y="230"/>
                  <a:pt x="1093" y="230"/>
                </a:cubicBezTo>
                <a:cubicBezTo>
                  <a:pt x="1086" y="230"/>
                  <a:pt x="1079" y="233"/>
                  <a:pt x="1076" y="241"/>
                </a:cubicBezTo>
                <a:cubicBezTo>
                  <a:pt x="1076" y="242"/>
                  <a:pt x="1076" y="243"/>
                  <a:pt x="1076" y="244"/>
                </a:cubicBezTo>
                <a:cubicBezTo>
                  <a:pt x="1076" y="251"/>
                  <a:pt x="1081" y="254"/>
                  <a:pt x="1086" y="256"/>
                </a:cubicBezTo>
                <a:cubicBezTo>
                  <a:pt x="1090" y="258"/>
                  <a:pt x="1095" y="259"/>
                  <a:pt x="1100" y="259"/>
                </a:cubicBezTo>
                <a:cubicBezTo>
                  <a:pt x="1101" y="259"/>
                  <a:pt x="1101" y="259"/>
                  <a:pt x="1102" y="259"/>
                </a:cubicBezTo>
                <a:cubicBezTo>
                  <a:pt x="1099" y="260"/>
                  <a:pt x="1096" y="262"/>
                  <a:pt x="1093" y="263"/>
                </a:cubicBezTo>
                <a:cubicBezTo>
                  <a:pt x="1089" y="266"/>
                  <a:pt x="1086" y="268"/>
                  <a:pt x="1084" y="270"/>
                </a:cubicBezTo>
                <a:cubicBezTo>
                  <a:pt x="1081" y="273"/>
                  <a:pt x="1078" y="275"/>
                  <a:pt x="1078" y="280"/>
                </a:cubicBezTo>
                <a:cubicBezTo>
                  <a:pt x="1078" y="281"/>
                  <a:pt x="1078" y="282"/>
                  <a:pt x="1079" y="283"/>
                </a:cubicBezTo>
                <a:cubicBezTo>
                  <a:pt x="1081" y="289"/>
                  <a:pt x="1086" y="292"/>
                  <a:pt x="1094" y="293"/>
                </a:cubicBezTo>
                <a:cubicBezTo>
                  <a:pt x="1093" y="295"/>
                  <a:pt x="1092" y="297"/>
                  <a:pt x="1091" y="299"/>
                </a:cubicBezTo>
                <a:cubicBezTo>
                  <a:pt x="1091" y="301"/>
                  <a:pt x="1091" y="302"/>
                  <a:pt x="1091" y="303"/>
                </a:cubicBezTo>
                <a:cubicBezTo>
                  <a:pt x="1091" y="311"/>
                  <a:pt x="1094" y="318"/>
                  <a:pt x="1098" y="329"/>
                </a:cubicBezTo>
                <a:cubicBezTo>
                  <a:pt x="1101" y="336"/>
                  <a:pt x="1103" y="347"/>
                  <a:pt x="1103" y="354"/>
                </a:cubicBezTo>
                <a:cubicBezTo>
                  <a:pt x="1103" y="356"/>
                  <a:pt x="1103" y="357"/>
                  <a:pt x="1103" y="358"/>
                </a:cubicBezTo>
                <a:cubicBezTo>
                  <a:pt x="1095" y="360"/>
                  <a:pt x="1093" y="361"/>
                  <a:pt x="1086" y="364"/>
                </a:cubicBezTo>
                <a:cubicBezTo>
                  <a:pt x="1085" y="364"/>
                  <a:pt x="1085" y="364"/>
                  <a:pt x="1084" y="364"/>
                </a:cubicBezTo>
                <a:cubicBezTo>
                  <a:pt x="1084" y="364"/>
                  <a:pt x="1084" y="364"/>
                  <a:pt x="1084" y="364"/>
                </a:cubicBezTo>
                <a:cubicBezTo>
                  <a:pt x="1084" y="364"/>
                  <a:pt x="1084" y="363"/>
                  <a:pt x="1083" y="362"/>
                </a:cubicBezTo>
                <a:cubicBezTo>
                  <a:pt x="1083" y="360"/>
                  <a:pt x="1082" y="357"/>
                  <a:pt x="1082" y="354"/>
                </a:cubicBezTo>
                <a:cubicBezTo>
                  <a:pt x="1082" y="345"/>
                  <a:pt x="1080" y="337"/>
                  <a:pt x="1080" y="333"/>
                </a:cubicBezTo>
                <a:cubicBezTo>
                  <a:pt x="1080" y="333"/>
                  <a:pt x="1080" y="332"/>
                  <a:pt x="1080" y="332"/>
                </a:cubicBezTo>
                <a:cubicBezTo>
                  <a:pt x="1080" y="332"/>
                  <a:pt x="1080" y="332"/>
                  <a:pt x="1080" y="332"/>
                </a:cubicBezTo>
                <a:cubicBezTo>
                  <a:pt x="1081" y="331"/>
                  <a:pt x="1081" y="330"/>
                  <a:pt x="1081" y="329"/>
                </a:cubicBezTo>
                <a:cubicBezTo>
                  <a:pt x="1082" y="327"/>
                  <a:pt x="1080" y="324"/>
                  <a:pt x="1078" y="323"/>
                </a:cubicBezTo>
                <a:cubicBezTo>
                  <a:pt x="1076" y="322"/>
                  <a:pt x="1075" y="322"/>
                  <a:pt x="1075" y="322"/>
                </a:cubicBezTo>
                <a:cubicBezTo>
                  <a:pt x="1070" y="322"/>
                  <a:pt x="1066" y="324"/>
                  <a:pt x="1060" y="324"/>
                </a:cubicBezTo>
                <a:cubicBezTo>
                  <a:pt x="1059" y="324"/>
                  <a:pt x="1057" y="324"/>
                  <a:pt x="1056" y="323"/>
                </a:cubicBezTo>
                <a:cubicBezTo>
                  <a:pt x="1054" y="323"/>
                  <a:pt x="1052" y="323"/>
                  <a:pt x="1050" y="323"/>
                </a:cubicBezTo>
                <a:cubicBezTo>
                  <a:pt x="1046" y="323"/>
                  <a:pt x="1043" y="324"/>
                  <a:pt x="1040" y="325"/>
                </a:cubicBezTo>
                <a:cubicBezTo>
                  <a:pt x="1037" y="327"/>
                  <a:pt x="1034" y="330"/>
                  <a:pt x="1034" y="334"/>
                </a:cubicBezTo>
                <a:cubicBezTo>
                  <a:pt x="1034" y="340"/>
                  <a:pt x="1039" y="343"/>
                  <a:pt x="1043" y="345"/>
                </a:cubicBezTo>
                <a:cubicBezTo>
                  <a:pt x="1047" y="346"/>
                  <a:pt x="1049" y="350"/>
                  <a:pt x="1049" y="353"/>
                </a:cubicBezTo>
                <a:cubicBezTo>
                  <a:pt x="1049" y="356"/>
                  <a:pt x="1048" y="357"/>
                  <a:pt x="1046" y="358"/>
                </a:cubicBezTo>
                <a:cubicBezTo>
                  <a:pt x="1045" y="359"/>
                  <a:pt x="1038" y="360"/>
                  <a:pt x="1031" y="360"/>
                </a:cubicBezTo>
                <a:cubicBezTo>
                  <a:pt x="1015" y="360"/>
                  <a:pt x="995" y="358"/>
                  <a:pt x="987" y="358"/>
                </a:cubicBezTo>
                <a:cubicBezTo>
                  <a:pt x="980" y="358"/>
                  <a:pt x="972" y="359"/>
                  <a:pt x="966" y="359"/>
                </a:cubicBezTo>
                <a:cubicBezTo>
                  <a:pt x="963" y="359"/>
                  <a:pt x="960" y="359"/>
                  <a:pt x="959" y="358"/>
                </a:cubicBezTo>
                <a:cubicBezTo>
                  <a:pt x="957" y="358"/>
                  <a:pt x="958" y="357"/>
                  <a:pt x="958" y="357"/>
                </a:cubicBezTo>
                <a:cubicBezTo>
                  <a:pt x="957" y="357"/>
                  <a:pt x="957" y="357"/>
                  <a:pt x="957" y="357"/>
                </a:cubicBezTo>
                <a:cubicBezTo>
                  <a:pt x="957" y="357"/>
                  <a:pt x="957" y="357"/>
                  <a:pt x="958" y="357"/>
                </a:cubicBezTo>
                <a:cubicBezTo>
                  <a:pt x="959" y="355"/>
                  <a:pt x="967" y="352"/>
                  <a:pt x="970" y="352"/>
                </a:cubicBezTo>
                <a:cubicBezTo>
                  <a:pt x="972" y="352"/>
                  <a:pt x="973" y="352"/>
                  <a:pt x="975" y="352"/>
                </a:cubicBezTo>
                <a:cubicBezTo>
                  <a:pt x="986" y="352"/>
                  <a:pt x="1006" y="352"/>
                  <a:pt x="1017" y="335"/>
                </a:cubicBezTo>
                <a:cubicBezTo>
                  <a:pt x="1019" y="332"/>
                  <a:pt x="1020" y="329"/>
                  <a:pt x="1020" y="325"/>
                </a:cubicBezTo>
                <a:cubicBezTo>
                  <a:pt x="1020" y="317"/>
                  <a:pt x="1013" y="312"/>
                  <a:pt x="1007" y="311"/>
                </a:cubicBezTo>
                <a:cubicBezTo>
                  <a:pt x="1001" y="309"/>
                  <a:pt x="995" y="308"/>
                  <a:pt x="991" y="308"/>
                </a:cubicBezTo>
                <a:cubicBezTo>
                  <a:pt x="984" y="308"/>
                  <a:pt x="980" y="306"/>
                  <a:pt x="969" y="294"/>
                </a:cubicBezTo>
                <a:cubicBezTo>
                  <a:pt x="968" y="292"/>
                  <a:pt x="967" y="291"/>
                  <a:pt x="967" y="290"/>
                </a:cubicBezTo>
                <a:cubicBezTo>
                  <a:pt x="967" y="288"/>
                  <a:pt x="968" y="286"/>
                  <a:pt x="970" y="283"/>
                </a:cubicBezTo>
                <a:cubicBezTo>
                  <a:pt x="972" y="281"/>
                  <a:pt x="975" y="279"/>
                  <a:pt x="975" y="273"/>
                </a:cubicBezTo>
                <a:cubicBezTo>
                  <a:pt x="975" y="272"/>
                  <a:pt x="975" y="270"/>
                  <a:pt x="975" y="269"/>
                </a:cubicBezTo>
                <a:cubicBezTo>
                  <a:pt x="974" y="267"/>
                  <a:pt x="973" y="268"/>
                  <a:pt x="972" y="264"/>
                </a:cubicBezTo>
                <a:cubicBezTo>
                  <a:pt x="972" y="264"/>
                  <a:pt x="972" y="264"/>
                  <a:pt x="972" y="264"/>
                </a:cubicBezTo>
                <a:cubicBezTo>
                  <a:pt x="973" y="264"/>
                  <a:pt x="974" y="265"/>
                  <a:pt x="975" y="264"/>
                </a:cubicBezTo>
                <a:cubicBezTo>
                  <a:pt x="983" y="261"/>
                  <a:pt x="984" y="255"/>
                  <a:pt x="987" y="251"/>
                </a:cubicBezTo>
                <a:cubicBezTo>
                  <a:pt x="988" y="249"/>
                  <a:pt x="989" y="247"/>
                  <a:pt x="990" y="246"/>
                </a:cubicBezTo>
                <a:cubicBezTo>
                  <a:pt x="990" y="246"/>
                  <a:pt x="990" y="246"/>
                  <a:pt x="990" y="246"/>
                </a:cubicBezTo>
                <a:cubicBezTo>
                  <a:pt x="994" y="245"/>
                  <a:pt x="1000" y="244"/>
                  <a:pt x="1007" y="244"/>
                </a:cubicBezTo>
                <a:cubicBezTo>
                  <a:pt x="1009" y="244"/>
                  <a:pt x="1011" y="244"/>
                  <a:pt x="1013" y="245"/>
                </a:cubicBezTo>
                <a:cubicBezTo>
                  <a:pt x="1014" y="245"/>
                  <a:pt x="1014" y="245"/>
                  <a:pt x="1014" y="246"/>
                </a:cubicBezTo>
                <a:cubicBezTo>
                  <a:pt x="1015" y="249"/>
                  <a:pt x="1016" y="251"/>
                  <a:pt x="1018" y="253"/>
                </a:cubicBezTo>
                <a:cubicBezTo>
                  <a:pt x="1019" y="255"/>
                  <a:pt x="1023" y="256"/>
                  <a:pt x="1025" y="256"/>
                </a:cubicBezTo>
                <a:cubicBezTo>
                  <a:pt x="1028" y="256"/>
                  <a:pt x="1029" y="256"/>
                  <a:pt x="1031" y="256"/>
                </a:cubicBezTo>
                <a:cubicBezTo>
                  <a:pt x="1032" y="256"/>
                  <a:pt x="1033" y="256"/>
                  <a:pt x="1034" y="256"/>
                </a:cubicBezTo>
                <a:cubicBezTo>
                  <a:pt x="1034" y="256"/>
                  <a:pt x="1035" y="256"/>
                  <a:pt x="1035" y="256"/>
                </a:cubicBezTo>
                <a:cubicBezTo>
                  <a:pt x="1043" y="256"/>
                  <a:pt x="1049" y="251"/>
                  <a:pt x="1053" y="247"/>
                </a:cubicBezTo>
                <a:cubicBezTo>
                  <a:pt x="1057" y="242"/>
                  <a:pt x="1059" y="238"/>
                  <a:pt x="1060" y="234"/>
                </a:cubicBezTo>
                <a:cubicBezTo>
                  <a:pt x="1060" y="233"/>
                  <a:pt x="1060" y="232"/>
                  <a:pt x="1060" y="232"/>
                </a:cubicBezTo>
                <a:cubicBezTo>
                  <a:pt x="1060" y="223"/>
                  <a:pt x="1052" y="214"/>
                  <a:pt x="1038" y="214"/>
                </a:cubicBezTo>
                <a:cubicBezTo>
                  <a:pt x="1037" y="214"/>
                  <a:pt x="1035" y="214"/>
                  <a:pt x="1034" y="215"/>
                </a:cubicBezTo>
                <a:cubicBezTo>
                  <a:pt x="1031" y="215"/>
                  <a:pt x="1028" y="215"/>
                  <a:pt x="1023" y="215"/>
                </a:cubicBezTo>
                <a:cubicBezTo>
                  <a:pt x="1015" y="215"/>
                  <a:pt x="1005" y="215"/>
                  <a:pt x="995" y="215"/>
                </a:cubicBezTo>
                <a:cubicBezTo>
                  <a:pt x="989" y="215"/>
                  <a:pt x="983" y="215"/>
                  <a:pt x="978" y="215"/>
                </a:cubicBezTo>
                <a:cubicBezTo>
                  <a:pt x="973" y="216"/>
                  <a:pt x="969" y="216"/>
                  <a:pt x="965" y="220"/>
                </a:cubicBezTo>
                <a:cubicBezTo>
                  <a:pt x="965" y="220"/>
                  <a:pt x="965" y="220"/>
                  <a:pt x="965" y="220"/>
                </a:cubicBezTo>
                <a:cubicBezTo>
                  <a:pt x="961" y="224"/>
                  <a:pt x="961" y="230"/>
                  <a:pt x="960" y="234"/>
                </a:cubicBezTo>
                <a:cubicBezTo>
                  <a:pt x="960" y="240"/>
                  <a:pt x="961" y="246"/>
                  <a:pt x="961" y="248"/>
                </a:cubicBezTo>
                <a:cubicBezTo>
                  <a:pt x="960" y="250"/>
                  <a:pt x="960" y="251"/>
                  <a:pt x="960" y="253"/>
                </a:cubicBezTo>
                <a:cubicBezTo>
                  <a:pt x="960" y="256"/>
                  <a:pt x="961" y="258"/>
                  <a:pt x="963" y="261"/>
                </a:cubicBezTo>
                <a:cubicBezTo>
                  <a:pt x="963" y="261"/>
                  <a:pt x="964" y="262"/>
                  <a:pt x="965" y="263"/>
                </a:cubicBezTo>
                <a:cubicBezTo>
                  <a:pt x="964" y="263"/>
                  <a:pt x="963" y="263"/>
                  <a:pt x="963" y="263"/>
                </a:cubicBezTo>
                <a:cubicBezTo>
                  <a:pt x="957" y="263"/>
                  <a:pt x="950" y="264"/>
                  <a:pt x="945" y="264"/>
                </a:cubicBezTo>
                <a:cubicBezTo>
                  <a:pt x="945" y="264"/>
                  <a:pt x="945" y="264"/>
                  <a:pt x="945" y="264"/>
                </a:cubicBezTo>
                <a:cubicBezTo>
                  <a:pt x="945" y="264"/>
                  <a:pt x="946" y="263"/>
                  <a:pt x="948" y="262"/>
                </a:cubicBezTo>
                <a:cubicBezTo>
                  <a:pt x="950" y="260"/>
                  <a:pt x="954" y="257"/>
                  <a:pt x="955" y="252"/>
                </a:cubicBezTo>
                <a:cubicBezTo>
                  <a:pt x="955" y="247"/>
                  <a:pt x="959" y="229"/>
                  <a:pt x="959" y="229"/>
                </a:cubicBezTo>
                <a:cubicBezTo>
                  <a:pt x="959" y="228"/>
                  <a:pt x="959" y="227"/>
                  <a:pt x="959" y="225"/>
                </a:cubicBezTo>
                <a:cubicBezTo>
                  <a:pt x="958" y="225"/>
                  <a:pt x="956" y="216"/>
                  <a:pt x="945" y="215"/>
                </a:cubicBezTo>
                <a:cubicBezTo>
                  <a:pt x="942" y="215"/>
                  <a:pt x="940" y="216"/>
                  <a:pt x="938" y="217"/>
                </a:cubicBezTo>
                <a:cubicBezTo>
                  <a:pt x="931" y="221"/>
                  <a:pt x="928" y="223"/>
                  <a:pt x="927" y="222"/>
                </a:cubicBezTo>
                <a:cubicBezTo>
                  <a:pt x="927" y="222"/>
                  <a:pt x="928" y="222"/>
                  <a:pt x="924" y="222"/>
                </a:cubicBezTo>
                <a:cubicBezTo>
                  <a:pt x="924" y="222"/>
                  <a:pt x="924" y="222"/>
                  <a:pt x="924" y="222"/>
                </a:cubicBezTo>
                <a:cubicBezTo>
                  <a:pt x="924" y="222"/>
                  <a:pt x="923" y="219"/>
                  <a:pt x="920" y="216"/>
                </a:cubicBezTo>
                <a:cubicBezTo>
                  <a:pt x="918" y="212"/>
                  <a:pt x="914" y="208"/>
                  <a:pt x="907" y="208"/>
                </a:cubicBezTo>
                <a:cubicBezTo>
                  <a:pt x="906" y="208"/>
                  <a:pt x="905" y="208"/>
                  <a:pt x="903" y="208"/>
                </a:cubicBezTo>
                <a:cubicBezTo>
                  <a:pt x="888" y="211"/>
                  <a:pt x="884" y="223"/>
                  <a:pt x="882" y="224"/>
                </a:cubicBezTo>
                <a:cubicBezTo>
                  <a:pt x="881" y="226"/>
                  <a:pt x="875" y="228"/>
                  <a:pt x="874" y="228"/>
                </a:cubicBezTo>
                <a:cubicBezTo>
                  <a:pt x="874" y="228"/>
                  <a:pt x="874" y="228"/>
                  <a:pt x="874" y="228"/>
                </a:cubicBezTo>
                <a:cubicBezTo>
                  <a:pt x="870" y="224"/>
                  <a:pt x="854" y="215"/>
                  <a:pt x="854" y="215"/>
                </a:cubicBezTo>
                <a:cubicBezTo>
                  <a:pt x="853" y="214"/>
                  <a:pt x="852" y="214"/>
                  <a:pt x="851" y="214"/>
                </a:cubicBezTo>
                <a:cubicBezTo>
                  <a:pt x="858" y="213"/>
                  <a:pt x="866" y="210"/>
                  <a:pt x="870" y="210"/>
                </a:cubicBezTo>
                <a:cubicBezTo>
                  <a:pt x="871" y="210"/>
                  <a:pt x="871" y="210"/>
                  <a:pt x="872" y="210"/>
                </a:cubicBezTo>
                <a:cubicBezTo>
                  <a:pt x="875" y="213"/>
                  <a:pt x="878" y="214"/>
                  <a:pt x="882" y="214"/>
                </a:cubicBezTo>
                <a:cubicBezTo>
                  <a:pt x="885" y="214"/>
                  <a:pt x="888" y="213"/>
                  <a:pt x="891" y="212"/>
                </a:cubicBezTo>
                <a:cubicBezTo>
                  <a:pt x="893" y="210"/>
                  <a:pt x="896" y="208"/>
                  <a:pt x="897" y="203"/>
                </a:cubicBezTo>
                <a:cubicBezTo>
                  <a:pt x="897" y="202"/>
                  <a:pt x="896" y="202"/>
                  <a:pt x="896" y="201"/>
                </a:cubicBezTo>
                <a:cubicBezTo>
                  <a:pt x="896" y="201"/>
                  <a:pt x="896" y="201"/>
                  <a:pt x="896" y="201"/>
                </a:cubicBezTo>
                <a:cubicBezTo>
                  <a:pt x="896" y="199"/>
                  <a:pt x="897" y="194"/>
                  <a:pt x="897" y="188"/>
                </a:cubicBezTo>
                <a:cubicBezTo>
                  <a:pt x="897" y="185"/>
                  <a:pt x="897" y="182"/>
                  <a:pt x="896" y="179"/>
                </a:cubicBezTo>
                <a:cubicBezTo>
                  <a:pt x="895" y="176"/>
                  <a:pt x="891" y="172"/>
                  <a:pt x="887" y="172"/>
                </a:cubicBezTo>
                <a:cubicBezTo>
                  <a:pt x="886" y="172"/>
                  <a:pt x="886" y="172"/>
                  <a:pt x="885" y="172"/>
                </a:cubicBezTo>
                <a:cubicBezTo>
                  <a:pt x="872" y="173"/>
                  <a:pt x="860" y="184"/>
                  <a:pt x="848" y="188"/>
                </a:cubicBezTo>
                <a:cubicBezTo>
                  <a:pt x="842" y="191"/>
                  <a:pt x="838" y="196"/>
                  <a:pt x="838" y="202"/>
                </a:cubicBezTo>
                <a:cubicBezTo>
                  <a:pt x="838" y="206"/>
                  <a:pt x="841" y="212"/>
                  <a:pt x="847" y="213"/>
                </a:cubicBezTo>
                <a:cubicBezTo>
                  <a:pt x="843" y="213"/>
                  <a:pt x="838" y="213"/>
                  <a:pt x="832" y="212"/>
                </a:cubicBezTo>
                <a:cubicBezTo>
                  <a:pt x="828" y="211"/>
                  <a:pt x="823" y="211"/>
                  <a:pt x="820" y="210"/>
                </a:cubicBezTo>
                <a:cubicBezTo>
                  <a:pt x="819" y="210"/>
                  <a:pt x="818" y="209"/>
                  <a:pt x="817" y="209"/>
                </a:cubicBezTo>
                <a:cubicBezTo>
                  <a:pt x="815" y="202"/>
                  <a:pt x="807" y="193"/>
                  <a:pt x="792" y="193"/>
                </a:cubicBezTo>
                <a:cubicBezTo>
                  <a:pt x="790" y="193"/>
                  <a:pt x="788" y="193"/>
                  <a:pt x="787" y="193"/>
                </a:cubicBezTo>
                <a:cubicBezTo>
                  <a:pt x="777" y="194"/>
                  <a:pt x="766" y="198"/>
                  <a:pt x="756" y="201"/>
                </a:cubicBezTo>
                <a:cubicBezTo>
                  <a:pt x="751" y="203"/>
                  <a:pt x="746" y="204"/>
                  <a:pt x="742" y="206"/>
                </a:cubicBezTo>
                <a:cubicBezTo>
                  <a:pt x="741" y="206"/>
                  <a:pt x="739" y="207"/>
                  <a:pt x="738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5" y="207"/>
                  <a:pt x="733" y="208"/>
                  <a:pt x="732" y="209"/>
                </a:cubicBezTo>
                <a:cubicBezTo>
                  <a:pt x="730" y="211"/>
                  <a:pt x="729" y="213"/>
                  <a:pt x="729" y="214"/>
                </a:cubicBezTo>
                <a:cubicBezTo>
                  <a:pt x="730" y="216"/>
                  <a:pt x="730" y="217"/>
                  <a:pt x="730" y="218"/>
                </a:cubicBezTo>
                <a:cubicBezTo>
                  <a:pt x="728" y="218"/>
                  <a:pt x="725" y="219"/>
                  <a:pt x="722" y="220"/>
                </a:cubicBezTo>
                <a:cubicBezTo>
                  <a:pt x="719" y="221"/>
                  <a:pt x="715" y="225"/>
                  <a:pt x="714" y="230"/>
                </a:cubicBezTo>
                <a:cubicBezTo>
                  <a:pt x="714" y="231"/>
                  <a:pt x="714" y="232"/>
                  <a:pt x="714" y="233"/>
                </a:cubicBezTo>
                <a:cubicBezTo>
                  <a:pt x="713" y="236"/>
                  <a:pt x="715" y="239"/>
                  <a:pt x="717" y="240"/>
                </a:cubicBezTo>
                <a:cubicBezTo>
                  <a:pt x="723" y="244"/>
                  <a:pt x="729" y="243"/>
                  <a:pt x="736" y="243"/>
                </a:cubicBezTo>
                <a:cubicBezTo>
                  <a:pt x="736" y="243"/>
                  <a:pt x="736" y="243"/>
                  <a:pt x="737" y="243"/>
                </a:cubicBezTo>
                <a:cubicBezTo>
                  <a:pt x="742" y="243"/>
                  <a:pt x="748" y="243"/>
                  <a:pt x="754" y="243"/>
                </a:cubicBezTo>
                <a:cubicBezTo>
                  <a:pt x="761" y="242"/>
                  <a:pt x="766" y="242"/>
                  <a:pt x="771" y="240"/>
                </a:cubicBezTo>
                <a:cubicBezTo>
                  <a:pt x="772" y="239"/>
                  <a:pt x="783" y="236"/>
                  <a:pt x="788" y="236"/>
                </a:cubicBezTo>
                <a:cubicBezTo>
                  <a:pt x="788" y="236"/>
                  <a:pt x="788" y="236"/>
                  <a:pt x="788" y="236"/>
                </a:cubicBezTo>
                <a:cubicBezTo>
                  <a:pt x="788" y="240"/>
                  <a:pt x="789" y="241"/>
                  <a:pt x="790" y="244"/>
                </a:cubicBezTo>
                <a:cubicBezTo>
                  <a:pt x="790" y="244"/>
                  <a:pt x="789" y="244"/>
                  <a:pt x="789" y="244"/>
                </a:cubicBezTo>
                <a:cubicBezTo>
                  <a:pt x="788" y="243"/>
                  <a:pt x="787" y="243"/>
                  <a:pt x="786" y="243"/>
                </a:cubicBezTo>
                <a:cubicBezTo>
                  <a:pt x="779" y="243"/>
                  <a:pt x="774" y="246"/>
                  <a:pt x="771" y="248"/>
                </a:cubicBezTo>
                <a:cubicBezTo>
                  <a:pt x="767" y="250"/>
                  <a:pt x="766" y="251"/>
                  <a:pt x="762" y="251"/>
                </a:cubicBezTo>
                <a:cubicBezTo>
                  <a:pt x="761" y="251"/>
                  <a:pt x="760" y="251"/>
                  <a:pt x="758" y="250"/>
                </a:cubicBezTo>
                <a:cubicBezTo>
                  <a:pt x="754" y="250"/>
                  <a:pt x="750" y="249"/>
                  <a:pt x="747" y="249"/>
                </a:cubicBezTo>
                <a:cubicBezTo>
                  <a:pt x="739" y="249"/>
                  <a:pt x="734" y="251"/>
                  <a:pt x="727" y="251"/>
                </a:cubicBezTo>
                <a:cubicBezTo>
                  <a:pt x="725" y="251"/>
                  <a:pt x="723" y="251"/>
                  <a:pt x="721" y="250"/>
                </a:cubicBezTo>
                <a:cubicBezTo>
                  <a:pt x="715" y="250"/>
                  <a:pt x="711" y="249"/>
                  <a:pt x="706" y="249"/>
                </a:cubicBezTo>
                <a:cubicBezTo>
                  <a:pt x="703" y="249"/>
                  <a:pt x="699" y="250"/>
                  <a:pt x="695" y="252"/>
                </a:cubicBezTo>
                <a:cubicBezTo>
                  <a:pt x="692" y="254"/>
                  <a:pt x="689" y="258"/>
                  <a:pt x="688" y="262"/>
                </a:cubicBezTo>
                <a:cubicBezTo>
                  <a:pt x="687" y="267"/>
                  <a:pt x="685" y="273"/>
                  <a:pt x="683" y="278"/>
                </a:cubicBezTo>
                <a:cubicBezTo>
                  <a:pt x="682" y="280"/>
                  <a:pt x="681" y="282"/>
                  <a:pt x="681" y="283"/>
                </a:cubicBezTo>
                <a:cubicBezTo>
                  <a:pt x="680" y="283"/>
                  <a:pt x="680" y="283"/>
                  <a:pt x="680" y="283"/>
                </a:cubicBezTo>
                <a:cubicBezTo>
                  <a:pt x="677" y="284"/>
                  <a:pt x="674" y="285"/>
                  <a:pt x="672" y="286"/>
                </a:cubicBezTo>
                <a:cubicBezTo>
                  <a:pt x="670" y="288"/>
                  <a:pt x="667" y="290"/>
                  <a:pt x="667" y="295"/>
                </a:cubicBezTo>
                <a:cubicBezTo>
                  <a:pt x="667" y="299"/>
                  <a:pt x="670" y="302"/>
                  <a:pt x="674" y="304"/>
                </a:cubicBezTo>
                <a:cubicBezTo>
                  <a:pt x="677" y="305"/>
                  <a:pt x="681" y="306"/>
                  <a:pt x="687" y="306"/>
                </a:cubicBezTo>
                <a:cubicBezTo>
                  <a:pt x="696" y="308"/>
                  <a:pt x="695" y="309"/>
                  <a:pt x="697" y="311"/>
                </a:cubicBezTo>
                <a:cubicBezTo>
                  <a:pt x="698" y="312"/>
                  <a:pt x="699" y="314"/>
                  <a:pt x="702" y="316"/>
                </a:cubicBezTo>
                <a:cubicBezTo>
                  <a:pt x="705" y="318"/>
                  <a:pt x="709" y="319"/>
                  <a:pt x="713" y="319"/>
                </a:cubicBezTo>
                <a:cubicBezTo>
                  <a:pt x="714" y="319"/>
                  <a:pt x="715" y="319"/>
                  <a:pt x="716" y="319"/>
                </a:cubicBezTo>
                <a:cubicBezTo>
                  <a:pt x="726" y="318"/>
                  <a:pt x="736" y="318"/>
                  <a:pt x="744" y="316"/>
                </a:cubicBezTo>
                <a:cubicBezTo>
                  <a:pt x="752" y="315"/>
                  <a:pt x="760" y="311"/>
                  <a:pt x="763" y="303"/>
                </a:cubicBezTo>
                <a:cubicBezTo>
                  <a:pt x="764" y="302"/>
                  <a:pt x="764" y="301"/>
                  <a:pt x="764" y="300"/>
                </a:cubicBezTo>
                <a:cubicBezTo>
                  <a:pt x="770" y="308"/>
                  <a:pt x="782" y="326"/>
                  <a:pt x="782" y="326"/>
                </a:cubicBezTo>
                <a:cubicBezTo>
                  <a:pt x="783" y="327"/>
                  <a:pt x="783" y="327"/>
                  <a:pt x="783" y="327"/>
                </a:cubicBezTo>
                <a:cubicBezTo>
                  <a:pt x="783" y="327"/>
                  <a:pt x="791" y="335"/>
                  <a:pt x="798" y="340"/>
                </a:cubicBezTo>
                <a:cubicBezTo>
                  <a:pt x="797" y="340"/>
                  <a:pt x="796" y="341"/>
                  <a:pt x="795" y="341"/>
                </a:cubicBezTo>
                <a:cubicBezTo>
                  <a:pt x="795" y="341"/>
                  <a:pt x="794" y="341"/>
                  <a:pt x="793" y="340"/>
                </a:cubicBezTo>
                <a:cubicBezTo>
                  <a:pt x="787" y="335"/>
                  <a:pt x="780" y="334"/>
                  <a:pt x="773" y="332"/>
                </a:cubicBezTo>
                <a:cubicBezTo>
                  <a:pt x="767" y="331"/>
                  <a:pt x="762" y="329"/>
                  <a:pt x="761" y="328"/>
                </a:cubicBezTo>
                <a:cubicBezTo>
                  <a:pt x="756" y="324"/>
                  <a:pt x="750" y="322"/>
                  <a:pt x="743" y="321"/>
                </a:cubicBezTo>
                <a:cubicBezTo>
                  <a:pt x="737" y="320"/>
                  <a:pt x="729" y="320"/>
                  <a:pt x="723" y="320"/>
                </a:cubicBezTo>
                <a:cubicBezTo>
                  <a:pt x="717" y="320"/>
                  <a:pt x="712" y="320"/>
                  <a:pt x="709" y="321"/>
                </a:cubicBezTo>
                <a:cubicBezTo>
                  <a:pt x="709" y="321"/>
                  <a:pt x="708" y="321"/>
                  <a:pt x="707" y="321"/>
                </a:cubicBezTo>
                <a:cubicBezTo>
                  <a:pt x="704" y="321"/>
                  <a:pt x="700" y="320"/>
                  <a:pt x="696" y="319"/>
                </a:cubicBezTo>
                <a:cubicBezTo>
                  <a:pt x="691" y="318"/>
                  <a:pt x="688" y="317"/>
                  <a:pt x="684" y="316"/>
                </a:cubicBezTo>
                <a:cubicBezTo>
                  <a:pt x="680" y="317"/>
                  <a:pt x="678" y="318"/>
                  <a:pt x="676" y="320"/>
                </a:cubicBezTo>
                <a:cubicBezTo>
                  <a:pt x="672" y="322"/>
                  <a:pt x="669" y="324"/>
                  <a:pt x="666" y="327"/>
                </a:cubicBezTo>
                <a:cubicBezTo>
                  <a:pt x="664" y="323"/>
                  <a:pt x="662" y="319"/>
                  <a:pt x="660" y="317"/>
                </a:cubicBezTo>
                <a:cubicBezTo>
                  <a:pt x="659" y="314"/>
                  <a:pt x="656" y="312"/>
                  <a:pt x="653" y="312"/>
                </a:cubicBezTo>
                <a:cubicBezTo>
                  <a:pt x="647" y="313"/>
                  <a:pt x="645" y="316"/>
                  <a:pt x="643" y="318"/>
                </a:cubicBezTo>
                <a:cubicBezTo>
                  <a:pt x="642" y="319"/>
                  <a:pt x="641" y="320"/>
                  <a:pt x="640" y="320"/>
                </a:cubicBezTo>
                <a:cubicBezTo>
                  <a:pt x="640" y="320"/>
                  <a:pt x="640" y="320"/>
                  <a:pt x="640" y="321"/>
                </a:cubicBezTo>
                <a:cubicBezTo>
                  <a:pt x="637" y="320"/>
                  <a:pt x="627" y="314"/>
                  <a:pt x="617" y="314"/>
                </a:cubicBezTo>
                <a:cubicBezTo>
                  <a:pt x="613" y="314"/>
                  <a:pt x="610" y="314"/>
                  <a:pt x="607" y="316"/>
                </a:cubicBezTo>
                <a:cubicBezTo>
                  <a:pt x="600" y="318"/>
                  <a:pt x="596" y="322"/>
                  <a:pt x="594" y="323"/>
                </a:cubicBezTo>
                <a:cubicBezTo>
                  <a:pt x="592" y="324"/>
                  <a:pt x="592" y="325"/>
                  <a:pt x="586" y="325"/>
                </a:cubicBezTo>
                <a:cubicBezTo>
                  <a:pt x="584" y="325"/>
                  <a:pt x="583" y="325"/>
                  <a:pt x="581" y="325"/>
                </a:cubicBezTo>
                <a:cubicBezTo>
                  <a:pt x="564" y="324"/>
                  <a:pt x="560" y="321"/>
                  <a:pt x="552" y="320"/>
                </a:cubicBezTo>
                <a:cubicBezTo>
                  <a:pt x="551" y="320"/>
                  <a:pt x="549" y="320"/>
                  <a:pt x="548" y="321"/>
                </a:cubicBezTo>
                <a:cubicBezTo>
                  <a:pt x="541" y="322"/>
                  <a:pt x="541" y="322"/>
                  <a:pt x="541" y="322"/>
                </a:cubicBezTo>
                <a:cubicBezTo>
                  <a:pt x="538" y="323"/>
                  <a:pt x="536" y="326"/>
                  <a:pt x="536" y="329"/>
                </a:cubicBezTo>
                <a:cubicBezTo>
                  <a:pt x="536" y="329"/>
                  <a:pt x="537" y="331"/>
                  <a:pt x="532" y="334"/>
                </a:cubicBezTo>
                <a:cubicBezTo>
                  <a:pt x="529" y="336"/>
                  <a:pt x="527" y="338"/>
                  <a:pt x="525" y="339"/>
                </a:cubicBezTo>
                <a:cubicBezTo>
                  <a:pt x="524" y="340"/>
                  <a:pt x="523" y="341"/>
                  <a:pt x="522" y="341"/>
                </a:cubicBezTo>
                <a:cubicBezTo>
                  <a:pt x="522" y="341"/>
                  <a:pt x="522" y="341"/>
                  <a:pt x="522" y="341"/>
                </a:cubicBezTo>
                <a:cubicBezTo>
                  <a:pt x="522" y="341"/>
                  <a:pt x="521" y="340"/>
                  <a:pt x="521" y="340"/>
                </a:cubicBezTo>
                <a:cubicBezTo>
                  <a:pt x="515" y="330"/>
                  <a:pt x="507" y="329"/>
                  <a:pt x="505" y="328"/>
                </a:cubicBezTo>
                <a:cubicBezTo>
                  <a:pt x="505" y="328"/>
                  <a:pt x="503" y="327"/>
                  <a:pt x="500" y="325"/>
                </a:cubicBezTo>
                <a:cubicBezTo>
                  <a:pt x="497" y="323"/>
                  <a:pt x="492" y="322"/>
                  <a:pt x="487" y="322"/>
                </a:cubicBezTo>
                <a:cubicBezTo>
                  <a:pt x="484" y="322"/>
                  <a:pt x="480" y="323"/>
                  <a:pt x="476" y="324"/>
                </a:cubicBezTo>
                <a:cubicBezTo>
                  <a:pt x="474" y="324"/>
                  <a:pt x="472" y="324"/>
                  <a:pt x="469" y="324"/>
                </a:cubicBezTo>
                <a:cubicBezTo>
                  <a:pt x="463" y="324"/>
                  <a:pt x="456" y="323"/>
                  <a:pt x="450" y="321"/>
                </a:cubicBezTo>
                <a:cubicBezTo>
                  <a:pt x="444" y="320"/>
                  <a:pt x="440" y="318"/>
                  <a:pt x="435" y="318"/>
                </a:cubicBezTo>
                <a:cubicBezTo>
                  <a:pt x="432" y="318"/>
                  <a:pt x="389" y="315"/>
                  <a:pt x="382" y="313"/>
                </a:cubicBezTo>
                <a:cubicBezTo>
                  <a:pt x="375" y="311"/>
                  <a:pt x="364" y="310"/>
                  <a:pt x="354" y="310"/>
                </a:cubicBezTo>
                <a:cubicBezTo>
                  <a:pt x="347" y="310"/>
                  <a:pt x="341" y="310"/>
                  <a:pt x="337" y="311"/>
                </a:cubicBezTo>
                <a:cubicBezTo>
                  <a:pt x="330" y="312"/>
                  <a:pt x="313" y="312"/>
                  <a:pt x="307" y="312"/>
                </a:cubicBezTo>
                <a:cubicBezTo>
                  <a:pt x="306" y="311"/>
                  <a:pt x="303" y="309"/>
                  <a:pt x="300" y="307"/>
                </a:cubicBezTo>
                <a:cubicBezTo>
                  <a:pt x="297" y="305"/>
                  <a:pt x="295" y="303"/>
                  <a:pt x="292" y="302"/>
                </a:cubicBezTo>
                <a:cubicBezTo>
                  <a:pt x="290" y="300"/>
                  <a:pt x="289" y="299"/>
                  <a:pt x="284" y="299"/>
                </a:cubicBezTo>
                <a:cubicBezTo>
                  <a:pt x="281" y="299"/>
                  <a:pt x="279" y="300"/>
                  <a:pt x="277" y="300"/>
                </a:cubicBezTo>
                <a:cubicBezTo>
                  <a:pt x="274" y="301"/>
                  <a:pt x="272" y="302"/>
                  <a:pt x="270" y="302"/>
                </a:cubicBezTo>
                <a:cubicBezTo>
                  <a:pt x="268" y="302"/>
                  <a:pt x="268" y="301"/>
                  <a:pt x="267" y="301"/>
                </a:cubicBezTo>
                <a:cubicBezTo>
                  <a:pt x="260" y="292"/>
                  <a:pt x="249" y="288"/>
                  <a:pt x="249" y="288"/>
                </a:cubicBezTo>
                <a:cubicBezTo>
                  <a:pt x="247" y="287"/>
                  <a:pt x="245" y="287"/>
                  <a:pt x="244" y="288"/>
                </a:cubicBezTo>
                <a:cubicBezTo>
                  <a:pt x="242" y="289"/>
                  <a:pt x="241" y="290"/>
                  <a:pt x="241" y="292"/>
                </a:cubicBezTo>
                <a:cubicBezTo>
                  <a:pt x="241" y="292"/>
                  <a:pt x="240" y="295"/>
                  <a:pt x="238" y="299"/>
                </a:cubicBezTo>
                <a:cubicBezTo>
                  <a:pt x="236" y="302"/>
                  <a:pt x="233" y="306"/>
                  <a:pt x="232" y="306"/>
                </a:cubicBezTo>
                <a:cubicBezTo>
                  <a:pt x="226" y="308"/>
                  <a:pt x="213" y="312"/>
                  <a:pt x="208" y="312"/>
                </a:cubicBezTo>
                <a:cubicBezTo>
                  <a:pt x="208" y="312"/>
                  <a:pt x="208" y="312"/>
                  <a:pt x="208" y="312"/>
                </a:cubicBezTo>
                <a:cubicBezTo>
                  <a:pt x="206" y="311"/>
                  <a:pt x="205" y="311"/>
                  <a:pt x="204" y="311"/>
                </a:cubicBezTo>
                <a:cubicBezTo>
                  <a:pt x="198" y="311"/>
                  <a:pt x="190" y="314"/>
                  <a:pt x="183" y="317"/>
                </a:cubicBezTo>
                <a:cubicBezTo>
                  <a:pt x="176" y="320"/>
                  <a:pt x="169" y="322"/>
                  <a:pt x="169" y="323"/>
                </a:cubicBezTo>
                <a:cubicBezTo>
                  <a:pt x="168" y="324"/>
                  <a:pt x="168" y="324"/>
                  <a:pt x="168" y="324"/>
                </a:cubicBezTo>
                <a:cubicBezTo>
                  <a:pt x="168" y="324"/>
                  <a:pt x="163" y="328"/>
                  <a:pt x="159" y="332"/>
                </a:cubicBezTo>
                <a:cubicBezTo>
                  <a:pt x="156" y="334"/>
                  <a:pt x="154" y="336"/>
                  <a:pt x="152" y="338"/>
                </a:cubicBezTo>
                <a:cubicBezTo>
                  <a:pt x="151" y="338"/>
                  <a:pt x="150" y="340"/>
                  <a:pt x="149" y="340"/>
                </a:cubicBezTo>
                <a:cubicBezTo>
                  <a:pt x="149" y="340"/>
                  <a:pt x="149" y="340"/>
                  <a:pt x="149" y="340"/>
                </a:cubicBezTo>
                <a:cubicBezTo>
                  <a:pt x="146" y="336"/>
                  <a:pt x="140" y="337"/>
                  <a:pt x="134" y="337"/>
                </a:cubicBezTo>
                <a:cubicBezTo>
                  <a:pt x="132" y="337"/>
                  <a:pt x="130" y="337"/>
                  <a:pt x="128" y="338"/>
                </a:cubicBezTo>
                <a:cubicBezTo>
                  <a:pt x="126" y="338"/>
                  <a:pt x="122" y="340"/>
                  <a:pt x="122" y="345"/>
                </a:cubicBezTo>
                <a:cubicBezTo>
                  <a:pt x="122" y="347"/>
                  <a:pt x="122" y="348"/>
                  <a:pt x="122" y="348"/>
                </a:cubicBezTo>
                <a:cubicBezTo>
                  <a:pt x="123" y="349"/>
                  <a:pt x="123" y="354"/>
                  <a:pt x="126" y="359"/>
                </a:cubicBezTo>
                <a:cubicBezTo>
                  <a:pt x="129" y="365"/>
                  <a:pt x="136" y="369"/>
                  <a:pt x="146" y="369"/>
                </a:cubicBezTo>
                <a:cubicBezTo>
                  <a:pt x="155" y="369"/>
                  <a:pt x="158" y="370"/>
                  <a:pt x="161" y="372"/>
                </a:cubicBezTo>
                <a:cubicBezTo>
                  <a:pt x="163" y="373"/>
                  <a:pt x="166" y="377"/>
                  <a:pt x="172" y="378"/>
                </a:cubicBezTo>
                <a:cubicBezTo>
                  <a:pt x="176" y="379"/>
                  <a:pt x="178" y="379"/>
                  <a:pt x="179" y="379"/>
                </a:cubicBezTo>
                <a:cubicBezTo>
                  <a:pt x="180" y="380"/>
                  <a:pt x="182" y="381"/>
                  <a:pt x="186" y="385"/>
                </a:cubicBezTo>
                <a:cubicBezTo>
                  <a:pt x="188" y="387"/>
                  <a:pt x="189" y="388"/>
                  <a:pt x="189" y="390"/>
                </a:cubicBezTo>
                <a:cubicBezTo>
                  <a:pt x="189" y="390"/>
                  <a:pt x="189" y="390"/>
                  <a:pt x="189" y="390"/>
                </a:cubicBezTo>
                <a:cubicBezTo>
                  <a:pt x="179" y="388"/>
                  <a:pt x="168" y="385"/>
                  <a:pt x="163" y="380"/>
                </a:cubicBezTo>
                <a:cubicBezTo>
                  <a:pt x="156" y="373"/>
                  <a:pt x="156" y="373"/>
                  <a:pt x="156" y="373"/>
                </a:cubicBezTo>
                <a:cubicBezTo>
                  <a:pt x="155" y="372"/>
                  <a:pt x="152" y="371"/>
                  <a:pt x="149" y="372"/>
                </a:cubicBezTo>
                <a:cubicBezTo>
                  <a:pt x="138" y="379"/>
                  <a:pt x="138" y="379"/>
                  <a:pt x="138" y="379"/>
                </a:cubicBezTo>
                <a:cubicBezTo>
                  <a:pt x="120" y="381"/>
                  <a:pt x="100" y="390"/>
                  <a:pt x="100" y="390"/>
                </a:cubicBezTo>
                <a:cubicBezTo>
                  <a:pt x="97" y="392"/>
                  <a:pt x="96" y="395"/>
                  <a:pt x="97" y="398"/>
                </a:cubicBezTo>
                <a:cubicBezTo>
                  <a:pt x="97" y="399"/>
                  <a:pt x="104" y="412"/>
                  <a:pt x="116" y="421"/>
                </a:cubicBezTo>
                <a:cubicBezTo>
                  <a:pt x="129" y="431"/>
                  <a:pt x="152" y="430"/>
                  <a:pt x="156" y="431"/>
                </a:cubicBezTo>
                <a:cubicBezTo>
                  <a:pt x="156" y="431"/>
                  <a:pt x="156" y="431"/>
                  <a:pt x="156" y="431"/>
                </a:cubicBezTo>
                <a:cubicBezTo>
                  <a:pt x="148" y="433"/>
                  <a:pt x="145" y="435"/>
                  <a:pt x="141" y="439"/>
                </a:cubicBezTo>
                <a:cubicBezTo>
                  <a:pt x="137" y="443"/>
                  <a:pt x="133" y="445"/>
                  <a:pt x="130" y="448"/>
                </a:cubicBezTo>
                <a:cubicBezTo>
                  <a:pt x="126" y="451"/>
                  <a:pt x="122" y="455"/>
                  <a:pt x="122" y="461"/>
                </a:cubicBezTo>
                <a:cubicBezTo>
                  <a:pt x="122" y="463"/>
                  <a:pt x="123" y="466"/>
                  <a:pt x="124" y="468"/>
                </a:cubicBezTo>
                <a:cubicBezTo>
                  <a:pt x="126" y="473"/>
                  <a:pt x="129" y="477"/>
                  <a:pt x="132" y="481"/>
                </a:cubicBezTo>
                <a:cubicBezTo>
                  <a:pt x="131" y="480"/>
                  <a:pt x="129" y="480"/>
                  <a:pt x="128" y="480"/>
                </a:cubicBezTo>
                <a:cubicBezTo>
                  <a:pt x="127" y="480"/>
                  <a:pt x="127" y="480"/>
                  <a:pt x="127" y="480"/>
                </a:cubicBezTo>
                <a:cubicBezTo>
                  <a:pt x="123" y="480"/>
                  <a:pt x="121" y="480"/>
                  <a:pt x="119" y="481"/>
                </a:cubicBezTo>
                <a:cubicBezTo>
                  <a:pt x="116" y="482"/>
                  <a:pt x="115" y="483"/>
                  <a:pt x="110" y="485"/>
                </a:cubicBezTo>
                <a:cubicBezTo>
                  <a:pt x="108" y="485"/>
                  <a:pt x="105" y="489"/>
                  <a:pt x="105" y="492"/>
                </a:cubicBezTo>
                <a:cubicBezTo>
                  <a:pt x="105" y="496"/>
                  <a:pt x="107" y="497"/>
                  <a:pt x="108" y="499"/>
                </a:cubicBezTo>
                <a:cubicBezTo>
                  <a:pt x="110" y="501"/>
                  <a:pt x="113" y="503"/>
                  <a:pt x="115" y="505"/>
                </a:cubicBezTo>
                <a:cubicBezTo>
                  <a:pt x="118" y="506"/>
                  <a:pt x="121" y="508"/>
                  <a:pt x="125" y="508"/>
                </a:cubicBezTo>
                <a:cubicBezTo>
                  <a:pt x="130" y="507"/>
                  <a:pt x="132" y="504"/>
                  <a:pt x="135" y="501"/>
                </a:cubicBezTo>
                <a:cubicBezTo>
                  <a:pt x="137" y="498"/>
                  <a:pt x="138" y="495"/>
                  <a:pt x="138" y="491"/>
                </a:cubicBezTo>
                <a:cubicBezTo>
                  <a:pt x="138" y="490"/>
                  <a:pt x="138" y="489"/>
                  <a:pt x="138" y="488"/>
                </a:cubicBezTo>
                <a:cubicBezTo>
                  <a:pt x="140" y="491"/>
                  <a:pt x="142" y="493"/>
                  <a:pt x="144" y="495"/>
                </a:cubicBezTo>
                <a:cubicBezTo>
                  <a:pt x="145" y="496"/>
                  <a:pt x="145" y="497"/>
                  <a:pt x="146" y="498"/>
                </a:cubicBezTo>
                <a:cubicBezTo>
                  <a:pt x="146" y="498"/>
                  <a:pt x="146" y="499"/>
                  <a:pt x="146" y="499"/>
                </a:cubicBezTo>
                <a:cubicBezTo>
                  <a:pt x="147" y="503"/>
                  <a:pt x="152" y="506"/>
                  <a:pt x="155" y="506"/>
                </a:cubicBezTo>
                <a:cubicBezTo>
                  <a:pt x="161" y="506"/>
                  <a:pt x="165" y="503"/>
                  <a:pt x="170" y="500"/>
                </a:cubicBezTo>
                <a:cubicBezTo>
                  <a:pt x="174" y="497"/>
                  <a:pt x="178" y="495"/>
                  <a:pt x="180" y="490"/>
                </a:cubicBezTo>
                <a:cubicBezTo>
                  <a:pt x="180" y="491"/>
                  <a:pt x="180" y="492"/>
                  <a:pt x="180" y="494"/>
                </a:cubicBezTo>
                <a:cubicBezTo>
                  <a:pt x="179" y="495"/>
                  <a:pt x="179" y="497"/>
                  <a:pt x="179" y="499"/>
                </a:cubicBezTo>
                <a:cubicBezTo>
                  <a:pt x="179" y="507"/>
                  <a:pt x="184" y="513"/>
                  <a:pt x="188" y="515"/>
                </a:cubicBezTo>
                <a:cubicBezTo>
                  <a:pt x="192" y="518"/>
                  <a:pt x="196" y="519"/>
                  <a:pt x="196" y="519"/>
                </a:cubicBezTo>
                <a:cubicBezTo>
                  <a:pt x="199" y="519"/>
                  <a:pt x="201" y="518"/>
                  <a:pt x="202" y="515"/>
                </a:cubicBezTo>
                <a:cubicBezTo>
                  <a:pt x="202" y="515"/>
                  <a:pt x="204" y="513"/>
                  <a:pt x="205" y="510"/>
                </a:cubicBezTo>
                <a:cubicBezTo>
                  <a:pt x="206" y="510"/>
                  <a:pt x="206" y="510"/>
                  <a:pt x="206" y="509"/>
                </a:cubicBezTo>
                <a:cubicBezTo>
                  <a:pt x="208" y="511"/>
                  <a:pt x="210" y="513"/>
                  <a:pt x="212" y="515"/>
                </a:cubicBezTo>
                <a:cubicBezTo>
                  <a:pt x="215" y="518"/>
                  <a:pt x="218" y="521"/>
                  <a:pt x="218" y="521"/>
                </a:cubicBezTo>
                <a:cubicBezTo>
                  <a:pt x="220" y="523"/>
                  <a:pt x="224" y="524"/>
                  <a:pt x="226" y="522"/>
                </a:cubicBezTo>
                <a:cubicBezTo>
                  <a:pt x="226" y="522"/>
                  <a:pt x="228" y="520"/>
                  <a:pt x="231" y="519"/>
                </a:cubicBezTo>
                <a:cubicBezTo>
                  <a:pt x="233" y="517"/>
                  <a:pt x="236" y="516"/>
                  <a:pt x="237" y="516"/>
                </a:cubicBezTo>
                <a:cubicBezTo>
                  <a:pt x="237" y="516"/>
                  <a:pt x="237" y="516"/>
                  <a:pt x="237" y="517"/>
                </a:cubicBezTo>
                <a:cubicBezTo>
                  <a:pt x="237" y="517"/>
                  <a:pt x="236" y="519"/>
                  <a:pt x="234" y="521"/>
                </a:cubicBezTo>
                <a:cubicBezTo>
                  <a:pt x="231" y="523"/>
                  <a:pt x="228" y="525"/>
                  <a:pt x="225" y="527"/>
                </a:cubicBezTo>
                <a:cubicBezTo>
                  <a:pt x="222" y="529"/>
                  <a:pt x="214" y="532"/>
                  <a:pt x="206" y="536"/>
                </a:cubicBezTo>
                <a:cubicBezTo>
                  <a:pt x="198" y="540"/>
                  <a:pt x="191" y="544"/>
                  <a:pt x="187" y="546"/>
                </a:cubicBezTo>
                <a:cubicBezTo>
                  <a:pt x="184" y="548"/>
                  <a:pt x="177" y="552"/>
                  <a:pt x="171" y="556"/>
                </a:cubicBezTo>
                <a:cubicBezTo>
                  <a:pt x="167" y="558"/>
                  <a:pt x="164" y="559"/>
                  <a:pt x="161" y="560"/>
                </a:cubicBezTo>
                <a:cubicBezTo>
                  <a:pt x="160" y="561"/>
                  <a:pt x="159" y="560"/>
                  <a:pt x="158" y="561"/>
                </a:cubicBezTo>
                <a:cubicBezTo>
                  <a:pt x="157" y="561"/>
                  <a:pt x="157" y="560"/>
                  <a:pt x="157" y="560"/>
                </a:cubicBezTo>
                <a:cubicBezTo>
                  <a:pt x="157" y="560"/>
                  <a:pt x="157" y="560"/>
                  <a:pt x="157" y="560"/>
                </a:cubicBezTo>
                <a:cubicBezTo>
                  <a:pt x="152" y="560"/>
                  <a:pt x="149" y="564"/>
                  <a:pt x="148" y="567"/>
                </a:cubicBezTo>
                <a:cubicBezTo>
                  <a:pt x="147" y="569"/>
                  <a:pt x="146" y="573"/>
                  <a:pt x="146" y="576"/>
                </a:cubicBezTo>
                <a:cubicBezTo>
                  <a:pt x="146" y="578"/>
                  <a:pt x="146" y="582"/>
                  <a:pt x="148" y="584"/>
                </a:cubicBezTo>
                <a:cubicBezTo>
                  <a:pt x="150" y="587"/>
                  <a:pt x="154" y="589"/>
                  <a:pt x="158" y="589"/>
                </a:cubicBezTo>
                <a:cubicBezTo>
                  <a:pt x="158" y="589"/>
                  <a:pt x="159" y="589"/>
                  <a:pt x="160" y="589"/>
                </a:cubicBezTo>
                <a:cubicBezTo>
                  <a:pt x="172" y="587"/>
                  <a:pt x="200" y="576"/>
                  <a:pt x="209" y="571"/>
                </a:cubicBezTo>
                <a:cubicBezTo>
                  <a:pt x="210" y="571"/>
                  <a:pt x="210" y="572"/>
                  <a:pt x="210" y="572"/>
                </a:cubicBezTo>
                <a:cubicBezTo>
                  <a:pt x="210" y="572"/>
                  <a:pt x="210" y="572"/>
                  <a:pt x="210" y="572"/>
                </a:cubicBezTo>
                <a:cubicBezTo>
                  <a:pt x="210" y="572"/>
                  <a:pt x="210" y="571"/>
                  <a:pt x="211" y="571"/>
                </a:cubicBezTo>
                <a:cubicBezTo>
                  <a:pt x="212" y="571"/>
                  <a:pt x="213" y="571"/>
                  <a:pt x="215" y="571"/>
                </a:cubicBezTo>
                <a:cubicBezTo>
                  <a:pt x="220" y="571"/>
                  <a:pt x="225" y="569"/>
                  <a:pt x="235" y="564"/>
                </a:cubicBezTo>
                <a:cubicBezTo>
                  <a:pt x="245" y="558"/>
                  <a:pt x="253" y="552"/>
                  <a:pt x="259" y="548"/>
                </a:cubicBezTo>
                <a:cubicBezTo>
                  <a:pt x="262" y="546"/>
                  <a:pt x="265" y="544"/>
                  <a:pt x="267" y="543"/>
                </a:cubicBezTo>
                <a:cubicBezTo>
                  <a:pt x="268" y="543"/>
                  <a:pt x="269" y="542"/>
                  <a:pt x="269" y="542"/>
                </a:cubicBezTo>
                <a:cubicBezTo>
                  <a:pt x="270" y="542"/>
                  <a:pt x="270" y="542"/>
                  <a:pt x="270" y="543"/>
                </a:cubicBezTo>
                <a:cubicBezTo>
                  <a:pt x="272" y="544"/>
                  <a:pt x="275" y="553"/>
                  <a:pt x="285" y="556"/>
                </a:cubicBezTo>
                <a:cubicBezTo>
                  <a:pt x="287" y="556"/>
                  <a:pt x="288" y="557"/>
                  <a:pt x="290" y="557"/>
                </a:cubicBezTo>
                <a:cubicBezTo>
                  <a:pt x="302" y="556"/>
                  <a:pt x="309" y="545"/>
                  <a:pt x="313" y="543"/>
                </a:cubicBezTo>
                <a:cubicBezTo>
                  <a:pt x="320" y="537"/>
                  <a:pt x="323" y="529"/>
                  <a:pt x="323" y="522"/>
                </a:cubicBezTo>
                <a:cubicBezTo>
                  <a:pt x="323" y="520"/>
                  <a:pt x="323" y="518"/>
                  <a:pt x="322" y="516"/>
                </a:cubicBezTo>
                <a:cubicBezTo>
                  <a:pt x="321" y="514"/>
                  <a:pt x="318" y="512"/>
                  <a:pt x="315" y="512"/>
                </a:cubicBezTo>
                <a:cubicBezTo>
                  <a:pt x="314" y="512"/>
                  <a:pt x="314" y="512"/>
                  <a:pt x="313" y="512"/>
                </a:cubicBezTo>
                <a:cubicBezTo>
                  <a:pt x="312" y="513"/>
                  <a:pt x="311" y="513"/>
                  <a:pt x="310" y="513"/>
                </a:cubicBezTo>
                <a:cubicBezTo>
                  <a:pt x="313" y="510"/>
                  <a:pt x="315" y="506"/>
                  <a:pt x="316" y="500"/>
                </a:cubicBezTo>
                <a:cubicBezTo>
                  <a:pt x="316" y="496"/>
                  <a:pt x="317" y="489"/>
                  <a:pt x="321" y="486"/>
                </a:cubicBezTo>
                <a:cubicBezTo>
                  <a:pt x="321" y="487"/>
                  <a:pt x="320" y="489"/>
                  <a:pt x="319" y="492"/>
                </a:cubicBezTo>
                <a:cubicBezTo>
                  <a:pt x="318" y="494"/>
                  <a:pt x="318" y="497"/>
                  <a:pt x="318" y="499"/>
                </a:cubicBezTo>
                <a:cubicBezTo>
                  <a:pt x="318" y="502"/>
                  <a:pt x="318" y="505"/>
                  <a:pt x="321" y="507"/>
                </a:cubicBezTo>
                <a:cubicBezTo>
                  <a:pt x="323" y="509"/>
                  <a:pt x="326" y="510"/>
                  <a:pt x="328" y="510"/>
                </a:cubicBezTo>
                <a:cubicBezTo>
                  <a:pt x="336" y="509"/>
                  <a:pt x="342" y="505"/>
                  <a:pt x="347" y="501"/>
                </a:cubicBezTo>
                <a:cubicBezTo>
                  <a:pt x="350" y="498"/>
                  <a:pt x="350" y="499"/>
                  <a:pt x="354" y="498"/>
                </a:cubicBezTo>
                <a:cubicBezTo>
                  <a:pt x="358" y="497"/>
                  <a:pt x="364" y="495"/>
                  <a:pt x="371" y="490"/>
                </a:cubicBezTo>
                <a:cubicBezTo>
                  <a:pt x="378" y="485"/>
                  <a:pt x="381" y="481"/>
                  <a:pt x="384" y="478"/>
                </a:cubicBezTo>
                <a:cubicBezTo>
                  <a:pt x="386" y="476"/>
                  <a:pt x="385" y="476"/>
                  <a:pt x="387" y="476"/>
                </a:cubicBezTo>
                <a:cubicBezTo>
                  <a:pt x="387" y="476"/>
                  <a:pt x="387" y="476"/>
                  <a:pt x="387" y="476"/>
                </a:cubicBezTo>
                <a:cubicBezTo>
                  <a:pt x="389" y="477"/>
                  <a:pt x="392" y="479"/>
                  <a:pt x="396" y="482"/>
                </a:cubicBezTo>
                <a:cubicBezTo>
                  <a:pt x="400" y="484"/>
                  <a:pt x="404" y="487"/>
                  <a:pt x="410" y="487"/>
                </a:cubicBezTo>
                <a:cubicBezTo>
                  <a:pt x="412" y="487"/>
                  <a:pt x="415" y="488"/>
                  <a:pt x="417" y="484"/>
                </a:cubicBezTo>
                <a:cubicBezTo>
                  <a:pt x="417" y="484"/>
                  <a:pt x="417" y="484"/>
                  <a:pt x="417" y="484"/>
                </a:cubicBezTo>
                <a:cubicBezTo>
                  <a:pt x="417" y="484"/>
                  <a:pt x="418" y="484"/>
                  <a:pt x="418" y="484"/>
                </a:cubicBezTo>
                <a:cubicBezTo>
                  <a:pt x="421" y="484"/>
                  <a:pt x="427" y="486"/>
                  <a:pt x="433" y="488"/>
                </a:cubicBezTo>
                <a:cubicBezTo>
                  <a:pt x="439" y="490"/>
                  <a:pt x="445" y="492"/>
                  <a:pt x="451" y="493"/>
                </a:cubicBezTo>
                <a:cubicBezTo>
                  <a:pt x="455" y="492"/>
                  <a:pt x="467" y="497"/>
                  <a:pt x="479" y="501"/>
                </a:cubicBezTo>
                <a:cubicBezTo>
                  <a:pt x="484" y="503"/>
                  <a:pt x="490" y="506"/>
                  <a:pt x="495" y="507"/>
                </a:cubicBezTo>
                <a:cubicBezTo>
                  <a:pt x="500" y="509"/>
                  <a:pt x="503" y="510"/>
                  <a:pt x="507" y="511"/>
                </a:cubicBezTo>
                <a:cubicBezTo>
                  <a:pt x="508" y="510"/>
                  <a:pt x="514" y="512"/>
                  <a:pt x="520" y="516"/>
                </a:cubicBezTo>
                <a:cubicBezTo>
                  <a:pt x="525" y="520"/>
                  <a:pt x="529" y="526"/>
                  <a:pt x="529" y="532"/>
                </a:cubicBezTo>
                <a:cubicBezTo>
                  <a:pt x="530" y="541"/>
                  <a:pt x="531" y="546"/>
                  <a:pt x="535" y="550"/>
                </a:cubicBezTo>
                <a:cubicBezTo>
                  <a:pt x="539" y="555"/>
                  <a:pt x="544" y="555"/>
                  <a:pt x="548" y="555"/>
                </a:cubicBezTo>
                <a:cubicBezTo>
                  <a:pt x="549" y="555"/>
                  <a:pt x="550" y="555"/>
                  <a:pt x="550" y="555"/>
                </a:cubicBezTo>
                <a:cubicBezTo>
                  <a:pt x="552" y="555"/>
                  <a:pt x="558" y="556"/>
                  <a:pt x="562" y="558"/>
                </a:cubicBezTo>
                <a:cubicBezTo>
                  <a:pt x="564" y="559"/>
                  <a:pt x="565" y="561"/>
                  <a:pt x="566" y="562"/>
                </a:cubicBezTo>
                <a:cubicBezTo>
                  <a:pt x="567" y="562"/>
                  <a:pt x="567" y="562"/>
                  <a:pt x="567" y="563"/>
                </a:cubicBezTo>
                <a:cubicBezTo>
                  <a:pt x="567" y="565"/>
                  <a:pt x="566" y="573"/>
                  <a:pt x="566" y="580"/>
                </a:cubicBezTo>
                <a:cubicBezTo>
                  <a:pt x="567" y="590"/>
                  <a:pt x="567" y="602"/>
                  <a:pt x="577" y="609"/>
                </a:cubicBezTo>
                <a:cubicBezTo>
                  <a:pt x="582" y="612"/>
                  <a:pt x="587" y="616"/>
                  <a:pt x="591" y="619"/>
                </a:cubicBezTo>
                <a:cubicBezTo>
                  <a:pt x="596" y="622"/>
                  <a:pt x="599" y="625"/>
                  <a:pt x="605" y="625"/>
                </a:cubicBezTo>
                <a:cubicBezTo>
                  <a:pt x="607" y="625"/>
                  <a:pt x="608" y="625"/>
                  <a:pt x="610" y="624"/>
                </a:cubicBezTo>
                <a:cubicBezTo>
                  <a:pt x="615" y="620"/>
                  <a:pt x="614" y="616"/>
                  <a:pt x="615" y="613"/>
                </a:cubicBezTo>
                <a:cubicBezTo>
                  <a:pt x="615" y="610"/>
                  <a:pt x="614" y="607"/>
                  <a:pt x="614" y="604"/>
                </a:cubicBezTo>
                <a:cubicBezTo>
                  <a:pt x="614" y="605"/>
                  <a:pt x="615" y="605"/>
                  <a:pt x="616" y="606"/>
                </a:cubicBezTo>
                <a:cubicBezTo>
                  <a:pt x="618" y="608"/>
                  <a:pt x="620" y="611"/>
                  <a:pt x="625" y="611"/>
                </a:cubicBezTo>
                <a:cubicBezTo>
                  <a:pt x="625" y="611"/>
                  <a:pt x="626" y="612"/>
                  <a:pt x="627" y="613"/>
                </a:cubicBezTo>
                <a:cubicBezTo>
                  <a:pt x="630" y="616"/>
                  <a:pt x="635" y="624"/>
                  <a:pt x="635" y="628"/>
                </a:cubicBezTo>
                <a:cubicBezTo>
                  <a:pt x="635" y="628"/>
                  <a:pt x="635" y="629"/>
                  <a:pt x="634" y="629"/>
                </a:cubicBezTo>
                <a:cubicBezTo>
                  <a:pt x="634" y="632"/>
                  <a:pt x="633" y="634"/>
                  <a:pt x="633" y="637"/>
                </a:cubicBezTo>
                <a:cubicBezTo>
                  <a:pt x="633" y="648"/>
                  <a:pt x="641" y="660"/>
                  <a:pt x="654" y="661"/>
                </a:cubicBezTo>
                <a:cubicBezTo>
                  <a:pt x="655" y="660"/>
                  <a:pt x="661" y="664"/>
                  <a:pt x="666" y="669"/>
                </a:cubicBezTo>
                <a:cubicBezTo>
                  <a:pt x="668" y="671"/>
                  <a:pt x="670" y="674"/>
                  <a:pt x="672" y="676"/>
                </a:cubicBezTo>
                <a:cubicBezTo>
                  <a:pt x="675" y="678"/>
                  <a:pt x="676" y="680"/>
                  <a:pt x="680" y="681"/>
                </a:cubicBezTo>
                <a:cubicBezTo>
                  <a:pt x="680" y="681"/>
                  <a:pt x="682" y="683"/>
                  <a:pt x="684" y="684"/>
                </a:cubicBezTo>
                <a:cubicBezTo>
                  <a:pt x="685" y="685"/>
                  <a:pt x="685" y="686"/>
                  <a:pt x="685" y="687"/>
                </a:cubicBezTo>
                <a:cubicBezTo>
                  <a:pt x="686" y="687"/>
                  <a:pt x="686" y="688"/>
                  <a:pt x="686" y="688"/>
                </a:cubicBezTo>
                <a:cubicBezTo>
                  <a:pt x="686" y="688"/>
                  <a:pt x="686" y="688"/>
                  <a:pt x="686" y="688"/>
                </a:cubicBezTo>
                <a:cubicBezTo>
                  <a:pt x="686" y="692"/>
                  <a:pt x="687" y="698"/>
                  <a:pt x="689" y="706"/>
                </a:cubicBezTo>
                <a:cubicBezTo>
                  <a:pt x="690" y="713"/>
                  <a:pt x="692" y="721"/>
                  <a:pt x="692" y="725"/>
                </a:cubicBezTo>
                <a:cubicBezTo>
                  <a:pt x="692" y="734"/>
                  <a:pt x="688" y="773"/>
                  <a:pt x="687" y="788"/>
                </a:cubicBezTo>
                <a:cubicBezTo>
                  <a:pt x="687" y="789"/>
                  <a:pt x="687" y="790"/>
                  <a:pt x="687" y="791"/>
                </a:cubicBezTo>
                <a:cubicBezTo>
                  <a:pt x="687" y="809"/>
                  <a:pt x="697" y="833"/>
                  <a:pt x="709" y="847"/>
                </a:cubicBezTo>
                <a:cubicBezTo>
                  <a:pt x="714" y="854"/>
                  <a:pt x="720" y="863"/>
                  <a:pt x="725" y="872"/>
                </a:cubicBezTo>
                <a:cubicBezTo>
                  <a:pt x="730" y="881"/>
                  <a:pt x="733" y="889"/>
                  <a:pt x="739" y="894"/>
                </a:cubicBezTo>
                <a:cubicBezTo>
                  <a:pt x="741" y="895"/>
                  <a:pt x="744" y="900"/>
                  <a:pt x="747" y="904"/>
                </a:cubicBezTo>
                <a:cubicBezTo>
                  <a:pt x="750" y="909"/>
                  <a:pt x="755" y="914"/>
                  <a:pt x="763" y="915"/>
                </a:cubicBezTo>
                <a:cubicBezTo>
                  <a:pt x="764" y="915"/>
                  <a:pt x="764" y="914"/>
                  <a:pt x="765" y="914"/>
                </a:cubicBezTo>
                <a:cubicBezTo>
                  <a:pt x="766" y="914"/>
                  <a:pt x="766" y="914"/>
                  <a:pt x="766" y="914"/>
                </a:cubicBezTo>
                <a:cubicBezTo>
                  <a:pt x="769" y="914"/>
                  <a:pt x="771" y="915"/>
                  <a:pt x="774" y="919"/>
                </a:cubicBezTo>
                <a:cubicBezTo>
                  <a:pt x="777" y="923"/>
                  <a:pt x="781" y="930"/>
                  <a:pt x="785" y="939"/>
                </a:cubicBezTo>
                <a:cubicBezTo>
                  <a:pt x="790" y="948"/>
                  <a:pt x="794" y="961"/>
                  <a:pt x="799" y="971"/>
                </a:cubicBezTo>
                <a:cubicBezTo>
                  <a:pt x="801" y="977"/>
                  <a:pt x="803" y="982"/>
                  <a:pt x="805" y="986"/>
                </a:cubicBezTo>
                <a:cubicBezTo>
                  <a:pt x="808" y="990"/>
                  <a:pt x="809" y="993"/>
                  <a:pt x="814" y="995"/>
                </a:cubicBezTo>
                <a:cubicBezTo>
                  <a:pt x="816" y="996"/>
                  <a:pt x="819" y="998"/>
                  <a:pt x="821" y="1000"/>
                </a:cubicBezTo>
                <a:cubicBezTo>
                  <a:pt x="824" y="1002"/>
                  <a:pt x="824" y="1005"/>
                  <a:pt x="824" y="1005"/>
                </a:cubicBezTo>
                <a:cubicBezTo>
                  <a:pt x="824" y="1005"/>
                  <a:pt x="824" y="1005"/>
                  <a:pt x="824" y="1005"/>
                </a:cubicBezTo>
                <a:cubicBezTo>
                  <a:pt x="820" y="1011"/>
                  <a:pt x="814" y="1018"/>
                  <a:pt x="813" y="1027"/>
                </a:cubicBezTo>
                <a:cubicBezTo>
                  <a:pt x="813" y="1029"/>
                  <a:pt x="814" y="1032"/>
                  <a:pt x="816" y="1034"/>
                </a:cubicBezTo>
                <a:cubicBezTo>
                  <a:pt x="819" y="1037"/>
                  <a:pt x="822" y="1037"/>
                  <a:pt x="824" y="1037"/>
                </a:cubicBezTo>
                <a:cubicBezTo>
                  <a:pt x="831" y="1037"/>
                  <a:pt x="836" y="1035"/>
                  <a:pt x="836" y="1035"/>
                </a:cubicBezTo>
                <a:cubicBezTo>
                  <a:pt x="837" y="1035"/>
                  <a:pt x="837" y="1035"/>
                  <a:pt x="841" y="1040"/>
                </a:cubicBezTo>
                <a:cubicBezTo>
                  <a:pt x="845" y="1046"/>
                  <a:pt x="849" y="1051"/>
                  <a:pt x="852" y="1055"/>
                </a:cubicBezTo>
                <a:cubicBezTo>
                  <a:pt x="856" y="1059"/>
                  <a:pt x="856" y="1062"/>
                  <a:pt x="856" y="1063"/>
                </a:cubicBezTo>
                <a:cubicBezTo>
                  <a:pt x="856" y="1063"/>
                  <a:pt x="856" y="1063"/>
                  <a:pt x="856" y="1063"/>
                </a:cubicBezTo>
                <a:cubicBezTo>
                  <a:pt x="856" y="1064"/>
                  <a:pt x="856" y="1065"/>
                  <a:pt x="856" y="1065"/>
                </a:cubicBezTo>
                <a:cubicBezTo>
                  <a:pt x="856" y="1072"/>
                  <a:pt x="861" y="1076"/>
                  <a:pt x="865" y="1079"/>
                </a:cubicBezTo>
                <a:cubicBezTo>
                  <a:pt x="869" y="1080"/>
                  <a:pt x="872" y="1082"/>
                  <a:pt x="875" y="1082"/>
                </a:cubicBezTo>
                <a:cubicBezTo>
                  <a:pt x="875" y="1082"/>
                  <a:pt x="875" y="1082"/>
                  <a:pt x="875" y="1083"/>
                </a:cubicBezTo>
                <a:cubicBezTo>
                  <a:pt x="877" y="1084"/>
                  <a:pt x="879" y="1088"/>
                  <a:pt x="883" y="1092"/>
                </a:cubicBezTo>
                <a:cubicBezTo>
                  <a:pt x="886" y="1096"/>
                  <a:pt x="890" y="1100"/>
                  <a:pt x="897" y="1101"/>
                </a:cubicBezTo>
                <a:cubicBezTo>
                  <a:pt x="901" y="1101"/>
                  <a:pt x="904" y="1099"/>
                  <a:pt x="907" y="1096"/>
                </a:cubicBezTo>
                <a:cubicBezTo>
                  <a:pt x="910" y="1093"/>
                  <a:pt x="911" y="1089"/>
                  <a:pt x="911" y="1086"/>
                </a:cubicBezTo>
                <a:cubicBezTo>
                  <a:pt x="911" y="1077"/>
                  <a:pt x="905" y="1071"/>
                  <a:pt x="900" y="1065"/>
                </a:cubicBezTo>
                <a:cubicBezTo>
                  <a:pt x="894" y="1060"/>
                  <a:pt x="888" y="1055"/>
                  <a:pt x="886" y="1053"/>
                </a:cubicBezTo>
                <a:cubicBezTo>
                  <a:pt x="885" y="1052"/>
                  <a:pt x="884" y="1048"/>
                  <a:pt x="883" y="1041"/>
                </a:cubicBezTo>
                <a:cubicBezTo>
                  <a:pt x="882" y="1034"/>
                  <a:pt x="879" y="1024"/>
                  <a:pt x="870" y="1016"/>
                </a:cubicBezTo>
                <a:cubicBezTo>
                  <a:pt x="863" y="1009"/>
                  <a:pt x="860" y="1004"/>
                  <a:pt x="857" y="999"/>
                </a:cubicBezTo>
                <a:cubicBezTo>
                  <a:pt x="866" y="1010"/>
                  <a:pt x="877" y="1020"/>
                  <a:pt x="883" y="1027"/>
                </a:cubicBezTo>
                <a:cubicBezTo>
                  <a:pt x="887" y="1031"/>
                  <a:pt x="895" y="1044"/>
                  <a:pt x="901" y="1055"/>
                </a:cubicBezTo>
                <a:cubicBezTo>
                  <a:pt x="905" y="1060"/>
                  <a:pt x="908" y="1066"/>
                  <a:pt x="911" y="1070"/>
                </a:cubicBezTo>
                <a:cubicBezTo>
                  <a:pt x="912" y="1072"/>
                  <a:pt x="914" y="1074"/>
                  <a:pt x="915" y="1075"/>
                </a:cubicBezTo>
                <a:cubicBezTo>
                  <a:pt x="917" y="1076"/>
                  <a:pt x="918" y="1078"/>
                  <a:pt x="921" y="1078"/>
                </a:cubicBezTo>
                <a:cubicBezTo>
                  <a:pt x="923" y="1079"/>
                  <a:pt x="928" y="1084"/>
                  <a:pt x="931" y="1088"/>
                </a:cubicBezTo>
                <a:cubicBezTo>
                  <a:pt x="935" y="1092"/>
                  <a:pt x="938" y="1096"/>
                  <a:pt x="939" y="1098"/>
                </a:cubicBezTo>
                <a:cubicBezTo>
                  <a:pt x="939" y="1099"/>
                  <a:pt x="940" y="1101"/>
                  <a:pt x="942" y="1104"/>
                </a:cubicBezTo>
                <a:cubicBezTo>
                  <a:pt x="943" y="1108"/>
                  <a:pt x="944" y="1113"/>
                  <a:pt x="944" y="1114"/>
                </a:cubicBezTo>
                <a:cubicBezTo>
                  <a:pt x="944" y="1115"/>
                  <a:pt x="944" y="1115"/>
                  <a:pt x="944" y="1115"/>
                </a:cubicBezTo>
                <a:cubicBezTo>
                  <a:pt x="943" y="1117"/>
                  <a:pt x="943" y="1120"/>
                  <a:pt x="943" y="1122"/>
                </a:cubicBezTo>
                <a:cubicBezTo>
                  <a:pt x="943" y="1133"/>
                  <a:pt x="949" y="1147"/>
                  <a:pt x="959" y="1155"/>
                </a:cubicBezTo>
                <a:cubicBezTo>
                  <a:pt x="968" y="1161"/>
                  <a:pt x="999" y="1178"/>
                  <a:pt x="1004" y="1181"/>
                </a:cubicBezTo>
                <a:cubicBezTo>
                  <a:pt x="1005" y="1182"/>
                  <a:pt x="1009" y="1188"/>
                  <a:pt x="1013" y="1193"/>
                </a:cubicBezTo>
                <a:cubicBezTo>
                  <a:pt x="1018" y="1199"/>
                  <a:pt x="1024" y="1205"/>
                  <a:pt x="1034" y="1205"/>
                </a:cubicBezTo>
                <a:cubicBezTo>
                  <a:pt x="1046" y="1205"/>
                  <a:pt x="1054" y="1208"/>
                  <a:pt x="1054" y="1209"/>
                </a:cubicBezTo>
                <a:cubicBezTo>
                  <a:pt x="1055" y="1210"/>
                  <a:pt x="1058" y="1214"/>
                  <a:pt x="1061" y="1217"/>
                </a:cubicBezTo>
                <a:cubicBezTo>
                  <a:pt x="1064" y="1220"/>
                  <a:pt x="1068" y="1224"/>
                  <a:pt x="1075" y="1225"/>
                </a:cubicBezTo>
                <a:cubicBezTo>
                  <a:pt x="1079" y="1225"/>
                  <a:pt x="1082" y="1223"/>
                  <a:pt x="1085" y="1219"/>
                </a:cubicBezTo>
                <a:cubicBezTo>
                  <a:pt x="1088" y="1214"/>
                  <a:pt x="1090" y="1211"/>
                  <a:pt x="1092" y="1210"/>
                </a:cubicBezTo>
                <a:cubicBezTo>
                  <a:pt x="1093" y="1209"/>
                  <a:pt x="1094" y="1208"/>
                  <a:pt x="1098" y="1208"/>
                </a:cubicBezTo>
                <a:cubicBezTo>
                  <a:pt x="1101" y="1208"/>
                  <a:pt x="1103" y="1209"/>
                  <a:pt x="1106" y="1212"/>
                </a:cubicBezTo>
                <a:cubicBezTo>
                  <a:pt x="1108" y="1215"/>
                  <a:pt x="1111" y="1219"/>
                  <a:pt x="1114" y="1222"/>
                </a:cubicBezTo>
                <a:cubicBezTo>
                  <a:pt x="1117" y="1226"/>
                  <a:pt x="1122" y="1232"/>
                  <a:pt x="1128" y="1237"/>
                </a:cubicBezTo>
                <a:cubicBezTo>
                  <a:pt x="1134" y="1243"/>
                  <a:pt x="1140" y="1248"/>
                  <a:pt x="1148" y="1248"/>
                </a:cubicBezTo>
                <a:cubicBezTo>
                  <a:pt x="1148" y="1248"/>
                  <a:pt x="1149" y="1248"/>
                  <a:pt x="1150" y="1248"/>
                </a:cubicBezTo>
                <a:cubicBezTo>
                  <a:pt x="1150" y="1248"/>
                  <a:pt x="1150" y="1248"/>
                  <a:pt x="1150" y="1248"/>
                </a:cubicBezTo>
                <a:cubicBezTo>
                  <a:pt x="1151" y="1248"/>
                  <a:pt x="1154" y="1249"/>
                  <a:pt x="1158" y="1251"/>
                </a:cubicBezTo>
                <a:cubicBezTo>
                  <a:pt x="1161" y="1253"/>
                  <a:pt x="1165" y="1256"/>
                  <a:pt x="1170" y="1256"/>
                </a:cubicBezTo>
                <a:cubicBezTo>
                  <a:pt x="1172" y="1256"/>
                  <a:pt x="1175" y="1255"/>
                  <a:pt x="1176" y="1254"/>
                </a:cubicBezTo>
                <a:cubicBezTo>
                  <a:pt x="1177" y="1254"/>
                  <a:pt x="1177" y="1254"/>
                  <a:pt x="1177" y="1254"/>
                </a:cubicBezTo>
                <a:cubicBezTo>
                  <a:pt x="1179" y="1253"/>
                  <a:pt x="1186" y="1257"/>
                  <a:pt x="1189" y="1260"/>
                </a:cubicBezTo>
                <a:cubicBezTo>
                  <a:pt x="1194" y="1262"/>
                  <a:pt x="1206" y="1271"/>
                  <a:pt x="1206" y="1282"/>
                </a:cubicBezTo>
                <a:cubicBezTo>
                  <a:pt x="1206" y="1282"/>
                  <a:pt x="1206" y="1283"/>
                  <a:pt x="1206" y="1283"/>
                </a:cubicBezTo>
                <a:cubicBezTo>
                  <a:pt x="1206" y="1284"/>
                  <a:pt x="1206" y="1285"/>
                  <a:pt x="1206" y="1286"/>
                </a:cubicBezTo>
                <a:cubicBezTo>
                  <a:pt x="1206" y="1304"/>
                  <a:pt x="1219" y="1310"/>
                  <a:pt x="1225" y="1313"/>
                </a:cubicBezTo>
                <a:cubicBezTo>
                  <a:pt x="1231" y="1317"/>
                  <a:pt x="1240" y="1326"/>
                  <a:pt x="1245" y="1333"/>
                </a:cubicBezTo>
                <a:cubicBezTo>
                  <a:pt x="1250" y="1338"/>
                  <a:pt x="1255" y="1340"/>
                  <a:pt x="1260" y="1342"/>
                </a:cubicBezTo>
                <a:cubicBezTo>
                  <a:pt x="1262" y="1343"/>
                  <a:pt x="1264" y="1343"/>
                  <a:pt x="1265" y="1344"/>
                </a:cubicBezTo>
                <a:cubicBezTo>
                  <a:pt x="1266" y="1344"/>
                  <a:pt x="1267" y="1345"/>
                  <a:pt x="1267" y="1345"/>
                </a:cubicBezTo>
                <a:cubicBezTo>
                  <a:pt x="1267" y="1345"/>
                  <a:pt x="1267" y="1345"/>
                  <a:pt x="1267" y="1345"/>
                </a:cubicBezTo>
                <a:cubicBezTo>
                  <a:pt x="1268" y="1346"/>
                  <a:pt x="1269" y="1348"/>
                  <a:pt x="1271" y="1350"/>
                </a:cubicBezTo>
                <a:cubicBezTo>
                  <a:pt x="1273" y="1353"/>
                  <a:pt x="1276" y="1355"/>
                  <a:pt x="1281" y="1355"/>
                </a:cubicBezTo>
                <a:cubicBezTo>
                  <a:pt x="1285" y="1355"/>
                  <a:pt x="1288" y="1354"/>
                  <a:pt x="1291" y="1351"/>
                </a:cubicBezTo>
                <a:cubicBezTo>
                  <a:pt x="1299" y="1346"/>
                  <a:pt x="1302" y="1340"/>
                  <a:pt x="1302" y="1332"/>
                </a:cubicBezTo>
                <a:cubicBezTo>
                  <a:pt x="1302" y="1332"/>
                  <a:pt x="1302" y="1332"/>
                  <a:pt x="1302" y="1332"/>
                </a:cubicBezTo>
                <a:cubicBezTo>
                  <a:pt x="1305" y="1332"/>
                  <a:pt x="1308" y="1333"/>
                  <a:pt x="1309" y="1334"/>
                </a:cubicBezTo>
                <a:cubicBezTo>
                  <a:pt x="1310" y="1335"/>
                  <a:pt x="1313" y="1341"/>
                  <a:pt x="1315" y="1346"/>
                </a:cubicBezTo>
                <a:cubicBezTo>
                  <a:pt x="1316" y="1349"/>
                  <a:pt x="1317" y="1352"/>
                  <a:pt x="1318" y="1354"/>
                </a:cubicBezTo>
                <a:cubicBezTo>
                  <a:pt x="1319" y="1357"/>
                  <a:pt x="1319" y="1359"/>
                  <a:pt x="1322" y="1361"/>
                </a:cubicBezTo>
                <a:cubicBezTo>
                  <a:pt x="1322" y="1361"/>
                  <a:pt x="1322" y="1361"/>
                  <a:pt x="1322" y="1361"/>
                </a:cubicBezTo>
                <a:cubicBezTo>
                  <a:pt x="1322" y="1362"/>
                  <a:pt x="1324" y="1365"/>
                  <a:pt x="1325" y="1369"/>
                </a:cubicBezTo>
                <a:cubicBezTo>
                  <a:pt x="1326" y="1373"/>
                  <a:pt x="1327" y="1378"/>
                  <a:pt x="1327" y="1384"/>
                </a:cubicBezTo>
                <a:cubicBezTo>
                  <a:pt x="1327" y="1387"/>
                  <a:pt x="1327" y="1390"/>
                  <a:pt x="1326" y="1393"/>
                </a:cubicBezTo>
                <a:cubicBezTo>
                  <a:pt x="1323" y="1402"/>
                  <a:pt x="1323" y="1409"/>
                  <a:pt x="1322" y="1415"/>
                </a:cubicBezTo>
                <a:cubicBezTo>
                  <a:pt x="1321" y="1417"/>
                  <a:pt x="1321" y="1419"/>
                  <a:pt x="1321" y="1420"/>
                </a:cubicBezTo>
                <a:cubicBezTo>
                  <a:pt x="1318" y="1421"/>
                  <a:pt x="1316" y="1423"/>
                  <a:pt x="1315" y="1425"/>
                </a:cubicBezTo>
                <a:cubicBezTo>
                  <a:pt x="1313" y="1428"/>
                  <a:pt x="1311" y="1432"/>
                  <a:pt x="1308" y="1435"/>
                </a:cubicBezTo>
                <a:cubicBezTo>
                  <a:pt x="1306" y="1439"/>
                  <a:pt x="1304" y="1442"/>
                  <a:pt x="1303" y="1442"/>
                </a:cubicBezTo>
                <a:cubicBezTo>
                  <a:pt x="1299" y="1445"/>
                  <a:pt x="1293" y="1451"/>
                  <a:pt x="1287" y="1457"/>
                </a:cubicBezTo>
                <a:cubicBezTo>
                  <a:pt x="1282" y="1464"/>
                  <a:pt x="1277" y="1469"/>
                  <a:pt x="1276" y="1477"/>
                </a:cubicBezTo>
                <a:cubicBezTo>
                  <a:pt x="1276" y="1478"/>
                  <a:pt x="1276" y="1478"/>
                  <a:pt x="1276" y="1479"/>
                </a:cubicBezTo>
                <a:cubicBezTo>
                  <a:pt x="1277" y="1483"/>
                  <a:pt x="1279" y="1489"/>
                  <a:pt x="1282" y="1495"/>
                </a:cubicBezTo>
                <a:cubicBezTo>
                  <a:pt x="1284" y="1501"/>
                  <a:pt x="1286" y="1508"/>
                  <a:pt x="1286" y="1512"/>
                </a:cubicBezTo>
                <a:cubicBezTo>
                  <a:pt x="1286" y="1513"/>
                  <a:pt x="1286" y="1513"/>
                  <a:pt x="1286" y="1514"/>
                </a:cubicBezTo>
                <a:cubicBezTo>
                  <a:pt x="1285" y="1516"/>
                  <a:pt x="1282" y="1520"/>
                  <a:pt x="1278" y="1526"/>
                </a:cubicBezTo>
                <a:cubicBezTo>
                  <a:pt x="1275" y="1531"/>
                  <a:pt x="1271" y="1538"/>
                  <a:pt x="1271" y="1546"/>
                </a:cubicBezTo>
                <a:cubicBezTo>
                  <a:pt x="1271" y="1548"/>
                  <a:pt x="1271" y="1550"/>
                  <a:pt x="1272" y="1552"/>
                </a:cubicBezTo>
                <a:cubicBezTo>
                  <a:pt x="1274" y="1563"/>
                  <a:pt x="1283" y="1568"/>
                  <a:pt x="1289" y="1573"/>
                </a:cubicBezTo>
                <a:cubicBezTo>
                  <a:pt x="1296" y="1577"/>
                  <a:pt x="1300" y="1581"/>
                  <a:pt x="1300" y="1584"/>
                </a:cubicBezTo>
                <a:cubicBezTo>
                  <a:pt x="1301" y="1593"/>
                  <a:pt x="1306" y="1604"/>
                  <a:pt x="1311" y="1615"/>
                </a:cubicBezTo>
                <a:cubicBezTo>
                  <a:pt x="1316" y="1626"/>
                  <a:pt x="1320" y="1637"/>
                  <a:pt x="1321" y="1643"/>
                </a:cubicBezTo>
                <a:cubicBezTo>
                  <a:pt x="1323" y="1652"/>
                  <a:pt x="1329" y="1659"/>
                  <a:pt x="1334" y="1667"/>
                </a:cubicBezTo>
                <a:cubicBezTo>
                  <a:pt x="1339" y="1675"/>
                  <a:pt x="1343" y="1682"/>
                  <a:pt x="1343" y="1690"/>
                </a:cubicBezTo>
                <a:cubicBezTo>
                  <a:pt x="1343" y="1703"/>
                  <a:pt x="1352" y="1712"/>
                  <a:pt x="1360" y="1718"/>
                </a:cubicBezTo>
                <a:cubicBezTo>
                  <a:pt x="1368" y="1724"/>
                  <a:pt x="1377" y="1728"/>
                  <a:pt x="1381" y="1729"/>
                </a:cubicBezTo>
                <a:cubicBezTo>
                  <a:pt x="1381" y="1729"/>
                  <a:pt x="1385" y="1732"/>
                  <a:pt x="1390" y="1736"/>
                </a:cubicBezTo>
                <a:cubicBezTo>
                  <a:pt x="1394" y="1739"/>
                  <a:pt x="1399" y="1744"/>
                  <a:pt x="1404" y="1746"/>
                </a:cubicBezTo>
                <a:cubicBezTo>
                  <a:pt x="1410" y="1750"/>
                  <a:pt x="1416" y="1757"/>
                  <a:pt x="1422" y="1767"/>
                </a:cubicBezTo>
                <a:cubicBezTo>
                  <a:pt x="1425" y="1773"/>
                  <a:pt x="1426" y="1784"/>
                  <a:pt x="1426" y="1790"/>
                </a:cubicBezTo>
                <a:cubicBezTo>
                  <a:pt x="1426" y="1793"/>
                  <a:pt x="1426" y="1795"/>
                  <a:pt x="1426" y="1796"/>
                </a:cubicBezTo>
                <a:cubicBezTo>
                  <a:pt x="1426" y="1799"/>
                  <a:pt x="1422" y="1843"/>
                  <a:pt x="1419" y="1867"/>
                </a:cubicBezTo>
                <a:cubicBezTo>
                  <a:pt x="1418" y="1872"/>
                  <a:pt x="1418" y="1877"/>
                  <a:pt x="1418" y="1882"/>
                </a:cubicBezTo>
                <a:cubicBezTo>
                  <a:pt x="1418" y="1893"/>
                  <a:pt x="1420" y="1902"/>
                  <a:pt x="1419" y="1909"/>
                </a:cubicBezTo>
                <a:cubicBezTo>
                  <a:pt x="1420" y="1913"/>
                  <a:pt x="1419" y="1914"/>
                  <a:pt x="1418" y="1915"/>
                </a:cubicBezTo>
                <a:cubicBezTo>
                  <a:pt x="1414" y="1920"/>
                  <a:pt x="1406" y="1925"/>
                  <a:pt x="1405" y="1935"/>
                </a:cubicBezTo>
                <a:cubicBezTo>
                  <a:pt x="1405" y="1938"/>
                  <a:pt x="1406" y="1942"/>
                  <a:pt x="1409" y="1945"/>
                </a:cubicBezTo>
                <a:cubicBezTo>
                  <a:pt x="1409" y="1945"/>
                  <a:pt x="1409" y="1945"/>
                  <a:pt x="1409" y="1945"/>
                </a:cubicBezTo>
                <a:cubicBezTo>
                  <a:pt x="1409" y="1946"/>
                  <a:pt x="1407" y="1948"/>
                  <a:pt x="1405" y="1949"/>
                </a:cubicBezTo>
                <a:cubicBezTo>
                  <a:pt x="1404" y="1950"/>
                  <a:pt x="1403" y="1951"/>
                  <a:pt x="1402" y="1952"/>
                </a:cubicBezTo>
                <a:cubicBezTo>
                  <a:pt x="1401" y="1954"/>
                  <a:pt x="1399" y="1955"/>
                  <a:pt x="1399" y="1959"/>
                </a:cubicBezTo>
                <a:cubicBezTo>
                  <a:pt x="1399" y="1963"/>
                  <a:pt x="1401" y="1966"/>
                  <a:pt x="1402" y="1972"/>
                </a:cubicBezTo>
                <a:cubicBezTo>
                  <a:pt x="1404" y="1977"/>
                  <a:pt x="1405" y="1983"/>
                  <a:pt x="1405" y="1988"/>
                </a:cubicBezTo>
                <a:cubicBezTo>
                  <a:pt x="1405" y="1990"/>
                  <a:pt x="1405" y="1991"/>
                  <a:pt x="1404" y="1992"/>
                </a:cubicBezTo>
                <a:cubicBezTo>
                  <a:pt x="1399" y="2003"/>
                  <a:pt x="1396" y="2016"/>
                  <a:pt x="1393" y="2024"/>
                </a:cubicBezTo>
                <a:cubicBezTo>
                  <a:pt x="1391" y="2030"/>
                  <a:pt x="1383" y="2038"/>
                  <a:pt x="1383" y="2051"/>
                </a:cubicBezTo>
                <a:cubicBezTo>
                  <a:pt x="1383" y="2053"/>
                  <a:pt x="1383" y="2055"/>
                  <a:pt x="1383" y="2056"/>
                </a:cubicBezTo>
                <a:cubicBezTo>
                  <a:pt x="1383" y="2057"/>
                  <a:pt x="1384" y="2058"/>
                  <a:pt x="1384" y="2058"/>
                </a:cubicBezTo>
                <a:cubicBezTo>
                  <a:pt x="1383" y="2060"/>
                  <a:pt x="1384" y="2059"/>
                  <a:pt x="1381" y="2062"/>
                </a:cubicBezTo>
                <a:cubicBezTo>
                  <a:pt x="1378" y="2063"/>
                  <a:pt x="1374" y="2069"/>
                  <a:pt x="1374" y="2076"/>
                </a:cubicBezTo>
                <a:cubicBezTo>
                  <a:pt x="1374" y="2083"/>
                  <a:pt x="1378" y="2088"/>
                  <a:pt x="1380" y="2090"/>
                </a:cubicBezTo>
                <a:cubicBezTo>
                  <a:pt x="1382" y="2092"/>
                  <a:pt x="1382" y="2091"/>
                  <a:pt x="1382" y="2094"/>
                </a:cubicBezTo>
                <a:cubicBezTo>
                  <a:pt x="1382" y="2095"/>
                  <a:pt x="1382" y="2096"/>
                  <a:pt x="1382" y="2097"/>
                </a:cubicBezTo>
                <a:cubicBezTo>
                  <a:pt x="1381" y="2104"/>
                  <a:pt x="1379" y="2108"/>
                  <a:pt x="1378" y="2113"/>
                </a:cubicBezTo>
                <a:cubicBezTo>
                  <a:pt x="1376" y="2117"/>
                  <a:pt x="1374" y="2122"/>
                  <a:pt x="1374" y="2128"/>
                </a:cubicBezTo>
                <a:cubicBezTo>
                  <a:pt x="1374" y="2135"/>
                  <a:pt x="1376" y="2142"/>
                  <a:pt x="1377" y="2148"/>
                </a:cubicBezTo>
                <a:cubicBezTo>
                  <a:pt x="1379" y="2153"/>
                  <a:pt x="1380" y="2159"/>
                  <a:pt x="1380" y="2159"/>
                </a:cubicBezTo>
                <a:cubicBezTo>
                  <a:pt x="1380" y="2159"/>
                  <a:pt x="1379" y="2163"/>
                  <a:pt x="1376" y="2168"/>
                </a:cubicBezTo>
                <a:cubicBezTo>
                  <a:pt x="1374" y="2173"/>
                  <a:pt x="1371" y="2179"/>
                  <a:pt x="1367" y="2184"/>
                </a:cubicBezTo>
                <a:cubicBezTo>
                  <a:pt x="1360" y="2194"/>
                  <a:pt x="1354" y="2201"/>
                  <a:pt x="1353" y="2211"/>
                </a:cubicBezTo>
                <a:cubicBezTo>
                  <a:pt x="1353" y="2212"/>
                  <a:pt x="1353" y="2213"/>
                  <a:pt x="1353" y="2214"/>
                </a:cubicBezTo>
                <a:cubicBezTo>
                  <a:pt x="1354" y="2218"/>
                  <a:pt x="1357" y="2222"/>
                  <a:pt x="1359" y="2226"/>
                </a:cubicBezTo>
                <a:cubicBezTo>
                  <a:pt x="1360" y="2227"/>
                  <a:pt x="1360" y="2229"/>
                  <a:pt x="1361" y="2230"/>
                </a:cubicBezTo>
                <a:cubicBezTo>
                  <a:pt x="1361" y="2230"/>
                  <a:pt x="1361" y="2231"/>
                  <a:pt x="1361" y="2231"/>
                </a:cubicBezTo>
                <a:cubicBezTo>
                  <a:pt x="1361" y="2232"/>
                  <a:pt x="1358" y="2236"/>
                  <a:pt x="1356" y="2240"/>
                </a:cubicBezTo>
                <a:cubicBezTo>
                  <a:pt x="1354" y="2245"/>
                  <a:pt x="1351" y="2251"/>
                  <a:pt x="1351" y="2258"/>
                </a:cubicBezTo>
                <a:cubicBezTo>
                  <a:pt x="1351" y="2259"/>
                  <a:pt x="1351" y="2259"/>
                  <a:pt x="1351" y="2260"/>
                </a:cubicBezTo>
                <a:cubicBezTo>
                  <a:pt x="1352" y="2268"/>
                  <a:pt x="1358" y="2272"/>
                  <a:pt x="1361" y="2272"/>
                </a:cubicBezTo>
                <a:cubicBezTo>
                  <a:pt x="1363" y="2273"/>
                  <a:pt x="1364" y="2273"/>
                  <a:pt x="1365" y="2273"/>
                </a:cubicBezTo>
                <a:cubicBezTo>
                  <a:pt x="1364" y="2274"/>
                  <a:pt x="1363" y="2276"/>
                  <a:pt x="1361" y="2277"/>
                </a:cubicBezTo>
                <a:cubicBezTo>
                  <a:pt x="1359" y="2279"/>
                  <a:pt x="1356" y="2282"/>
                  <a:pt x="1356" y="2287"/>
                </a:cubicBezTo>
                <a:cubicBezTo>
                  <a:pt x="1356" y="2290"/>
                  <a:pt x="1358" y="2293"/>
                  <a:pt x="1360" y="2295"/>
                </a:cubicBezTo>
                <a:cubicBezTo>
                  <a:pt x="1364" y="2299"/>
                  <a:pt x="1368" y="2301"/>
                  <a:pt x="1370" y="2302"/>
                </a:cubicBezTo>
                <a:cubicBezTo>
                  <a:pt x="1371" y="2304"/>
                  <a:pt x="1372" y="2304"/>
                  <a:pt x="1372" y="2308"/>
                </a:cubicBezTo>
                <a:cubicBezTo>
                  <a:pt x="1372" y="2310"/>
                  <a:pt x="1372" y="2311"/>
                  <a:pt x="1372" y="2312"/>
                </a:cubicBezTo>
                <a:cubicBezTo>
                  <a:pt x="1372" y="2314"/>
                  <a:pt x="1371" y="2315"/>
                  <a:pt x="1371" y="2317"/>
                </a:cubicBezTo>
                <a:cubicBezTo>
                  <a:pt x="1371" y="2335"/>
                  <a:pt x="1390" y="2341"/>
                  <a:pt x="1389" y="2342"/>
                </a:cubicBezTo>
                <a:cubicBezTo>
                  <a:pt x="1391" y="2344"/>
                  <a:pt x="1393" y="2347"/>
                  <a:pt x="1397" y="2351"/>
                </a:cubicBezTo>
                <a:cubicBezTo>
                  <a:pt x="1400" y="2354"/>
                  <a:pt x="1403" y="2357"/>
                  <a:pt x="1409" y="2358"/>
                </a:cubicBezTo>
                <a:cubicBezTo>
                  <a:pt x="1409" y="2359"/>
                  <a:pt x="1410" y="2361"/>
                  <a:pt x="1412" y="2362"/>
                </a:cubicBezTo>
                <a:cubicBezTo>
                  <a:pt x="1413" y="2363"/>
                  <a:pt x="1414" y="2363"/>
                  <a:pt x="1415" y="2363"/>
                </a:cubicBezTo>
                <a:cubicBezTo>
                  <a:pt x="1416" y="2364"/>
                  <a:pt x="1422" y="2366"/>
                  <a:pt x="1427" y="2369"/>
                </a:cubicBezTo>
                <a:cubicBezTo>
                  <a:pt x="1433" y="2371"/>
                  <a:pt x="1439" y="2374"/>
                  <a:pt x="1446" y="2374"/>
                </a:cubicBezTo>
                <a:cubicBezTo>
                  <a:pt x="1457" y="2374"/>
                  <a:pt x="1474" y="2369"/>
                  <a:pt x="1479" y="2367"/>
                </a:cubicBezTo>
                <a:cubicBezTo>
                  <a:pt x="1479" y="2367"/>
                  <a:pt x="1487" y="2365"/>
                  <a:pt x="1494" y="2363"/>
                </a:cubicBezTo>
                <a:cubicBezTo>
                  <a:pt x="1498" y="2363"/>
                  <a:pt x="1501" y="2362"/>
                  <a:pt x="1504" y="2360"/>
                </a:cubicBezTo>
                <a:cubicBezTo>
                  <a:pt x="1508" y="2359"/>
                  <a:pt x="1510" y="2359"/>
                  <a:pt x="1513" y="2355"/>
                </a:cubicBezTo>
                <a:cubicBezTo>
                  <a:pt x="1514" y="2354"/>
                  <a:pt x="1514" y="2352"/>
                  <a:pt x="1514" y="2351"/>
                </a:cubicBezTo>
                <a:cubicBezTo>
                  <a:pt x="1514" y="2347"/>
                  <a:pt x="1511" y="2345"/>
                  <a:pt x="1510" y="2345"/>
                </a:cubicBezTo>
                <a:cubicBezTo>
                  <a:pt x="1505" y="2343"/>
                  <a:pt x="1501" y="2343"/>
                  <a:pt x="1495" y="2342"/>
                </a:cubicBezTo>
                <a:cubicBezTo>
                  <a:pt x="1489" y="2341"/>
                  <a:pt x="1483" y="2340"/>
                  <a:pt x="1480" y="2339"/>
                </a:cubicBezTo>
                <a:cubicBezTo>
                  <a:pt x="1477" y="2338"/>
                  <a:pt x="1469" y="2332"/>
                  <a:pt x="1464" y="2326"/>
                </a:cubicBezTo>
                <a:cubicBezTo>
                  <a:pt x="1458" y="2320"/>
                  <a:pt x="1453" y="2312"/>
                  <a:pt x="1453" y="2310"/>
                </a:cubicBezTo>
                <a:cubicBezTo>
                  <a:pt x="1452" y="2308"/>
                  <a:pt x="1451" y="2304"/>
                  <a:pt x="1451" y="2301"/>
                </a:cubicBezTo>
                <a:cubicBezTo>
                  <a:pt x="1451" y="2294"/>
                  <a:pt x="1454" y="2288"/>
                  <a:pt x="1456" y="2286"/>
                </a:cubicBezTo>
                <a:cubicBezTo>
                  <a:pt x="1465" y="2280"/>
                  <a:pt x="1484" y="2261"/>
                  <a:pt x="1489" y="2257"/>
                </a:cubicBezTo>
                <a:cubicBezTo>
                  <a:pt x="1492" y="2254"/>
                  <a:pt x="1494" y="2249"/>
                  <a:pt x="1496" y="2244"/>
                </a:cubicBezTo>
                <a:cubicBezTo>
                  <a:pt x="1498" y="2239"/>
                  <a:pt x="1500" y="2234"/>
                  <a:pt x="1500" y="2229"/>
                </a:cubicBezTo>
                <a:cubicBezTo>
                  <a:pt x="1500" y="2227"/>
                  <a:pt x="1500" y="2225"/>
                  <a:pt x="1497" y="2221"/>
                </a:cubicBezTo>
                <a:cubicBezTo>
                  <a:pt x="1493" y="2219"/>
                  <a:pt x="1491" y="2219"/>
                  <a:pt x="1489" y="2219"/>
                </a:cubicBezTo>
                <a:cubicBezTo>
                  <a:pt x="1485" y="2219"/>
                  <a:pt x="1481" y="2219"/>
                  <a:pt x="1478" y="2219"/>
                </a:cubicBezTo>
                <a:cubicBezTo>
                  <a:pt x="1477" y="2218"/>
                  <a:pt x="1476" y="2218"/>
                  <a:pt x="1476" y="2218"/>
                </a:cubicBezTo>
                <a:cubicBezTo>
                  <a:pt x="1476" y="2218"/>
                  <a:pt x="1476" y="2218"/>
                  <a:pt x="1476" y="2218"/>
                </a:cubicBezTo>
                <a:cubicBezTo>
                  <a:pt x="1476" y="2217"/>
                  <a:pt x="1476" y="2214"/>
                  <a:pt x="1484" y="2208"/>
                </a:cubicBezTo>
                <a:cubicBezTo>
                  <a:pt x="1490" y="2202"/>
                  <a:pt x="1494" y="2196"/>
                  <a:pt x="1498" y="2190"/>
                </a:cubicBezTo>
                <a:cubicBezTo>
                  <a:pt x="1501" y="2185"/>
                  <a:pt x="1504" y="2180"/>
                  <a:pt x="1505" y="2180"/>
                </a:cubicBezTo>
                <a:cubicBezTo>
                  <a:pt x="1510" y="2176"/>
                  <a:pt x="1520" y="2167"/>
                  <a:pt x="1524" y="2155"/>
                </a:cubicBezTo>
                <a:cubicBezTo>
                  <a:pt x="1525" y="2153"/>
                  <a:pt x="1525" y="2152"/>
                  <a:pt x="1525" y="2149"/>
                </a:cubicBezTo>
                <a:cubicBezTo>
                  <a:pt x="1525" y="2148"/>
                  <a:pt x="1525" y="2145"/>
                  <a:pt x="1523" y="2143"/>
                </a:cubicBezTo>
                <a:cubicBezTo>
                  <a:pt x="1521" y="2142"/>
                  <a:pt x="1519" y="2141"/>
                  <a:pt x="1517" y="2141"/>
                </a:cubicBezTo>
                <a:cubicBezTo>
                  <a:pt x="1513" y="2142"/>
                  <a:pt x="1510" y="2143"/>
                  <a:pt x="1508" y="2143"/>
                </a:cubicBezTo>
                <a:cubicBezTo>
                  <a:pt x="1508" y="2143"/>
                  <a:pt x="1508" y="2142"/>
                  <a:pt x="1507" y="2142"/>
                </a:cubicBezTo>
                <a:cubicBezTo>
                  <a:pt x="1506" y="2139"/>
                  <a:pt x="1504" y="2135"/>
                  <a:pt x="1504" y="2131"/>
                </a:cubicBezTo>
                <a:cubicBezTo>
                  <a:pt x="1506" y="2132"/>
                  <a:pt x="1508" y="2133"/>
                  <a:pt x="1510" y="2133"/>
                </a:cubicBezTo>
                <a:cubicBezTo>
                  <a:pt x="1515" y="2135"/>
                  <a:pt x="1521" y="2137"/>
                  <a:pt x="1526" y="2138"/>
                </a:cubicBezTo>
                <a:cubicBezTo>
                  <a:pt x="1528" y="2139"/>
                  <a:pt x="1529" y="2139"/>
                  <a:pt x="1531" y="2139"/>
                </a:cubicBezTo>
                <a:cubicBezTo>
                  <a:pt x="1534" y="2139"/>
                  <a:pt x="1537" y="2138"/>
                  <a:pt x="1539" y="2136"/>
                </a:cubicBezTo>
                <a:cubicBezTo>
                  <a:pt x="1541" y="2134"/>
                  <a:pt x="1541" y="2131"/>
                  <a:pt x="1541" y="2129"/>
                </a:cubicBezTo>
                <a:cubicBezTo>
                  <a:pt x="1541" y="2124"/>
                  <a:pt x="1539" y="2120"/>
                  <a:pt x="1539" y="2117"/>
                </a:cubicBezTo>
                <a:cubicBezTo>
                  <a:pt x="1539" y="2116"/>
                  <a:pt x="1539" y="2115"/>
                  <a:pt x="1539" y="2114"/>
                </a:cubicBezTo>
                <a:cubicBezTo>
                  <a:pt x="1539" y="2111"/>
                  <a:pt x="1539" y="2108"/>
                  <a:pt x="1540" y="2106"/>
                </a:cubicBezTo>
                <a:cubicBezTo>
                  <a:pt x="1540" y="2106"/>
                  <a:pt x="1540" y="2106"/>
                  <a:pt x="1541" y="2105"/>
                </a:cubicBezTo>
                <a:cubicBezTo>
                  <a:pt x="1544" y="2107"/>
                  <a:pt x="1548" y="2107"/>
                  <a:pt x="1553" y="2107"/>
                </a:cubicBezTo>
                <a:cubicBezTo>
                  <a:pt x="1567" y="2107"/>
                  <a:pt x="1586" y="2104"/>
                  <a:pt x="1591" y="2103"/>
                </a:cubicBezTo>
                <a:cubicBezTo>
                  <a:pt x="1596" y="2101"/>
                  <a:pt x="1597" y="2098"/>
                  <a:pt x="1599" y="2095"/>
                </a:cubicBezTo>
                <a:cubicBezTo>
                  <a:pt x="1605" y="2087"/>
                  <a:pt x="1613" y="2072"/>
                  <a:pt x="1616" y="2067"/>
                </a:cubicBezTo>
                <a:cubicBezTo>
                  <a:pt x="1619" y="2063"/>
                  <a:pt x="1621" y="2058"/>
                  <a:pt x="1621" y="2053"/>
                </a:cubicBezTo>
                <a:cubicBezTo>
                  <a:pt x="1621" y="2049"/>
                  <a:pt x="1619" y="2044"/>
                  <a:pt x="1615" y="2041"/>
                </a:cubicBezTo>
                <a:cubicBezTo>
                  <a:pt x="1614" y="2041"/>
                  <a:pt x="1614" y="2040"/>
                  <a:pt x="1613" y="2039"/>
                </a:cubicBezTo>
                <a:cubicBezTo>
                  <a:pt x="1618" y="2041"/>
                  <a:pt x="1624" y="2042"/>
                  <a:pt x="1629" y="2042"/>
                </a:cubicBezTo>
                <a:cubicBezTo>
                  <a:pt x="1639" y="2042"/>
                  <a:pt x="1647" y="2038"/>
                  <a:pt x="1656" y="2028"/>
                </a:cubicBezTo>
                <a:cubicBezTo>
                  <a:pt x="1671" y="2011"/>
                  <a:pt x="1683" y="2000"/>
                  <a:pt x="1685" y="1986"/>
                </a:cubicBezTo>
                <a:cubicBezTo>
                  <a:pt x="1686" y="1977"/>
                  <a:pt x="1689" y="1968"/>
                  <a:pt x="1692" y="1965"/>
                </a:cubicBezTo>
                <a:cubicBezTo>
                  <a:pt x="1693" y="1965"/>
                  <a:pt x="1695" y="1967"/>
                  <a:pt x="1699" y="1967"/>
                </a:cubicBezTo>
                <a:cubicBezTo>
                  <a:pt x="1702" y="1967"/>
                  <a:pt x="1705" y="1965"/>
                  <a:pt x="1707" y="1963"/>
                </a:cubicBezTo>
                <a:cubicBezTo>
                  <a:pt x="1708" y="1961"/>
                  <a:pt x="1710" y="1958"/>
                  <a:pt x="1711" y="1954"/>
                </a:cubicBezTo>
                <a:cubicBezTo>
                  <a:pt x="1715" y="1946"/>
                  <a:pt x="1717" y="1943"/>
                  <a:pt x="1720" y="1939"/>
                </a:cubicBezTo>
                <a:cubicBezTo>
                  <a:pt x="1724" y="1936"/>
                  <a:pt x="1728" y="1931"/>
                  <a:pt x="1732" y="1923"/>
                </a:cubicBezTo>
                <a:cubicBezTo>
                  <a:pt x="1733" y="1919"/>
                  <a:pt x="1734" y="1916"/>
                  <a:pt x="1734" y="1912"/>
                </a:cubicBezTo>
                <a:cubicBezTo>
                  <a:pt x="1734" y="1902"/>
                  <a:pt x="1729" y="1892"/>
                  <a:pt x="1729" y="1886"/>
                </a:cubicBezTo>
                <a:cubicBezTo>
                  <a:pt x="1730" y="1883"/>
                  <a:pt x="1730" y="1882"/>
                  <a:pt x="1732" y="1880"/>
                </a:cubicBezTo>
                <a:cubicBezTo>
                  <a:pt x="1746" y="1869"/>
                  <a:pt x="1770" y="1855"/>
                  <a:pt x="1770" y="1855"/>
                </a:cubicBezTo>
                <a:cubicBezTo>
                  <a:pt x="1770" y="1855"/>
                  <a:pt x="1771" y="1854"/>
                  <a:pt x="1774" y="1853"/>
                </a:cubicBezTo>
                <a:cubicBezTo>
                  <a:pt x="1778" y="1851"/>
                  <a:pt x="1782" y="1849"/>
                  <a:pt x="1789" y="1847"/>
                </a:cubicBezTo>
                <a:cubicBezTo>
                  <a:pt x="1795" y="1846"/>
                  <a:pt x="1802" y="1845"/>
                  <a:pt x="1808" y="1844"/>
                </a:cubicBezTo>
                <a:cubicBezTo>
                  <a:pt x="1815" y="1844"/>
                  <a:pt x="1822" y="1842"/>
                  <a:pt x="1826" y="1835"/>
                </a:cubicBezTo>
                <a:cubicBezTo>
                  <a:pt x="1831" y="1825"/>
                  <a:pt x="1836" y="1808"/>
                  <a:pt x="1842" y="1800"/>
                </a:cubicBezTo>
                <a:cubicBezTo>
                  <a:pt x="1848" y="1791"/>
                  <a:pt x="1855" y="1779"/>
                  <a:pt x="1855" y="1769"/>
                </a:cubicBezTo>
                <a:cubicBezTo>
                  <a:pt x="1855" y="1766"/>
                  <a:pt x="1855" y="1764"/>
                  <a:pt x="1854" y="1762"/>
                </a:cubicBezTo>
                <a:cubicBezTo>
                  <a:pt x="1854" y="1762"/>
                  <a:pt x="1854" y="1761"/>
                  <a:pt x="1854" y="1761"/>
                </a:cubicBezTo>
                <a:cubicBezTo>
                  <a:pt x="1854" y="1758"/>
                  <a:pt x="1856" y="1749"/>
                  <a:pt x="1858" y="1742"/>
                </a:cubicBezTo>
                <a:cubicBezTo>
                  <a:pt x="1860" y="1734"/>
                  <a:pt x="1862" y="1726"/>
                  <a:pt x="1863" y="1720"/>
                </a:cubicBezTo>
                <a:cubicBezTo>
                  <a:pt x="1863" y="1720"/>
                  <a:pt x="1862" y="1719"/>
                  <a:pt x="1862" y="1718"/>
                </a:cubicBezTo>
                <a:cubicBezTo>
                  <a:pt x="1861" y="1712"/>
                  <a:pt x="1858" y="1705"/>
                  <a:pt x="1858" y="1697"/>
                </a:cubicBezTo>
                <a:cubicBezTo>
                  <a:pt x="1858" y="1691"/>
                  <a:pt x="1860" y="1686"/>
                  <a:pt x="1866" y="1679"/>
                </a:cubicBezTo>
                <a:cubicBezTo>
                  <a:pt x="1875" y="1671"/>
                  <a:pt x="1884" y="1660"/>
                  <a:pt x="1891" y="1651"/>
                </a:cubicBezTo>
                <a:cubicBezTo>
                  <a:pt x="1899" y="1641"/>
                  <a:pt x="1904" y="1634"/>
                  <a:pt x="1905" y="1628"/>
                </a:cubicBezTo>
                <a:cubicBezTo>
                  <a:pt x="1905" y="1626"/>
                  <a:pt x="1909" y="1617"/>
                  <a:pt x="1913" y="1608"/>
                </a:cubicBezTo>
                <a:cubicBezTo>
                  <a:pt x="1916" y="1598"/>
                  <a:pt x="1920" y="1588"/>
                  <a:pt x="1920" y="1579"/>
                </a:cubicBezTo>
                <a:cubicBezTo>
                  <a:pt x="1920" y="1578"/>
                  <a:pt x="1920" y="1577"/>
                  <a:pt x="1920" y="1577"/>
                </a:cubicBezTo>
                <a:cubicBezTo>
                  <a:pt x="1916" y="1560"/>
                  <a:pt x="1905" y="1543"/>
                  <a:pt x="1894" y="1537"/>
                </a:cubicBezTo>
                <a:close/>
                <a:moveTo>
                  <a:pt x="1322" y="737"/>
                </a:moveTo>
                <a:cubicBezTo>
                  <a:pt x="1322" y="736"/>
                  <a:pt x="1322" y="736"/>
                  <a:pt x="1322" y="736"/>
                </a:cubicBezTo>
                <a:cubicBezTo>
                  <a:pt x="1322" y="737"/>
                  <a:pt x="1322" y="737"/>
                  <a:pt x="1322" y="737"/>
                </a:cubicBezTo>
                <a:close/>
                <a:moveTo>
                  <a:pt x="1311" y="755"/>
                </a:moveTo>
                <a:cubicBezTo>
                  <a:pt x="1314" y="751"/>
                  <a:pt x="1318" y="748"/>
                  <a:pt x="1320" y="745"/>
                </a:cubicBezTo>
                <a:cubicBezTo>
                  <a:pt x="1321" y="744"/>
                  <a:pt x="1322" y="743"/>
                  <a:pt x="1323" y="743"/>
                </a:cubicBezTo>
                <a:cubicBezTo>
                  <a:pt x="1324" y="743"/>
                  <a:pt x="1325" y="743"/>
                  <a:pt x="1326" y="743"/>
                </a:cubicBezTo>
                <a:cubicBezTo>
                  <a:pt x="1331" y="743"/>
                  <a:pt x="1338" y="742"/>
                  <a:pt x="1344" y="742"/>
                </a:cubicBezTo>
                <a:cubicBezTo>
                  <a:pt x="1345" y="742"/>
                  <a:pt x="1347" y="742"/>
                  <a:pt x="1348" y="742"/>
                </a:cubicBezTo>
                <a:cubicBezTo>
                  <a:pt x="1345" y="743"/>
                  <a:pt x="1341" y="745"/>
                  <a:pt x="1336" y="747"/>
                </a:cubicBezTo>
                <a:cubicBezTo>
                  <a:pt x="1331" y="750"/>
                  <a:pt x="1327" y="751"/>
                  <a:pt x="1324" y="752"/>
                </a:cubicBezTo>
                <a:cubicBezTo>
                  <a:pt x="1320" y="753"/>
                  <a:pt x="1317" y="756"/>
                  <a:pt x="1314" y="760"/>
                </a:cubicBezTo>
                <a:cubicBezTo>
                  <a:pt x="1313" y="762"/>
                  <a:pt x="1309" y="764"/>
                  <a:pt x="1304" y="767"/>
                </a:cubicBezTo>
                <a:cubicBezTo>
                  <a:pt x="1303" y="767"/>
                  <a:pt x="1302" y="768"/>
                  <a:pt x="1301" y="768"/>
                </a:cubicBezTo>
                <a:cubicBezTo>
                  <a:pt x="1303" y="765"/>
                  <a:pt x="1307" y="760"/>
                  <a:pt x="1311" y="755"/>
                </a:cubicBezTo>
                <a:close/>
                <a:moveTo>
                  <a:pt x="1293" y="718"/>
                </a:moveTo>
                <a:cubicBezTo>
                  <a:pt x="1294" y="720"/>
                  <a:pt x="1295" y="722"/>
                  <a:pt x="1296" y="724"/>
                </a:cubicBezTo>
                <a:cubicBezTo>
                  <a:pt x="1296" y="724"/>
                  <a:pt x="1296" y="724"/>
                  <a:pt x="1296" y="724"/>
                </a:cubicBezTo>
                <a:cubicBezTo>
                  <a:pt x="1294" y="722"/>
                  <a:pt x="1293" y="720"/>
                  <a:pt x="1293" y="717"/>
                </a:cubicBezTo>
                <a:cubicBezTo>
                  <a:pt x="1293" y="718"/>
                  <a:pt x="1293" y="718"/>
                  <a:pt x="1293" y="718"/>
                </a:cubicBezTo>
                <a:close/>
                <a:moveTo>
                  <a:pt x="1290" y="776"/>
                </a:moveTo>
                <a:cubicBezTo>
                  <a:pt x="1289" y="776"/>
                  <a:pt x="1289" y="777"/>
                  <a:pt x="1288" y="778"/>
                </a:cubicBezTo>
                <a:cubicBezTo>
                  <a:pt x="1285" y="781"/>
                  <a:pt x="1280" y="784"/>
                  <a:pt x="1277" y="785"/>
                </a:cubicBezTo>
                <a:cubicBezTo>
                  <a:pt x="1278" y="784"/>
                  <a:pt x="1278" y="784"/>
                  <a:pt x="1279" y="783"/>
                </a:cubicBezTo>
                <a:cubicBezTo>
                  <a:pt x="1279" y="783"/>
                  <a:pt x="1279" y="782"/>
                  <a:pt x="1279" y="782"/>
                </a:cubicBezTo>
                <a:cubicBezTo>
                  <a:pt x="1281" y="781"/>
                  <a:pt x="1286" y="778"/>
                  <a:pt x="1290" y="776"/>
                </a:cubicBezTo>
                <a:close/>
                <a:moveTo>
                  <a:pt x="1259" y="711"/>
                </a:moveTo>
                <a:cubicBezTo>
                  <a:pt x="1260" y="711"/>
                  <a:pt x="1261" y="711"/>
                  <a:pt x="1262" y="710"/>
                </a:cubicBezTo>
                <a:cubicBezTo>
                  <a:pt x="1260" y="704"/>
                  <a:pt x="1260" y="704"/>
                  <a:pt x="1260" y="704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4" y="710"/>
                  <a:pt x="1268" y="709"/>
                  <a:pt x="1272" y="709"/>
                </a:cubicBezTo>
                <a:cubicBezTo>
                  <a:pt x="1276" y="709"/>
                  <a:pt x="1280" y="710"/>
                  <a:pt x="1283" y="710"/>
                </a:cubicBezTo>
                <a:cubicBezTo>
                  <a:pt x="1281" y="711"/>
                  <a:pt x="1281" y="712"/>
                  <a:pt x="1281" y="712"/>
                </a:cubicBezTo>
                <a:cubicBezTo>
                  <a:pt x="1279" y="715"/>
                  <a:pt x="1278" y="718"/>
                  <a:pt x="1277" y="722"/>
                </a:cubicBezTo>
                <a:cubicBezTo>
                  <a:pt x="1277" y="726"/>
                  <a:pt x="1276" y="731"/>
                  <a:pt x="1276" y="735"/>
                </a:cubicBezTo>
                <a:cubicBezTo>
                  <a:pt x="1276" y="739"/>
                  <a:pt x="1276" y="742"/>
                  <a:pt x="1278" y="746"/>
                </a:cubicBezTo>
                <a:cubicBezTo>
                  <a:pt x="1278" y="746"/>
                  <a:pt x="1278" y="746"/>
                  <a:pt x="1278" y="747"/>
                </a:cubicBezTo>
                <a:cubicBezTo>
                  <a:pt x="1278" y="747"/>
                  <a:pt x="1277" y="751"/>
                  <a:pt x="1274" y="753"/>
                </a:cubicBezTo>
                <a:cubicBezTo>
                  <a:pt x="1273" y="754"/>
                  <a:pt x="1272" y="752"/>
                  <a:pt x="1271" y="756"/>
                </a:cubicBezTo>
                <a:cubicBezTo>
                  <a:pt x="1271" y="756"/>
                  <a:pt x="1271" y="756"/>
                  <a:pt x="1271" y="756"/>
                </a:cubicBezTo>
                <a:cubicBezTo>
                  <a:pt x="1270" y="752"/>
                  <a:pt x="1268" y="747"/>
                  <a:pt x="1268" y="742"/>
                </a:cubicBezTo>
                <a:cubicBezTo>
                  <a:pt x="1268" y="740"/>
                  <a:pt x="1269" y="739"/>
                  <a:pt x="1269" y="737"/>
                </a:cubicBezTo>
                <a:cubicBezTo>
                  <a:pt x="1269" y="736"/>
                  <a:pt x="1269" y="735"/>
                  <a:pt x="1269" y="734"/>
                </a:cubicBezTo>
                <a:cubicBezTo>
                  <a:pt x="1269" y="724"/>
                  <a:pt x="1264" y="714"/>
                  <a:pt x="1255" y="710"/>
                </a:cubicBezTo>
                <a:cubicBezTo>
                  <a:pt x="1257" y="711"/>
                  <a:pt x="1258" y="711"/>
                  <a:pt x="1259" y="711"/>
                </a:cubicBezTo>
                <a:close/>
                <a:moveTo>
                  <a:pt x="1246" y="708"/>
                </a:moveTo>
                <a:cubicBezTo>
                  <a:pt x="1246" y="708"/>
                  <a:pt x="1246" y="708"/>
                  <a:pt x="1245" y="708"/>
                </a:cubicBezTo>
                <a:cubicBezTo>
                  <a:pt x="1244" y="708"/>
                  <a:pt x="1243" y="708"/>
                  <a:pt x="1242" y="708"/>
                </a:cubicBezTo>
                <a:cubicBezTo>
                  <a:pt x="1226" y="710"/>
                  <a:pt x="1219" y="726"/>
                  <a:pt x="1216" y="727"/>
                </a:cubicBezTo>
                <a:cubicBezTo>
                  <a:pt x="1212" y="731"/>
                  <a:pt x="1212" y="736"/>
                  <a:pt x="1211" y="740"/>
                </a:cubicBezTo>
                <a:cubicBezTo>
                  <a:pt x="1210" y="745"/>
                  <a:pt x="1210" y="750"/>
                  <a:pt x="1210" y="755"/>
                </a:cubicBezTo>
                <a:cubicBezTo>
                  <a:pt x="1210" y="760"/>
                  <a:pt x="1210" y="764"/>
                  <a:pt x="1211" y="766"/>
                </a:cubicBezTo>
                <a:cubicBezTo>
                  <a:pt x="1211" y="767"/>
                  <a:pt x="1211" y="769"/>
                  <a:pt x="1211" y="771"/>
                </a:cubicBezTo>
                <a:cubicBezTo>
                  <a:pt x="1211" y="774"/>
                  <a:pt x="1211" y="779"/>
                  <a:pt x="1210" y="781"/>
                </a:cubicBezTo>
                <a:cubicBezTo>
                  <a:pt x="1208" y="783"/>
                  <a:pt x="1208" y="784"/>
                  <a:pt x="1207" y="784"/>
                </a:cubicBezTo>
                <a:cubicBezTo>
                  <a:pt x="1207" y="784"/>
                  <a:pt x="1207" y="784"/>
                  <a:pt x="1207" y="784"/>
                </a:cubicBezTo>
                <a:cubicBezTo>
                  <a:pt x="1207" y="784"/>
                  <a:pt x="1207" y="783"/>
                  <a:pt x="1206" y="781"/>
                </a:cubicBezTo>
                <a:cubicBezTo>
                  <a:pt x="1205" y="778"/>
                  <a:pt x="1204" y="774"/>
                  <a:pt x="1204" y="770"/>
                </a:cubicBezTo>
                <a:cubicBezTo>
                  <a:pt x="1204" y="765"/>
                  <a:pt x="1205" y="759"/>
                  <a:pt x="1205" y="756"/>
                </a:cubicBezTo>
                <a:cubicBezTo>
                  <a:pt x="1206" y="755"/>
                  <a:pt x="1206" y="754"/>
                  <a:pt x="1206" y="752"/>
                </a:cubicBezTo>
                <a:cubicBezTo>
                  <a:pt x="1206" y="746"/>
                  <a:pt x="1204" y="737"/>
                  <a:pt x="1204" y="730"/>
                </a:cubicBezTo>
                <a:cubicBezTo>
                  <a:pt x="1204" y="725"/>
                  <a:pt x="1205" y="720"/>
                  <a:pt x="1206" y="718"/>
                </a:cubicBezTo>
                <a:cubicBezTo>
                  <a:pt x="1209" y="710"/>
                  <a:pt x="1220" y="706"/>
                  <a:pt x="1229" y="705"/>
                </a:cubicBezTo>
                <a:cubicBezTo>
                  <a:pt x="1229" y="705"/>
                  <a:pt x="1230" y="705"/>
                  <a:pt x="1230" y="705"/>
                </a:cubicBezTo>
                <a:cubicBezTo>
                  <a:pt x="1234" y="705"/>
                  <a:pt x="1239" y="706"/>
                  <a:pt x="1245" y="708"/>
                </a:cubicBezTo>
                <a:cubicBezTo>
                  <a:pt x="1245" y="708"/>
                  <a:pt x="1246" y="708"/>
                  <a:pt x="1246" y="708"/>
                </a:cubicBezTo>
                <a:close/>
                <a:moveTo>
                  <a:pt x="1157" y="679"/>
                </a:moveTo>
                <a:cubicBezTo>
                  <a:pt x="1158" y="679"/>
                  <a:pt x="1158" y="679"/>
                  <a:pt x="1158" y="679"/>
                </a:cubicBezTo>
                <a:cubicBezTo>
                  <a:pt x="1158" y="678"/>
                  <a:pt x="1164" y="677"/>
                  <a:pt x="1173" y="673"/>
                </a:cubicBezTo>
                <a:cubicBezTo>
                  <a:pt x="1171" y="667"/>
                  <a:pt x="1171" y="667"/>
                  <a:pt x="1171" y="667"/>
                </a:cubicBezTo>
                <a:cubicBezTo>
                  <a:pt x="1173" y="673"/>
                  <a:pt x="1173" y="673"/>
                  <a:pt x="1173" y="673"/>
                </a:cubicBezTo>
                <a:cubicBezTo>
                  <a:pt x="1180" y="669"/>
                  <a:pt x="1187" y="664"/>
                  <a:pt x="1193" y="660"/>
                </a:cubicBezTo>
                <a:cubicBezTo>
                  <a:pt x="1198" y="656"/>
                  <a:pt x="1203" y="653"/>
                  <a:pt x="1204" y="653"/>
                </a:cubicBezTo>
                <a:cubicBezTo>
                  <a:pt x="1211" y="662"/>
                  <a:pt x="1222" y="671"/>
                  <a:pt x="1233" y="674"/>
                </a:cubicBezTo>
                <a:cubicBezTo>
                  <a:pt x="1232" y="675"/>
                  <a:pt x="1232" y="677"/>
                  <a:pt x="1231" y="679"/>
                </a:cubicBezTo>
                <a:cubicBezTo>
                  <a:pt x="1230" y="680"/>
                  <a:pt x="1229" y="681"/>
                  <a:pt x="1228" y="682"/>
                </a:cubicBezTo>
                <a:cubicBezTo>
                  <a:pt x="1228" y="682"/>
                  <a:pt x="1228" y="682"/>
                  <a:pt x="1228" y="682"/>
                </a:cubicBezTo>
                <a:cubicBezTo>
                  <a:pt x="1224" y="682"/>
                  <a:pt x="1214" y="679"/>
                  <a:pt x="1204" y="679"/>
                </a:cubicBezTo>
                <a:cubicBezTo>
                  <a:pt x="1201" y="679"/>
                  <a:pt x="1201" y="679"/>
                  <a:pt x="1201" y="678"/>
                </a:cubicBezTo>
                <a:cubicBezTo>
                  <a:pt x="1200" y="678"/>
                  <a:pt x="1200" y="677"/>
                  <a:pt x="1199" y="675"/>
                </a:cubicBezTo>
                <a:cubicBezTo>
                  <a:pt x="1198" y="674"/>
                  <a:pt x="1195" y="672"/>
                  <a:pt x="1192" y="672"/>
                </a:cubicBezTo>
                <a:cubicBezTo>
                  <a:pt x="1191" y="672"/>
                  <a:pt x="1190" y="672"/>
                  <a:pt x="1189" y="672"/>
                </a:cubicBezTo>
                <a:cubicBezTo>
                  <a:pt x="1185" y="674"/>
                  <a:pt x="1174" y="677"/>
                  <a:pt x="1166" y="681"/>
                </a:cubicBezTo>
                <a:cubicBezTo>
                  <a:pt x="1165" y="682"/>
                  <a:pt x="1162" y="683"/>
                  <a:pt x="1160" y="683"/>
                </a:cubicBezTo>
                <a:cubicBezTo>
                  <a:pt x="1159" y="683"/>
                  <a:pt x="1157" y="682"/>
                  <a:pt x="1157" y="682"/>
                </a:cubicBezTo>
                <a:cubicBezTo>
                  <a:pt x="1157" y="680"/>
                  <a:pt x="1157" y="679"/>
                  <a:pt x="1157" y="679"/>
                </a:cubicBezTo>
                <a:close/>
                <a:moveTo>
                  <a:pt x="1239" y="392"/>
                </a:moveTo>
                <a:cubicBezTo>
                  <a:pt x="1238" y="392"/>
                  <a:pt x="1238" y="392"/>
                  <a:pt x="1237" y="393"/>
                </a:cubicBezTo>
                <a:cubicBezTo>
                  <a:pt x="1236" y="393"/>
                  <a:pt x="1235" y="393"/>
                  <a:pt x="1234" y="393"/>
                </a:cubicBezTo>
                <a:cubicBezTo>
                  <a:pt x="1233" y="393"/>
                  <a:pt x="1233" y="393"/>
                  <a:pt x="1232" y="392"/>
                </a:cubicBezTo>
                <a:cubicBezTo>
                  <a:pt x="1232" y="392"/>
                  <a:pt x="1232" y="392"/>
                  <a:pt x="1231" y="391"/>
                </a:cubicBezTo>
                <a:cubicBezTo>
                  <a:pt x="1234" y="391"/>
                  <a:pt x="1236" y="392"/>
                  <a:pt x="1239" y="392"/>
                </a:cubicBezTo>
                <a:close/>
                <a:moveTo>
                  <a:pt x="1190" y="333"/>
                </a:moveTo>
                <a:cubicBezTo>
                  <a:pt x="1192" y="333"/>
                  <a:pt x="1194" y="333"/>
                  <a:pt x="1196" y="333"/>
                </a:cubicBezTo>
                <a:cubicBezTo>
                  <a:pt x="1198" y="333"/>
                  <a:pt x="1200" y="332"/>
                  <a:pt x="1202" y="332"/>
                </a:cubicBezTo>
                <a:cubicBezTo>
                  <a:pt x="1208" y="332"/>
                  <a:pt x="1213" y="333"/>
                  <a:pt x="1217" y="334"/>
                </a:cubicBezTo>
                <a:cubicBezTo>
                  <a:pt x="1218" y="334"/>
                  <a:pt x="1219" y="334"/>
                  <a:pt x="1219" y="334"/>
                </a:cubicBezTo>
                <a:cubicBezTo>
                  <a:pt x="1219" y="335"/>
                  <a:pt x="1219" y="336"/>
                  <a:pt x="1219" y="337"/>
                </a:cubicBezTo>
                <a:cubicBezTo>
                  <a:pt x="1219" y="339"/>
                  <a:pt x="1218" y="341"/>
                  <a:pt x="1218" y="342"/>
                </a:cubicBezTo>
                <a:cubicBezTo>
                  <a:pt x="1218" y="343"/>
                  <a:pt x="1217" y="343"/>
                  <a:pt x="1217" y="343"/>
                </a:cubicBezTo>
                <a:cubicBezTo>
                  <a:pt x="1215" y="344"/>
                  <a:pt x="1212" y="345"/>
                  <a:pt x="1208" y="347"/>
                </a:cubicBezTo>
                <a:cubicBezTo>
                  <a:pt x="1204" y="348"/>
                  <a:pt x="1199" y="352"/>
                  <a:pt x="1197" y="358"/>
                </a:cubicBezTo>
                <a:cubicBezTo>
                  <a:pt x="1197" y="358"/>
                  <a:pt x="1197" y="359"/>
                  <a:pt x="1197" y="359"/>
                </a:cubicBezTo>
                <a:cubicBezTo>
                  <a:pt x="1197" y="357"/>
                  <a:pt x="1197" y="356"/>
                  <a:pt x="1197" y="354"/>
                </a:cubicBezTo>
                <a:cubicBezTo>
                  <a:pt x="1197" y="349"/>
                  <a:pt x="1196" y="343"/>
                  <a:pt x="1191" y="339"/>
                </a:cubicBezTo>
                <a:cubicBezTo>
                  <a:pt x="1188" y="336"/>
                  <a:pt x="1185" y="334"/>
                  <a:pt x="1182" y="332"/>
                </a:cubicBezTo>
                <a:cubicBezTo>
                  <a:pt x="1184" y="333"/>
                  <a:pt x="1187" y="333"/>
                  <a:pt x="1190" y="333"/>
                </a:cubicBezTo>
                <a:close/>
                <a:moveTo>
                  <a:pt x="1102" y="289"/>
                </a:moveTo>
                <a:cubicBezTo>
                  <a:pt x="1101" y="287"/>
                  <a:pt x="1101" y="287"/>
                  <a:pt x="1101" y="287"/>
                </a:cubicBezTo>
                <a:cubicBezTo>
                  <a:pt x="1102" y="289"/>
                  <a:pt x="1102" y="289"/>
                  <a:pt x="1102" y="289"/>
                </a:cubicBezTo>
                <a:cubicBezTo>
                  <a:pt x="1102" y="289"/>
                  <a:pt x="1102" y="289"/>
                  <a:pt x="1102" y="289"/>
                </a:cubicBezTo>
                <a:close/>
                <a:moveTo>
                  <a:pt x="190" y="423"/>
                </a:moveTo>
                <a:cubicBezTo>
                  <a:pt x="188" y="425"/>
                  <a:pt x="186" y="427"/>
                  <a:pt x="184" y="427"/>
                </a:cubicBezTo>
                <a:cubicBezTo>
                  <a:pt x="183" y="427"/>
                  <a:pt x="183" y="427"/>
                  <a:pt x="183" y="427"/>
                </a:cubicBezTo>
                <a:cubicBezTo>
                  <a:pt x="181" y="427"/>
                  <a:pt x="180" y="427"/>
                  <a:pt x="179" y="426"/>
                </a:cubicBezTo>
                <a:cubicBezTo>
                  <a:pt x="180" y="426"/>
                  <a:pt x="182" y="425"/>
                  <a:pt x="183" y="423"/>
                </a:cubicBezTo>
                <a:cubicBezTo>
                  <a:pt x="186" y="420"/>
                  <a:pt x="188" y="420"/>
                  <a:pt x="191" y="420"/>
                </a:cubicBezTo>
                <a:cubicBezTo>
                  <a:pt x="192" y="420"/>
                  <a:pt x="192" y="420"/>
                  <a:pt x="193" y="420"/>
                </a:cubicBezTo>
                <a:cubicBezTo>
                  <a:pt x="192" y="421"/>
                  <a:pt x="191" y="422"/>
                  <a:pt x="190" y="423"/>
                </a:cubicBezTo>
                <a:close/>
                <a:moveTo>
                  <a:pt x="692" y="653"/>
                </a:moveTo>
                <a:cubicBezTo>
                  <a:pt x="692" y="653"/>
                  <a:pt x="692" y="652"/>
                  <a:pt x="692" y="652"/>
                </a:cubicBezTo>
                <a:cubicBezTo>
                  <a:pt x="692" y="652"/>
                  <a:pt x="692" y="652"/>
                  <a:pt x="692" y="652"/>
                </a:cubicBezTo>
                <a:cubicBezTo>
                  <a:pt x="692" y="653"/>
                  <a:pt x="693" y="653"/>
                  <a:pt x="693" y="653"/>
                </a:cubicBezTo>
                <a:cubicBezTo>
                  <a:pt x="693" y="653"/>
                  <a:pt x="692" y="653"/>
                  <a:pt x="692" y="653"/>
                </a:cubicBezTo>
                <a:close/>
                <a:moveTo>
                  <a:pt x="714" y="672"/>
                </a:moveTo>
                <a:cubicBezTo>
                  <a:pt x="714" y="673"/>
                  <a:pt x="716" y="676"/>
                  <a:pt x="716" y="680"/>
                </a:cubicBezTo>
                <a:cubicBezTo>
                  <a:pt x="715" y="677"/>
                  <a:pt x="714" y="675"/>
                  <a:pt x="714" y="672"/>
                </a:cubicBezTo>
                <a:close/>
                <a:moveTo>
                  <a:pt x="832" y="962"/>
                </a:moveTo>
                <a:cubicBezTo>
                  <a:pt x="832" y="961"/>
                  <a:pt x="832" y="960"/>
                  <a:pt x="835" y="957"/>
                </a:cubicBezTo>
                <a:cubicBezTo>
                  <a:pt x="835" y="957"/>
                  <a:pt x="836" y="957"/>
                  <a:pt x="836" y="956"/>
                </a:cubicBezTo>
                <a:cubicBezTo>
                  <a:pt x="837" y="957"/>
                  <a:pt x="838" y="960"/>
                  <a:pt x="839" y="963"/>
                </a:cubicBezTo>
                <a:cubicBezTo>
                  <a:pt x="840" y="967"/>
                  <a:pt x="841" y="972"/>
                  <a:pt x="843" y="977"/>
                </a:cubicBezTo>
                <a:cubicBezTo>
                  <a:pt x="843" y="977"/>
                  <a:pt x="843" y="977"/>
                  <a:pt x="843" y="977"/>
                </a:cubicBezTo>
                <a:cubicBezTo>
                  <a:pt x="836" y="970"/>
                  <a:pt x="831" y="964"/>
                  <a:pt x="832" y="962"/>
                </a:cubicBezTo>
                <a:close/>
                <a:moveTo>
                  <a:pt x="897" y="270"/>
                </a:moveTo>
                <a:cubicBezTo>
                  <a:pt x="897" y="270"/>
                  <a:pt x="896" y="270"/>
                  <a:pt x="896" y="270"/>
                </a:cubicBezTo>
                <a:cubicBezTo>
                  <a:pt x="892" y="270"/>
                  <a:pt x="888" y="270"/>
                  <a:pt x="883" y="271"/>
                </a:cubicBezTo>
                <a:cubicBezTo>
                  <a:pt x="873" y="272"/>
                  <a:pt x="857" y="275"/>
                  <a:pt x="850" y="275"/>
                </a:cubicBezTo>
                <a:cubicBezTo>
                  <a:pt x="849" y="275"/>
                  <a:pt x="849" y="275"/>
                  <a:pt x="849" y="275"/>
                </a:cubicBezTo>
                <a:cubicBezTo>
                  <a:pt x="848" y="275"/>
                  <a:pt x="847" y="275"/>
                  <a:pt x="847" y="275"/>
                </a:cubicBezTo>
                <a:cubicBezTo>
                  <a:pt x="846" y="274"/>
                  <a:pt x="844" y="271"/>
                  <a:pt x="836" y="268"/>
                </a:cubicBezTo>
                <a:cubicBezTo>
                  <a:pt x="824" y="261"/>
                  <a:pt x="818" y="261"/>
                  <a:pt x="812" y="258"/>
                </a:cubicBezTo>
                <a:cubicBezTo>
                  <a:pt x="816" y="256"/>
                  <a:pt x="818" y="254"/>
                  <a:pt x="821" y="252"/>
                </a:cubicBezTo>
                <a:cubicBezTo>
                  <a:pt x="823" y="251"/>
                  <a:pt x="824" y="250"/>
                  <a:pt x="825" y="249"/>
                </a:cubicBezTo>
                <a:cubicBezTo>
                  <a:pt x="826" y="249"/>
                  <a:pt x="827" y="249"/>
                  <a:pt x="827" y="249"/>
                </a:cubicBezTo>
                <a:cubicBezTo>
                  <a:pt x="828" y="250"/>
                  <a:pt x="829" y="253"/>
                  <a:pt x="831" y="256"/>
                </a:cubicBezTo>
                <a:cubicBezTo>
                  <a:pt x="832" y="259"/>
                  <a:pt x="834" y="264"/>
                  <a:pt x="839" y="267"/>
                </a:cubicBezTo>
                <a:cubicBezTo>
                  <a:pt x="844" y="269"/>
                  <a:pt x="849" y="270"/>
                  <a:pt x="855" y="270"/>
                </a:cubicBezTo>
                <a:cubicBezTo>
                  <a:pt x="860" y="270"/>
                  <a:pt x="866" y="269"/>
                  <a:pt x="871" y="268"/>
                </a:cubicBezTo>
                <a:cubicBezTo>
                  <a:pt x="873" y="267"/>
                  <a:pt x="881" y="266"/>
                  <a:pt x="887" y="266"/>
                </a:cubicBezTo>
                <a:cubicBezTo>
                  <a:pt x="893" y="266"/>
                  <a:pt x="899" y="266"/>
                  <a:pt x="902" y="267"/>
                </a:cubicBezTo>
                <a:cubicBezTo>
                  <a:pt x="904" y="267"/>
                  <a:pt x="908" y="268"/>
                  <a:pt x="913" y="269"/>
                </a:cubicBezTo>
                <a:cubicBezTo>
                  <a:pt x="913" y="270"/>
                  <a:pt x="913" y="271"/>
                  <a:pt x="913" y="272"/>
                </a:cubicBezTo>
                <a:cubicBezTo>
                  <a:pt x="913" y="273"/>
                  <a:pt x="913" y="274"/>
                  <a:pt x="913" y="276"/>
                </a:cubicBezTo>
                <a:cubicBezTo>
                  <a:pt x="908" y="272"/>
                  <a:pt x="902" y="270"/>
                  <a:pt x="897" y="270"/>
                </a:cubicBezTo>
                <a:close/>
                <a:moveTo>
                  <a:pt x="1692" y="1468"/>
                </a:moveTo>
                <a:cubicBezTo>
                  <a:pt x="1691" y="1470"/>
                  <a:pt x="1691" y="1471"/>
                  <a:pt x="1682" y="1473"/>
                </a:cubicBezTo>
                <a:cubicBezTo>
                  <a:pt x="1680" y="1474"/>
                  <a:pt x="1679" y="1474"/>
                  <a:pt x="1678" y="1474"/>
                </a:cubicBezTo>
                <a:cubicBezTo>
                  <a:pt x="1677" y="1474"/>
                  <a:pt x="1676" y="1474"/>
                  <a:pt x="1676" y="1474"/>
                </a:cubicBezTo>
                <a:cubicBezTo>
                  <a:pt x="1676" y="1473"/>
                  <a:pt x="1677" y="1473"/>
                  <a:pt x="1678" y="1473"/>
                </a:cubicBezTo>
                <a:cubicBezTo>
                  <a:pt x="1683" y="1472"/>
                  <a:pt x="1688" y="1470"/>
                  <a:pt x="1692" y="1467"/>
                </a:cubicBezTo>
                <a:cubicBezTo>
                  <a:pt x="1692" y="1467"/>
                  <a:pt x="1692" y="1468"/>
                  <a:pt x="1692" y="1468"/>
                </a:cubicBezTo>
                <a:close/>
                <a:moveTo>
                  <a:pt x="1712" y="1500"/>
                </a:move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lose/>
                <a:moveTo>
                  <a:pt x="1024" y="266"/>
                </a:moveTo>
                <a:cubicBezTo>
                  <a:pt x="1021" y="266"/>
                  <a:pt x="1014" y="264"/>
                  <a:pt x="1008" y="264"/>
                </a:cubicBezTo>
                <a:cubicBezTo>
                  <a:pt x="1003" y="264"/>
                  <a:pt x="998" y="265"/>
                  <a:pt x="994" y="268"/>
                </a:cubicBezTo>
                <a:cubicBezTo>
                  <a:pt x="990" y="271"/>
                  <a:pt x="989" y="276"/>
                  <a:pt x="989" y="279"/>
                </a:cubicBezTo>
                <a:cubicBezTo>
                  <a:pt x="989" y="287"/>
                  <a:pt x="993" y="296"/>
                  <a:pt x="1003" y="297"/>
                </a:cubicBezTo>
                <a:cubicBezTo>
                  <a:pt x="1004" y="297"/>
                  <a:pt x="1005" y="297"/>
                  <a:pt x="1005" y="297"/>
                </a:cubicBezTo>
                <a:cubicBezTo>
                  <a:pt x="1012" y="297"/>
                  <a:pt x="1019" y="295"/>
                  <a:pt x="1023" y="294"/>
                </a:cubicBezTo>
                <a:cubicBezTo>
                  <a:pt x="1024" y="297"/>
                  <a:pt x="1025" y="302"/>
                  <a:pt x="1027" y="307"/>
                </a:cubicBezTo>
                <a:cubicBezTo>
                  <a:pt x="1030" y="312"/>
                  <a:pt x="1034" y="320"/>
                  <a:pt x="1044" y="320"/>
                </a:cubicBezTo>
                <a:cubicBezTo>
                  <a:pt x="1047" y="320"/>
                  <a:pt x="1049" y="319"/>
                  <a:pt x="1052" y="318"/>
                </a:cubicBezTo>
                <a:cubicBezTo>
                  <a:pt x="1060" y="313"/>
                  <a:pt x="1064" y="308"/>
                  <a:pt x="1066" y="305"/>
                </a:cubicBezTo>
                <a:cubicBezTo>
                  <a:pt x="1067" y="303"/>
                  <a:pt x="1068" y="302"/>
                  <a:pt x="1068" y="301"/>
                </a:cubicBezTo>
                <a:cubicBezTo>
                  <a:pt x="1071" y="300"/>
                  <a:pt x="1072" y="298"/>
                  <a:pt x="1073" y="297"/>
                </a:cubicBezTo>
                <a:cubicBezTo>
                  <a:pt x="1073" y="295"/>
                  <a:pt x="1073" y="294"/>
                  <a:pt x="1073" y="292"/>
                </a:cubicBezTo>
                <a:cubicBezTo>
                  <a:pt x="1073" y="284"/>
                  <a:pt x="1070" y="272"/>
                  <a:pt x="1063" y="265"/>
                </a:cubicBezTo>
                <a:cubicBezTo>
                  <a:pt x="1058" y="262"/>
                  <a:pt x="1053" y="262"/>
                  <a:pt x="1047" y="262"/>
                </a:cubicBezTo>
                <a:cubicBezTo>
                  <a:pt x="1039" y="262"/>
                  <a:pt x="1030" y="263"/>
                  <a:pt x="1025" y="266"/>
                </a:cubicBezTo>
                <a:cubicBezTo>
                  <a:pt x="1025" y="266"/>
                  <a:pt x="1025" y="266"/>
                  <a:pt x="1025" y="266"/>
                </a:cubicBezTo>
                <a:cubicBezTo>
                  <a:pt x="1025" y="266"/>
                  <a:pt x="1024" y="266"/>
                  <a:pt x="1024" y="266"/>
                </a:cubicBezTo>
                <a:close/>
                <a:moveTo>
                  <a:pt x="2576" y="835"/>
                </a:moveTo>
                <a:cubicBezTo>
                  <a:pt x="2575" y="835"/>
                  <a:pt x="2567" y="833"/>
                  <a:pt x="2559" y="833"/>
                </a:cubicBezTo>
                <a:cubicBezTo>
                  <a:pt x="2556" y="833"/>
                  <a:pt x="2552" y="833"/>
                  <a:pt x="2548" y="836"/>
                </a:cubicBezTo>
                <a:cubicBezTo>
                  <a:pt x="2546" y="837"/>
                  <a:pt x="2544" y="840"/>
                  <a:pt x="2544" y="843"/>
                </a:cubicBezTo>
                <a:cubicBezTo>
                  <a:pt x="2545" y="849"/>
                  <a:pt x="2548" y="851"/>
                  <a:pt x="2551" y="854"/>
                </a:cubicBezTo>
                <a:cubicBezTo>
                  <a:pt x="2555" y="857"/>
                  <a:pt x="2558" y="860"/>
                  <a:pt x="2562" y="862"/>
                </a:cubicBezTo>
                <a:cubicBezTo>
                  <a:pt x="2563" y="862"/>
                  <a:pt x="2565" y="864"/>
                  <a:pt x="2568" y="867"/>
                </a:cubicBezTo>
                <a:cubicBezTo>
                  <a:pt x="2570" y="869"/>
                  <a:pt x="2572" y="873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9" y="875"/>
                  <a:pt x="2581" y="875"/>
                  <a:pt x="2583" y="875"/>
                </a:cubicBezTo>
                <a:cubicBezTo>
                  <a:pt x="2586" y="875"/>
                  <a:pt x="2590" y="874"/>
                  <a:pt x="2594" y="872"/>
                </a:cubicBezTo>
                <a:cubicBezTo>
                  <a:pt x="2598" y="870"/>
                  <a:pt x="2601" y="865"/>
                  <a:pt x="2601" y="859"/>
                </a:cubicBezTo>
                <a:cubicBezTo>
                  <a:pt x="2601" y="857"/>
                  <a:pt x="2600" y="855"/>
                  <a:pt x="2600" y="853"/>
                </a:cubicBezTo>
                <a:cubicBezTo>
                  <a:pt x="2594" y="836"/>
                  <a:pt x="2579" y="834"/>
                  <a:pt x="2576" y="835"/>
                </a:cubicBezTo>
                <a:close/>
                <a:moveTo>
                  <a:pt x="4079" y="1252"/>
                </a:moveTo>
                <a:cubicBezTo>
                  <a:pt x="4079" y="1252"/>
                  <a:pt x="4079" y="1252"/>
                  <a:pt x="4078" y="1252"/>
                </a:cubicBezTo>
                <a:cubicBezTo>
                  <a:pt x="4074" y="1252"/>
                  <a:pt x="4073" y="1255"/>
                  <a:pt x="4071" y="1256"/>
                </a:cubicBezTo>
                <a:cubicBezTo>
                  <a:pt x="4067" y="1261"/>
                  <a:pt x="4063" y="1269"/>
                  <a:pt x="4063" y="1277"/>
                </a:cubicBezTo>
                <a:cubicBezTo>
                  <a:pt x="4063" y="1280"/>
                  <a:pt x="4063" y="1282"/>
                  <a:pt x="4064" y="1284"/>
                </a:cubicBezTo>
                <a:cubicBezTo>
                  <a:pt x="4064" y="1284"/>
                  <a:pt x="4064" y="1284"/>
                  <a:pt x="4064" y="1284"/>
                </a:cubicBezTo>
                <a:cubicBezTo>
                  <a:pt x="4059" y="1279"/>
                  <a:pt x="4054" y="1273"/>
                  <a:pt x="4045" y="1272"/>
                </a:cubicBezTo>
                <a:cubicBezTo>
                  <a:pt x="4042" y="1272"/>
                  <a:pt x="4040" y="1273"/>
                  <a:pt x="4038" y="1274"/>
                </a:cubicBezTo>
                <a:cubicBezTo>
                  <a:pt x="4035" y="1275"/>
                  <a:pt x="4034" y="1277"/>
                  <a:pt x="4033" y="1278"/>
                </a:cubicBezTo>
                <a:cubicBezTo>
                  <a:pt x="4030" y="1283"/>
                  <a:pt x="4027" y="1290"/>
                  <a:pt x="4027" y="1298"/>
                </a:cubicBezTo>
                <a:cubicBezTo>
                  <a:pt x="4027" y="1301"/>
                  <a:pt x="4027" y="1304"/>
                  <a:pt x="4030" y="1307"/>
                </a:cubicBezTo>
                <a:cubicBezTo>
                  <a:pt x="4032" y="1310"/>
                  <a:pt x="4036" y="1312"/>
                  <a:pt x="4039" y="1311"/>
                </a:cubicBezTo>
                <a:cubicBezTo>
                  <a:pt x="4046" y="1311"/>
                  <a:pt x="4055" y="1313"/>
                  <a:pt x="4062" y="1313"/>
                </a:cubicBezTo>
                <a:cubicBezTo>
                  <a:pt x="4065" y="1313"/>
                  <a:pt x="4067" y="1313"/>
                  <a:pt x="4069" y="1312"/>
                </a:cubicBezTo>
                <a:cubicBezTo>
                  <a:pt x="4071" y="1312"/>
                  <a:pt x="4072" y="1311"/>
                  <a:pt x="4073" y="1310"/>
                </a:cubicBezTo>
                <a:cubicBezTo>
                  <a:pt x="4075" y="1309"/>
                  <a:pt x="4076" y="1307"/>
                  <a:pt x="4076" y="1304"/>
                </a:cubicBezTo>
                <a:cubicBezTo>
                  <a:pt x="4076" y="1302"/>
                  <a:pt x="4075" y="1301"/>
                  <a:pt x="4074" y="1299"/>
                </a:cubicBezTo>
                <a:cubicBezTo>
                  <a:pt x="4073" y="1297"/>
                  <a:pt x="4070" y="1293"/>
                  <a:pt x="4067" y="1289"/>
                </a:cubicBezTo>
                <a:cubicBezTo>
                  <a:pt x="4070" y="1291"/>
                  <a:pt x="4074" y="1292"/>
                  <a:pt x="4078" y="1292"/>
                </a:cubicBezTo>
                <a:cubicBezTo>
                  <a:pt x="4079" y="1292"/>
                  <a:pt x="4079" y="1292"/>
                  <a:pt x="4080" y="1292"/>
                </a:cubicBezTo>
                <a:cubicBezTo>
                  <a:pt x="4092" y="1292"/>
                  <a:pt x="4099" y="1283"/>
                  <a:pt x="4099" y="1274"/>
                </a:cubicBezTo>
                <a:cubicBezTo>
                  <a:pt x="4099" y="1264"/>
                  <a:pt x="4091" y="1252"/>
                  <a:pt x="4079" y="1252"/>
                </a:cubicBezTo>
                <a:close/>
                <a:moveTo>
                  <a:pt x="4392" y="2119"/>
                </a:moveTo>
                <a:cubicBezTo>
                  <a:pt x="4385" y="2120"/>
                  <a:pt x="4381" y="2124"/>
                  <a:pt x="4375" y="2127"/>
                </a:cubicBezTo>
                <a:cubicBezTo>
                  <a:pt x="4372" y="2129"/>
                  <a:pt x="4369" y="2131"/>
                  <a:pt x="4367" y="2132"/>
                </a:cubicBezTo>
                <a:cubicBezTo>
                  <a:pt x="4366" y="2133"/>
                  <a:pt x="4365" y="2133"/>
                  <a:pt x="4365" y="2133"/>
                </a:cubicBezTo>
                <a:cubicBezTo>
                  <a:pt x="4365" y="2133"/>
                  <a:pt x="4364" y="2133"/>
                  <a:pt x="4364" y="2133"/>
                </a:cubicBezTo>
                <a:cubicBezTo>
                  <a:pt x="4359" y="2132"/>
                  <a:pt x="4348" y="2127"/>
                  <a:pt x="4348" y="2127"/>
                </a:cubicBezTo>
                <a:cubicBezTo>
                  <a:pt x="4345" y="2126"/>
                  <a:pt x="4343" y="2127"/>
                  <a:pt x="4341" y="2129"/>
                </a:cubicBezTo>
                <a:cubicBezTo>
                  <a:pt x="4338" y="2132"/>
                  <a:pt x="4336" y="2136"/>
                  <a:pt x="4336" y="2140"/>
                </a:cubicBezTo>
                <a:cubicBezTo>
                  <a:pt x="4336" y="2148"/>
                  <a:pt x="4342" y="2151"/>
                  <a:pt x="4344" y="2154"/>
                </a:cubicBezTo>
                <a:cubicBezTo>
                  <a:pt x="4348" y="2157"/>
                  <a:pt x="4349" y="2158"/>
                  <a:pt x="4349" y="2160"/>
                </a:cubicBezTo>
                <a:cubicBezTo>
                  <a:pt x="4349" y="2161"/>
                  <a:pt x="4349" y="2161"/>
                  <a:pt x="4349" y="2162"/>
                </a:cubicBezTo>
                <a:cubicBezTo>
                  <a:pt x="4348" y="2163"/>
                  <a:pt x="4348" y="2165"/>
                  <a:pt x="4348" y="2166"/>
                </a:cubicBezTo>
                <a:cubicBezTo>
                  <a:pt x="4348" y="2170"/>
                  <a:pt x="4350" y="2175"/>
                  <a:pt x="4354" y="2177"/>
                </a:cubicBezTo>
                <a:cubicBezTo>
                  <a:pt x="4357" y="2179"/>
                  <a:pt x="4360" y="2179"/>
                  <a:pt x="4363" y="2179"/>
                </a:cubicBezTo>
                <a:cubicBezTo>
                  <a:pt x="4370" y="2179"/>
                  <a:pt x="4376" y="2177"/>
                  <a:pt x="4380" y="2175"/>
                </a:cubicBezTo>
                <a:cubicBezTo>
                  <a:pt x="4384" y="2173"/>
                  <a:pt x="4385" y="2171"/>
                  <a:pt x="4388" y="2167"/>
                </a:cubicBezTo>
                <a:cubicBezTo>
                  <a:pt x="4394" y="2157"/>
                  <a:pt x="4401" y="2140"/>
                  <a:pt x="4401" y="2129"/>
                </a:cubicBezTo>
                <a:cubicBezTo>
                  <a:pt x="4401" y="2128"/>
                  <a:pt x="4401" y="2127"/>
                  <a:pt x="4401" y="2125"/>
                </a:cubicBezTo>
                <a:cubicBezTo>
                  <a:pt x="4400" y="2122"/>
                  <a:pt x="4395" y="2119"/>
                  <a:pt x="4392" y="2119"/>
                </a:cubicBezTo>
                <a:close/>
                <a:moveTo>
                  <a:pt x="4086" y="1305"/>
                </a:moveTo>
                <a:cubicBezTo>
                  <a:pt x="4085" y="1304"/>
                  <a:pt x="4083" y="1303"/>
                  <a:pt x="4081" y="1304"/>
                </a:cubicBezTo>
                <a:cubicBezTo>
                  <a:pt x="4079" y="1304"/>
                  <a:pt x="4078" y="1305"/>
                  <a:pt x="4077" y="1306"/>
                </a:cubicBezTo>
                <a:cubicBezTo>
                  <a:pt x="4072" y="1313"/>
                  <a:pt x="4069" y="1318"/>
                  <a:pt x="4067" y="1320"/>
                </a:cubicBezTo>
                <a:cubicBezTo>
                  <a:pt x="4066" y="1321"/>
                  <a:pt x="4066" y="1322"/>
                  <a:pt x="4065" y="1322"/>
                </a:cubicBezTo>
                <a:cubicBezTo>
                  <a:pt x="4064" y="1321"/>
                  <a:pt x="4062" y="1320"/>
                  <a:pt x="4058" y="1318"/>
                </a:cubicBezTo>
                <a:cubicBezTo>
                  <a:pt x="4056" y="1317"/>
                  <a:pt x="4053" y="1316"/>
                  <a:pt x="4051" y="1316"/>
                </a:cubicBezTo>
                <a:cubicBezTo>
                  <a:pt x="4043" y="1316"/>
                  <a:pt x="4037" y="1320"/>
                  <a:pt x="4032" y="1324"/>
                </a:cubicBezTo>
                <a:cubicBezTo>
                  <a:pt x="4027" y="1329"/>
                  <a:pt x="4023" y="1334"/>
                  <a:pt x="4022" y="1341"/>
                </a:cubicBezTo>
                <a:cubicBezTo>
                  <a:pt x="4022" y="1342"/>
                  <a:pt x="4023" y="1344"/>
                  <a:pt x="4024" y="1346"/>
                </a:cubicBezTo>
                <a:cubicBezTo>
                  <a:pt x="4026" y="1350"/>
                  <a:pt x="4031" y="1351"/>
                  <a:pt x="4034" y="1352"/>
                </a:cubicBezTo>
                <a:cubicBezTo>
                  <a:pt x="4040" y="1352"/>
                  <a:pt x="4045" y="1352"/>
                  <a:pt x="4050" y="1353"/>
                </a:cubicBezTo>
                <a:cubicBezTo>
                  <a:pt x="4055" y="1353"/>
                  <a:pt x="4057" y="1355"/>
                  <a:pt x="4058" y="1356"/>
                </a:cubicBezTo>
                <a:cubicBezTo>
                  <a:pt x="4060" y="1361"/>
                  <a:pt x="4061" y="1364"/>
                  <a:pt x="4063" y="1367"/>
                </a:cubicBezTo>
                <a:cubicBezTo>
                  <a:pt x="4065" y="1370"/>
                  <a:pt x="4069" y="1372"/>
                  <a:pt x="4073" y="1372"/>
                </a:cubicBezTo>
                <a:cubicBezTo>
                  <a:pt x="4073" y="1372"/>
                  <a:pt x="4073" y="1372"/>
                  <a:pt x="4074" y="1372"/>
                </a:cubicBezTo>
                <a:cubicBezTo>
                  <a:pt x="4076" y="1372"/>
                  <a:pt x="4079" y="1371"/>
                  <a:pt x="4082" y="1371"/>
                </a:cubicBezTo>
                <a:cubicBezTo>
                  <a:pt x="4090" y="1369"/>
                  <a:pt x="4095" y="1363"/>
                  <a:pt x="4100" y="1357"/>
                </a:cubicBezTo>
                <a:cubicBezTo>
                  <a:pt x="4104" y="1351"/>
                  <a:pt x="4107" y="1344"/>
                  <a:pt x="4107" y="1337"/>
                </a:cubicBezTo>
                <a:cubicBezTo>
                  <a:pt x="4107" y="1335"/>
                  <a:pt x="4107" y="1333"/>
                  <a:pt x="4106" y="1331"/>
                </a:cubicBezTo>
                <a:cubicBezTo>
                  <a:pt x="4101" y="1319"/>
                  <a:pt x="4086" y="1306"/>
                  <a:pt x="4086" y="1305"/>
                </a:cubicBezTo>
                <a:close/>
                <a:moveTo>
                  <a:pt x="4425" y="1824"/>
                </a:moveTo>
                <a:cubicBezTo>
                  <a:pt x="4417" y="1815"/>
                  <a:pt x="4412" y="1805"/>
                  <a:pt x="4412" y="1803"/>
                </a:cubicBezTo>
                <a:cubicBezTo>
                  <a:pt x="4412" y="1803"/>
                  <a:pt x="4412" y="1803"/>
                  <a:pt x="4412" y="1803"/>
                </a:cubicBezTo>
                <a:cubicBezTo>
                  <a:pt x="4412" y="1802"/>
                  <a:pt x="4412" y="1802"/>
                  <a:pt x="4412" y="1802"/>
                </a:cubicBezTo>
                <a:cubicBezTo>
                  <a:pt x="4412" y="1802"/>
                  <a:pt x="4412" y="1801"/>
                  <a:pt x="4412" y="1801"/>
                </a:cubicBezTo>
                <a:cubicBezTo>
                  <a:pt x="4413" y="1796"/>
                  <a:pt x="4410" y="1792"/>
                  <a:pt x="4407" y="1789"/>
                </a:cubicBezTo>
                <a:cubicBezTo>
                  <a:pt x="4398" y="1782"/>
                  <a:pt x="4386" y="1781"/>
                  <a:pt x="4381" y="1775"/>
                </a:cubicBezTo>
                <a:cubicBezTo>
                  <a:pt x="4377" y="1772"/>
                  <a:pt x="4374" y="1764"/>
                  <a:pt x="4372" y="1753"/>
                </a:cubicBezTo>
                <a:cubicBezTo>
                  <a:pt x="4370" y="1743"/>
                  <a:pt x="4368" y="1732"/>
                  <a:pt x="4365" y="1722"/>
                </a:cubicBezTo>
                <a:cubicBezTo>
                  <a:pt x="4359" y="1704"/>
                  <a:pt x="4346" y="1693"/>
                  <a:pt x="4335" y="1678"/>
                </a:cubicBezTo>
                <a:cubicBezTo>
                  <a:pt x="4331" y="1672"/>
                  <a:pt x="4326" y="1661"/>
                  <a:pt x="4323" y="1651"/>
                </a:cubicBezTo>
                <a:cubicBezTo>
                  <a:pt x="4322" y="1646"/>
                  <a:pt x="4320" y="1642"/>
                  <a:pt x="4319" y="1638"/>
                </a:cubicBezTo>
                <a:cubicBezTo>
                  <a:pt x="4318" y="1636"/>
                  <a:pt x="4318" y="1635"/>
                  <a:pt x="4317" y="1633"/>
                </a:cubicBezTo>
                <a:cubicBezTo>
                  <a:pt x="4316" y="1633"/>
                  <a:pt x="4316" y="1631"/>
                  <a:pt x="4315" y="1630"/>
                </a:cubicBezTo>
                <a:cubicBezTo>
                  <a:pt x="4320" y="1627"/>
                  <a:pt x="4324" y="1621"/>
                  <a:pt x="4327" y="1615"/>
                </a:cubicBezTo>
                <a:cubicBezTo>
                  <a:pt x="4331" y="1607"/>
                  <a:pt x="4335" y="1599"/>
                  <a:pt x="4336" y="1597"/>
                </a:cubicBezTo>
                <a:cubicBezTo>
                  <a:pt x="4337" y="1596"/>
                  <a:pt x="4344" y="1593"/>
                  <a:pt x="4350" y="1593"/>
                </a:cubicBezTo>
                <a:cubicBezTo>
                  <a:pt x="4352" y="1593"/>
                  <a:pt x="4354" y="1594"/>
                  <a:pt x="4355" y="1594"/>
                </a:cubicBezTo>
                <a:cubicBezTo>
                  <a:pt x="4356" y="1595"/>
                  <a:pt x="4356" y="1595"/>
                  <a:pt x="4357" y="1596"/>
                </a:cubicBezTo>
                <a:cubicBezTo>
                  <a:pt x="4359" y="1610"/>
                  <a:pt x="4367" y="1624"/>
                  <a:pt x="4383" y="1633"/>
                </a:cubicBezTo>
                <a:cubicBezTo>
                  <a:pt x="4393" y="1639"/>
                  <a:pt x="4404" y="1646"/>
                  <a:pt x="4413" y="1646"/>
                </a:cubicBezTo>
                <a:cubicBezTo>
                  <a:pt x="4416" y="1647"/>
                  <a:pt x="4422" y="1644"/>
                  <a:pt x="4423" y="1639"/>
                </a:cubicBezTo>
                <a:cubicBezTo>
                  <a:pt x="4423" y="1638"/>
                  <a:pt x="4423" y="1637"/>
                  <a:pt x="4423" y="1636"/>
                </a:cubicBezTo>
                <a:cubicBezTo>
                  <a:pt x="4423" y="1630"/>
                  <a:pt x="4421" y="1622"/>
                  <a:pt x="4418" y="1614"/>
                </a:cubicBezTo>
                <a:cubicBezTo>
                  <a:pt x="4414" y="1606"/>
                  <a:pt x="4411" y="1599"/>
                  <a:pt x="4403" y="1595"/>
                </a:cubicBezTo>
                <a:cubicBezTo>
                  <a:pt x="4401" y="1594"/>
                  <a:pt x="4394" y="1588"/>
                  <a:pt x="4390" y="1580"/>
                </a:cubicBezTo>
                <a:cubicBezTo>
                  <a:pt x="4385" y="1574"/>
                  <a:pt x="4381" y="1565"/>
                  <a:pt x="4381" y="1563"/>
                </a:cubicBezTo>
                <a:cubicBezTo>
                  <a:pt x="4381" y="1555"/>
                  <a:pt x="4375" y="1550"/>
                  <a:pt x="4371" y="1547"/>
                </a:cubicBezTo>
                <a:cubicBezTo>
                  <a:pt x="4366" y="1544"/>
                  <a:pt x="4361" y="1542"/>
                  <a:pt x="4359" y="1540"/>
                </a:cubicBezTo>
                <a:cubicBezTo>
                  <a:pt x="4354" y="1536"/>
                  <a:pt x="4347" y="1513"/>
                  <a:pt x="4326" y="1508"/>
                </a:cubicBezTo>
                <a:cubicBezTo>
                  <a:pt x="4310" y="1504"/>
                  <a:pt x="4307" y="1498"/>
                  <a:pt x="4288" y="1486"/>
                </a:cubicBezTo>
                <a:cubicBezTo>
                  <a:pt x="4275" y="1479"/>
                  <a:pt x="4258" y="1477"/>
                  <a:pt x="4243" y="1477"/>
                </a:cubicBezTo>
                <a:cubicBezTo>
                  <a:pt x="4237" y="1477"/>
                  <a:pt x="4232" y="1477"/>
                  <a:pt x="4228" y="1478"/>
                </a:cubicBezTo>
                <a:cubicBezTo>
                  <a:pt x="4226" y="1478"/>
                  <a:pt x="4224" y="1479"/>
                  <a:pt x="4222" y="1480"/>
                </a:cubicBezTo>
                <a:cubicBezTo>
                  <a:pt x="4222" y="1480"/>
                  <a:pt x="4221" y="1481"/>
                  <a:pt x="4221" y="1481"/>
                </a:cubicBezTo>
                <a:cubicBezTo>
                  <a:pt x="4219" y="1479"/>
                  <a:pt x="4216" y="1478"/>
                  <a:pt x="4212" y="1476"/>
                </a:cubicBezTo>
                <a:cubicBezTo>
                  <a:pt x="4204" y="1473"/>
                  <a:pt x="4197" y="1473"/>
                  <a:pt x="4193" y="1473"/>
                </a:cubicBezTo>
                <a:cubicBezTo>
                  <a:pt x="4191" y="1472"/>
                  <a:pt x="4189" y="1472"/>
                  <a:pt x="4189" y="1472"/>
                </a:cubicBezTo>
                <a:cubicBezTo>
                  <a:pt x="4188" y="1471"/>
                  <a:pt x="4188" y="1472"/>
                  <a:pt x="4188" y="1470"/>
                </a:cubicBezTo>
                <a:cubicBezTo>
                  <a:pt x="4186" y="1464"/>
                  <a:pt x="4181" y="1458"/>
                  <a:pt x="4173" y="1458"/>
                </a:cubicBezTo>
                <a:cubicBezTo>
                  <a:pt x="4166" y="1458"/>
                  <a:pt x="4161" y="1462"/>
                  <a:pt x="4156" y="1468"/>
                </a:cubicBezTo>
                <a:cubicBezTo>
                  <a:pt x="4154" y="1471"/>
                  <a:pt x="4152" y="1473"/>
                  <a:pt x="4150" y="1474"/>
                </a:cubicBezTo>
                <a:cubicBezTo>
                  <a:pt x="4149" y="1476"/>
                  <a:pt x="4147" y="1478"/>
                  <a:pt x="4147" y="1482"/>
                </a:cubicBezTo>
                <a:cubicBezTo>
                  <a:pt x="4147" y="1484"/>
                  <a:pt x="4148" y="1487"/>
                  <a:pt x="4150" y="1488"/>
                </a:cubicBezTo>
                <a:cubicBezTo>
                  <a:pt x="4154" y="1491"/>
                  <a:pt x="4158" y="1491"/>
                  <a:pt x="4166" y="1493"/>
                </a:cubicBezTo>
                <a:cubicBezTo>
                  <a:pt x="4173" y="1495"/>
                  <a:pt x="4178" y="1496"/>
                  <a:pt x="4181" y="1497"/>
                </a:cubicBezTo>
                <a:cubicBezTo>
                  <a:pt x="4181" y="1497"/>
                  <a:pt x="4181" y="1497"/>
                  <a:pt x="4181" y="1497"/>
                </a:cubicBezTo>
                <a:cubicBezTo>
                  <a:pt x="4181" y="1497"/>
                  <a:pt x="4180" y="1498"/>
                  <a:pt x="4179" y="1499"/>
                </a:cubicBezTo>
                <a:cubicBezTo>
                  <a:pt x="4174" y="1507"/>
                  <a:pt x="4169" y="1516"/>
                  <a:pt x="4168" y="1524"/>
                </a:cubicBezTo>
                <a:cubicBezTo>
                  <a:pt x="4168" y="1528"/>
                  <a:pt x="4171" y="1534"/>
                  <a:pt x="4176" y="1535"/>
                </a:cubicBezTo>
                <a:cubicBezTo>
                  <a:pt x="4177" y="1535"/>
                  <a:pt x="4179" y="1535"/>
                  <a:pt x="4180" y="1535"/>
                </a:cubicBezTo>
                <a:cubicBezTo>
                  <a:pt x="4187" y="1535"/>
                  <a:pt x="4196" y="1533"/>
                  <a:pt x="4201" y="1533"/>
                </a:cubicBezTo>
                <a:cubicBezTo>
                  <a:pt x="4202" y="1533"/>
                  <a:pt x="4202" y="1533"/>
                  <a:pt x="4202" y="1533"/>
                </a:cubicBezTo>
                <a:cubicBezTo>
                  <a:pt x="4202" y="1533"/>
                  <a:pt x="4202" y="1535"/>
                  <a:pt x="4203" y="1537"/>
                </a:cubicBezTo>
                <a:cubicBezTo>
                  <a:pt x="4205" y="1540"/>
                  <a:pt x="4208" y="1541"/>
                  <a:pt x="4211" y="1543"/>
                </a:cubicBezTo>
                <a:cubicBezTo>
                  <a:pt x="4214" y="1544"/>
                  <a:pt x="4218" y="1545"/>
                  <a:pt x="4225" y="1546"/>
                </a:cubicBezTo>
                <a:cubicBezTo>
                  <a:pt x="4246" y="1550"/>
                  <a:pt x="4248" y="1557"/>
                  <a:pt x="4253" y="1563"/>
                </a:cubicBezTo>
                <a:cubicBezTo>
                  <a:pt x="4255" y="1565"/>
                  <a:pt x="4258" y="1569"/>
                  <a:pt x="4260" y="1572"/>
                </a:cubicBezTo>
                <a:cubicBezTo>
                  <a:pt x="4261" y="1574"/>
                  <a:pt x="4262" y="1576"/>
                  <a:pt x="4263" y="1577"/>
                </a:cubicBezTo>
                <a:cubicBezTo>
                  <a:pt x="4259" y="1578"/>
                  <a:pt x="4256" y="1580"/>
                  <a:pt x="4253" y="1583"/>
                </a:cubicBezTo>
                <a:cubicBezTo>
                  <a:pt x="4250" y="1586"/>
                  <a:pt x="4247" y="1590"/>
                  <a:pt x="4246" y="1595"/>
                </a:cubicBezTo>
                <a:cubicBezTo>
                  <a:pt x="4246" y="1599"/>
                  <a:pt x="4250" y="1603"/>
                  <a:pt x="4253" y="1604"/>
                </a:cubicBezTo>
                <a:cubicBezTo>
                  <a:pt x="4255" y="1604"/>
                  <a:pt x="4256" y="1605"/>
                  <a:pt x="4257" y="1605"/>
                </a:cubicBezTo>
                <a:cubicBezTo>
                  <a:pt x="4264" y="1605"/>
                  <a:pt x="4274" y="1604"/>
                  <a:pt x="4278" y="1604"/>
                </a:cubicBezTo>
                <a:cubicBezTo>
                  <a:pt x="4278" y="1604"/>
                  <a:pt x="4278" y="1604"/>
                  <a:pt x="4278" y="1604"/>
                </a:cubicBezTo>
                <a:cubicBezTo>
                  <a:pt x="4280" y="1604"/>
                  <a:pt x="4282" y="1612"/>
                  <a:pt x="4286" y="1618"/>
                </a:cubicBezTo>
                <a:cubicBezTo>
                  <a:pt x="4290" y="1624"/>
                  <a:pt x="4295" y="1631"/>
                  <a:pt x="4304" y="1633"/>
                </a:cubicBezTo>
                <a:cubicBezTo>
                  <a:pt x="4303" y="1635"/>
                  <a:pt x="4303" y="1636"/>
                  <a:pt x="4302" y="1638"/>
                </a:cubicBezTo>
                <a:cubicBezTo>
                  <a:pt x="4299" y="1647"/>
                  <a:pt x="4295" y="1662"/>
                  <a:pt x="4295" y="1675"/>
                </a:cubicBezTo>
                <a:cubicBezTo>
                  <a:pt x="4295" y="1682"/>
                  <a:pt x="4296" y="1688"/>
                  <a:pt x="4299" y="1693"/>
                </a:cubicBezTo>
                <a:cubicBezTo>
                  <a:pt x="4300" y="1695"/>
                  <a:pt x="4301" y="1698"/>
                  <a:pt x="4301" y="1701"/>
                </a:cubicBezTo>
                <a:cubicBezTo>
                  <a:pt x="4301" y="1712"/>
                  <a:pt x="4294" y="1729"/>
                  <a:pt x="4289" y="1742"/>
                </a:cubicBezTo>
                <a:cubicBezTo>
                  <a:pt x="4289" y="1743"/>
                  <a:pt x="4288" y="1744"/>
                  <a:pt x="4288" y="1744"/>
                </a:cubicBezTo>
                <a:cubicBezTo>
                  <a:pt x="4288" y="1744"/>
                  <a:pt x="4287" y="1744"/>
                  <a:pt x="4286" y="1743"/>
                </a:cubicBezTo>
                <a:cubicBezTo>
                  <a:pt x="4281" y="1740"/>
                  <a:pt x="4274" y="1733"/>
                  <a:pt x="4267" y="1728"/>
                </a:cubicBezTo>
                <a:cubicBezTo>
                  <a:pt x="4255" y="1719"/>
                  <a:pt x="4239" y="1713"/>
                  <a:pt x="4233" y="1705"/>
                </a:cubicBezTo>
                <a:cubicBezTo>
                  <a:pt x="4233" y="1705"/>
                  <a:pt x="4232" y="1705"/>
                  <a:pt x="4232" y="1704"/>
                </a:cubicBezTo>
                <a:cubicBezTo>
                  <a:pt x="4232" y="1701"/>
                  <a:pt x="4234" y="1694"/>
                  <a:pt x="4237" y="1688"/>
                </a:cubicBezTo>
                <a:cubicBezTo>
                  <a:pt x="4240" y="1681"/>
                  <a:pt x="4243" y="1675"/>
                  <a:pt x="4243" y="1668"/>
                </a:cubicBezTo>
                <a:cubicBezTo>
                  <a:pt x="4243" y="1666"/>
                  <a:pt x="4243" y="1663"/>
                  <a:pt x="4241" y="1661"/>
                </a:cubicBezTo>
                <a:cubicBezTo>
                  <a:pt x="4236" y="1654"/>
                  <a:pt x="4229" y="1653"/>
                  <a:pt x="4222" y="1653"/>
                </a:cubicBezTo>
                <a:cubicBezTo>
                  <a:pt x="4216" y="1653"/>
                  <a:pt x="4210" y="1654"/>
                  <a:pt x="4205" y="1655"/>
                </a:cubicBezTo>
                <a:cubicBezTo>
                  <a:pt x="4202" y="1655"/>
                  <a:pt x="4200" y="1656"/>
                  <a:pt x="4198" y="1656"/>
                </a:cubicBezTo>
                <a:cubicBezTo>
                  <a:pt x="4198" y="1656"/>
                  <a:pt x="4197" y="1656"/>
                  <a:pt x="4197" y="1656"/>
                </a:cubicBezTo>
                <a:cubicBezTo>
                  <a:pt x="4196" y="1655"/>
                  <a:pt x="4194" y="1653"/>
                  <a:pt x="4192" y="1650"/>
                </a:cubicBezTo>
                <a:cubicBezTo>
                  <a:pt x="4189" y="1647"/>
                  <a:pt x="4185" y="1643"/>
                  <a:pt x="4179" y="1643"/>
                </a:cubicBezTo>
                <a:cubicBezTo>
                  <a:pt x="4174" y="1643"/>
                  <a:pt x="4171" y="1646"/>
                  <a:pt x="4170" y="1649"/>
                </a:cubicBezTo>
                <a:cubicBezTo>
                  <a:pt x="4169" y="1652"/>
                  <a:pt x="4168" y="1655"/>
                  <a:pt x="4167" y="1659"/>
                </a:cubicBezTo>
                <a:cubicBezTo>
                  <a:pt x="4165" y="1656"/>
                  <a:pt x="4163" y="1653"/>
                  <a:pt x="4160" y="1650"/>
                </a:cubicBezTo>
                <a:cubicBezTo>
                  <a:pt x="4159" y="1649"/>
                  <a:pt x="4158" y="1648"/>
                  <a:pt x="4157" y="1647"/>
                </a:cubicBezTo>
                <a:cubicBezTo>
                  <a:pt x="4156" y="1646"/>
                  <a:pt x="4155" y="1645"/>
                  <a:pt x="4151" y="1644"/>
                </a:cubicBezTo>
                <a:cubicBezTo>
                  <a:pt x="4148" y="1644"/>
                  <a:pt x="4145" y="1648"/>
                  <a:pt x="4145" y="1649"/>
                </a:cubicBezTo>
                <a:cubicBezTo>
                  <a:pt x="4145" y="1650"/>
                  <a:pt x="4145" y="1651"/>
                  <a:pt x="4145" y="1652"/>
                </a:cubicBezTo>
                <a:cubicBezTo>
                  <a:pt x="4145" y="1654"/>
                  <a:pt x="4145" y="1657"/>
                  <a:pt x="4145" y="1659"/>
                </a:cubicBezTo>
                <a:cubicBezTo>
                  <a:pt x="4145" y="1663"/>
                  <a:pt x="4144" y="1668"/>
                  <a:pt x="4142" y="1671"/>
                </a:cubicBezTo>
                <a:cubicBezTo>
                  <a:pt x="4137" y="1677"/>
                  <a:pt x="4135" y="1679"/>
                  <a:pt x="4133" y="1683"/>
                </a:cubicBezTo>
                <a:cubicBezTo>
                  <a:pt x="4131" y="1686"/>
                  <a:pt x="4131" y="1688"/>
                  <a:pt x="4129" y="1695"/>
                </a:cubicBezTo>
                <a:cubicBezTo>
                  <a:pt x="4128" y="1697"/>
                  <a:pt x="4128" y="1699"/>
                  <a:pt x="4127" y="1699"/>
                </a:cubicBezTo>
                <a:cubicBezTo>
                  <a:pt x="4127" y="1699"/>
                  <a:pt x="4127" y="1700"/>
                  <a:pt x="4127" y="1700"/>
                </a:cubicBezTo>
                <a:cubicBezTo>
                  <a:pt x="4127" y="1700"/>
                  <a:pt x="4127" y="1700"/>
                  <a:pt x="4127" y="1700"/>
                </a:cubicBezTo>
                <a:cubicBezTo>
                  <a:pt x="4126" y="1700"/>
                  <a:pt x="4120" y="1696"/>
                  <a:pt x="4114" y="1688"/>
                </a:cubicBezTo>
                <a:cubicBezTo>
                  <a:pt x="4110" y="1682"/>
                  <a:pt x="4105" y="1679"/>
                  <a:pt x="4099" y="1678"/>
                </a:cubicBezTo>
                <a:cubicBezTo>
                  <a:pt x="4090" y="1679"/>
                  <a:pt x="4087" y="1685"/>
                  <a:pt x="4083" y="1686"/>
                </a:cubicBezTo>
                <a:cubicBezTo>
                  <a:pt x="4077" y="1691"/>
                  <a:pt x="4074" y="1698"/>
                  <a:pt x="4071" y="1705"/>
                </a:cubicBezTo>
                <a:cubicBezTo>
                  <a:pt x="4068" y="1712"/>
                  <a:pt x="4068" y="1720"/>
                  <a:pt x="4064" y="1721"/>
                </a:cubicBezTo>
                <a:cubicBezTo>
                  <a:pt x="4064" y="1721"/>
                  <a:pt x="4064" y="1721"/>
                  <a:pt x="4064" y="1721"/>
                </a:cubicBezTo>
                <a:cubicBezTo>
                  <a:pt x="4064" y="1722"/>
                  <a:pt x="4057" y="1726"/>
                  <a:pt x="4050" y="1729"/>
                </a:cubicBezTo>
                <a:cubicBezTo>
                  <a:pt x="4043" y="1732"/>
                  <a:pt x="4037" y="1735"/>
                  <a:pt x="4032" y="1740"/>
                </a:cubicBezTo>
                <a:cubicBezTo>
                  <a:pt x="4028" y="1745"/>
                  <a:pt x="4026" y="1753"/>
                  <a:pt x="4025" y="1760"/>
                </a:cubicBezTo>
                <a:cubicBezTo>
                  <a:pt x="4024" y="1766"/>
                  <a:pt x="4023" y="1772"/>
                  <a:pt x="4023" y="1775"/>
                </a:cubicBezTo>
                <a:cubicBezTo>
                  <a:pt x="4021" y="1776"/>
                  <a:pt x="4016" y="1777"/>
                  <a:pt x="4011" y="1777"/>
                </a:cubicBezTo>
                <a:cubicBezTo>
                  <a:pt x="4005" y="1778"/>
                  <a:pt x="3998" y="1779"/>
                  <a:pt x="3993" y="1783"/>
                </a:cubicBezTo>
                <a:cubicBezTo>
                  <a:pt x="3991" y="1785"/>
                  <a:pt x="3988" y="1786"/>
                  <a:pt x="3984" y="1786"/>
                </a:cubicBezTo>
                <a:cubicBezTo>
                  <a:pt x="3979" y="1786"/>
                  <a:pt x="3973" y="1785"/>
                  <a:pt x="3968" y="1785"/>
                </a:cubicBezTo>
                <a:cubicBezTo>
                  <a:pt x="3963" y="1785"/>
                  <a:pt x="3960" y="1787"/>
                  <a:pt x="3956" y="1790"/>
                </a:cubicBezTo>
                <a:cubicBezTo>
                  <a:pt x="3943" y="1798"/>
                  <a:pt x="3926" y="1814"/>
                  <a:pt x="3920" y="1819"/>
                </a:cubicBezTo>
                <a:cubicBezTo>
                  <a:pt x="3911" y="1826"/>
                  <a:pt x="3910" y="1837"/>
                  <a:pt x="3909" y="1847"/>
                </a:cubicBezTo>
                <a:cubicBezTo>
                  <a:pt x="3910" y="1854"/>
                  <a:pt x="3910" y="1861"/>
                  <a:pt x="3914" y="1866"/>
                </a:cubicBezTo>
                <a:cubicBezTo>
                  <a:pt x="3917" y="1870"/>
                  <a:pt x="3922" y="1881"/>
                  <a:pt x="3922" y="1884"/>
                </a:cubicBezTo>
                <a:cubicBezTo>
                  <a:pt x="3917" y="1888"/>
                  <a:pt x="3916" y="1895"/>
                  <a:pt x="3915" y="1902"/>
                </a:cubicBezTo>
                <a:cubicBezTo>
                  <a:pt x="3915" y="1911"/>
                  <a:pt x="3918" y="1921"/>
                  <a:pt x="3927" y="1931"/>
                </a:cubicBezTo>
                <a:cubicBezTo>
                  <a:pt x="3935" y="1942"/>
                  <a:pt x="3935" y="1945"/>
                  <a:pt x="3935" y="1949"/>
                </a:cubicBezTo>
                <a:cubicBezTo>
                  <a:pt x="3935" y="1950"/>
                  <a:pt x="3935" y="1951"/>
                  <a:pt x="3935" y="1953"/>
                </a:cubicBezTo>
                <a:cubicBezTo>
                  <a:pt x="3935" y="1954"/>
                  <a:pt x="3935" y="1955"/>
                  <a:pt x="3936" y="1957"/>
                </a:cubicBezTo>
                <a:cubicBezTo>
                  <a:pt x="3936" y="1962"/>
                  <a:pt x="3939" y="1967"/>
                  <a:pt x="3942" y="1970"/>
                </a:cubicBezTo>
                <a:cubicBezTo>
                  <a:pt x="3945" y="1974"/>
                  <a:pt x="3948" y="1978"/>
                  <a:pt x="3953" y="1984"/>
                </a:cubicBezTo>
                <a:cubicBezTo>
                  <a:pt x="3953" y="1985"/>
                  <a:pt x="3954" y="1986"/>
                  <a:pt x="3954" y="1987"/>
                </a:cubicBezTo>
                <a:cubicBezTo>
                  <a:pt x="3954" y="1989"/>
                  <a:pt x="3951" y="1993"/>
                  <a:pt x="3946" y="1997"/>
                </a:cubicBezTo>
                <a:cubicBezTo>
                  <a:pt x="3941" y="2002"/>
                  <a:pt x="3936" y="2005"/>
                  <a:pt x="3932" y="2012"/>
                </a:cubicBezTo>
                <a:cubicBezTo>
                  <a:pt x="3932" y="2013"/>
                  <a:pt x="3931" y="2015"/>
                  <a:pt x="3931" y="2017"/>
                </a:cubicBezTo>
                <a:cubicBezTo>
                  <a:pt x="3932" y="2030"/>
                  <a:pt x="3943" y="2039"/>
                  <a:pt x="3949" y="2046"/>
                </a:cubicBezTo>
                <a:cubicBezTo>
                  <a:pt x="3953" y="2050"/>
                  <a:pt x="3959" y="2051"/>
                  <a:pt x="3965" y="2051"/>
                </a:cubicBezTo>
                <a:cubicBezTo>
                  <a:pt x="3974" y="2051"/>
                  <a:pt x="3983" y="2049"/>
                  <a:pt x="3990" y="2046"/>
                </a:cubicBezTo>
                <a:cubicBezTo>
                  <a:pt x="3996" y="2043"/>
                  <a:pt x="4002" y="2039"/>
                  <a:pt x="4007" y="2036"/>
                </a:cubicBezTo>
                <a:cubicBezTo>
                  <a:pt x="4012" y="2032"/>
                  <a:pt x="4016" y="2030"/>
                  <a:pt x="4017" y="2030"/>
                </a:cubicBezTo>
                <a:cubicBezTo>
                  <a:pt x="4020" y="2029"/>
                  <a:pt x="4030" y="2028"/>
                  <a:pt x="4039" y="2028"/>
                </a:cubicBezTo>
                <a:cubicBezTo>
                  <a:pt x="4048" y="2027"/>
                  <a:pt x="4056" y="2027"/>
                  <a:pt x="4056" y="2027"/>
                </a:cubicBezTo>
                <a:cubicBezTo>
                  <a:pt x="4058" y="2027"/>
                  <a:pt x="4060" y="2026"/>
                  <a:pt x="4061" y="2024"/>
                </a:cubicBezTo>
                <a:cubicBezTo>
                  <a:pt x="4061" y="2024"/>
                  <a:pt x="4072" y="2003"/>
                  <a:pt x="4080" y="1993"/>
                </a:cubicBezTo>
                <a:cubicBezTo>
                  <a:pt x="4081" y="1991"/>
                  <a:pt x="4084" y="1990"/>
                  <a:pt x="4089" y="1990"/>
                </a:cubicBezTo>
                <a:cubicBezTo>
                  <a:pt x="4093" y="1990"/>
                  <a:pt x="4097" y="1991"/>
                  <a:pt x="4101" y="1992"/>
                </a:cubicBezTo>
                <a:cubicBezTo>
                  <a:pt x="4104" y="1993"/>
                  <a:pt x="4106" y="1993"/>
                  <a:pt x="4106" y="1993"/>
                </a:cubicBezTo>
                <a:cubicBezTo>
                  <a:pt x="4108" y="1994"/>
                  <a:pt x="4110" y="1994"/>
                  <a:pt x="4112" y="1993"/>
                </a:cubicBezTo>
                <a:cubicBezTo>
                  <a:pt x="4112" y="1993"/>
                  <a:pt x="4113" y="1992"/>
                  <a:pt x="4114" y="1992"/>
                </a:cubicBezTo>
                <a:cubicBezTo>
                  <a:pt x="4117" y="1989"/>
                  <a:pt x="4128" y="1984"/>
                  <a:pt x="4148" y="1978"/>
                </a:cubicBezTo>
                <a:cubicBezTo>
                  <a:pt x="4153" y="1977"/>
                  <a:pt x="4156" y="1977"/>
                  <a:pt x="4158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2" y="1978"/>
                  <a:pt x="4163" y="1986"/>
                  <a:pt x="4171" y="1989"/>
                </a:cubicBezTo>
                <a:cubicBezTo>
                  <a:pt x="4182" y="1994"/>
                  <a:pt x="4195" y="1997"/>
                  <a:pt x="4201" y="2002"/>
                </a:cubicBezTo>
                <a:cubicBezTo>
                  <a:pt x="4202" y="2003"/>
                  <a:pt x="4202" y="2004"/>
                  <a:pt x="4203" y="2007"/>
                </a:cubicBezTo>
                <a:cubicBezTo>
                  <a:pt x="4203" y="2012"/>
                  <a:pt x="4199" y="2021"/>
                  <a:pt x="4198" y="2027"/>
                </a:cubicBezTo>
                <a:cubicBezTo>
                  <a:pt x="4198" y="2027"/>
                  <a:pt x="4198" y="2028"/>
                  <a:pt x="4198" y="2028"/>
                </a:cubicBezTo>
                <a:cubicBezTo>
                  <a:pt x="4198" y="2032"/>
                  <a:pt x="4201" y="2036"/>
                  <a:pt x="4203" y="2036"/>
                </a:cubicBezTo>
                <a:cubicBezTo>
                  <a:pt x="4206" y="2038"/>
                  <a:pt x="4208" y="2038"/>
                  <a:pt x="4210" y="2038"/>
                </a:cubicBezTo>
                <a:cubicBezTo>
                  <a:pt x="4214" y="2038"/>
                  <a:pt x="4218" y="2037"/>
                  <a:pt x="4222" y="2036"/>
                </a:cubicBezTo>
                <a:cubicBezTo>
                  <a:pt x="4225" y="2034"/>
                  <a:pt x="4229" y="2032"/>
                  <a:pt x="4231" y="2026"/>
                </a:cubicBezTo>
                <a:cubicBezTo>
                  <a:pt x="4231" y="2022"/>
                  <a:pt x="4234" y="2017"/>
                  <a:pt x="4243" y="2011"/>
                </a:cubicBezTo>
                <a:cubicBezTo>
                  <a:pt x="4243" y="2013"/>
                  <a:pt x="4242" y="2015"/>
                  <a:pt x="4242" y="2018"/>
                </a:cubicBezTo>
                <a:cubicBezTo>
                  <a:pt x="4242" y="2022"/>
                  <a:pt x="4243" y="2026"/>
                  <a:pt x="4244" y="2030"/>
                </a:cubicBezTo>
                <a:cubicBezTo>
                  <a:pt x="4245" y="2032"/>
                  <a:pt x="4246" y="2033"/>
                  <a:pt x="4247" y="2034"/>
                </a:cubicBezTo>
                <a:cubicBezTo>
                  <a:pt x="4248" y="2036"/>
                  <a:pt x="4250" y="2037"/>
                  <a:pt x="4253" y="2037"/>
                </a:cubicBezTo>
                <a:cubicBezTo>
                  <a:pt x="4255" y="2037"/>
                  <a:pt x="4257" y="2036"/>
                  <a:pt x="4258" y="2035"/>
                </a:cubicBezTo>
                <a:cubicBezTo>
                  <a:pt x="4259" y="2037"/>
                  <a:pt x="4260" y="2038"/>
                  <a:pt x="4260" y="2039"/>
                </a:cubicBezTo>
                <a:cubicBezTo>
                  <a:pt x="4262" y="2043"/>
                  <a:pt x="4264" y="2044"/>
                  <a:pt x="4266" y="2045"/>
                </a:cubicBezTo>
                <a:cubicBezTo>
                  <a:pt x="4269" y="2047"/>
                  <a:pt x="4271" y="2048"/>
                  <a:pt x="4273" y="2050"/>
                </a:cubicBezTo>
                <a:cubicBezTo>
                  <a:pt x="4275" y="2052"/>
                  <a:pt x="4276" y="2053"/>
                  <a:pt x="4276" y="2057"/>
                </a:cubicBezTo>
                <a:cubicBezTo>
                  <a:pt x="4276" y="2064"/>
                  <a:pt x="4276" y="2069"/>
                  <a:pt x="4277" y="2074"/>
                </a:cubicBezTo>
                <a:cubicBezTo>
                  <a:pt x="4277" y="2078"/>
                  <a:pt x="4278" y="2083"/>
                  <a:pt x="4282" y="2086"/>
                </a:cubicBezTo>
                <a:cubicBezTo>
                  <a:pt x="4285" y="2089"/>
                  <a:pt x="4287" y="2088"/>
                  <a:pt x="4290" y="2089"/>
                </a:cubicBezTo>
                <a:cubicBezTo>
                  <a:pt x="4297" y="2090"/>
                  <a:pt x="4305" y="2091"/>
                  <a:pt x="4310" y="2101"/>
                </a:cubicBezTo>
                <a:cubicBezTo>
                  <a:pt x="4313" y="2107"/>
                  <a:pt x="4316" y="2111"/>
                  <a:pt x="4323" y="2112"/>
                </a:cubicBezTo>
                <a:cubicBezTo>
                  <a:pt x="4329" y="2111"/>
                  <a:pt x="4332" y="2107"/>
                  <a:pt x="4334" y="2104"/>
                </a:cubicBezTo>
                <a:cubicBezTo>
                  <a:pt x="4336" y="2101"/>
                  <a:pt x="4338" y="2100"/>
                  <a:pt x="4339" y="2096"/>
                </a:cubicBezTo>
                <a:cubicBezTo>
                  <a:pt x="4339" y="2096"/>
                  <a:pt x="4339" y="2096"/>
                  <a:pt x="4339" y="2096"/>
                </a:cubicBezTo>
                <a:cubicBezTo>
                  <a:pt x="4342" y="2096"/>
                  <a:pt x="4353" y="2102"/>
                  <a:pt x="4355" y="2105"/>
                </a:cubicBezTo>
                <a:cubicBezTo>
                  <a:pt x="4356" y="2107"/>
                  <a:pt x="4359" y="2108"/>
                  <a:pt x="4362" y="2108"/>
                </a:cubicBezTo>
                <a:cubicBezTo>
                  <a:pt x="4369" y="2107"/>
                  <a:pt x="4372" y="2103"/>
                  <a:pt x="4378" y="2100"/>
                </a:cubicBezTo>
                <a:cubicBezTo>
                  <a:pt x="4383" y="2096"/>
                  <a:pt x="4389" y="2092"/>
                  <a:pt x="4396" y="2090"/>
                </a:cubicBezTo>
                <a:cubicBezTo>
                  <a:pt x="4404" y="2087"/>
                  <a:pt x="4408" y="2086"/>
                  <a:pt x="4412" y="2084"/>
                </a:cubicBezTo>
                <a:cubicBezTo>
                  <a:pt x="4416" y="2082"/>
                  <a:pt x="4417" y="2078"/>
                  <a:pt x="4419" y="2075"/>
                </a:cubicBezTo>
                <a:cubicBezTo>
                  <a:pt x="4424" y="2064"/>
                  <a:pt x="4427" y="2043"/>
                  <a:pt x="4437" y="2028"/>
                </a:cubicBezTo>
                <a:cubicBezTo>
                  <a:pt x="4447" y="2011"/>
                  <a:pt x="4462" y="1982"/>
                  <a:pt x="4462" y="1957"/>
                </a:cubicBezTo>
                <a:cubicBezTo>
                  <a:pt x="4462" y="1935"/>
                  <a:pt x="4461" y="1884"/>
                  <a:pt x="4447" y="1858"/>
                </a:cubicBezTo>
                <a:cubicBezTo>
                  <a:pt x="4441" y="1846"/>
                  <a:pt x="4432" y="1834"/>
                  <a:pt x="4425" y="1824"/>
                </a:cubicBezTo>
                <a:close/>
                <a:moveTo>
                  <a:pt x="4055" y="1637"/>
                </a:moveTo>
                <a:cubicBezTo>
                  <a:pt x="4057" y="1639"/>
                  <a:pt x="4060" y="1640"/>
                  <a:pt x="4062" y="1640"/>
                </a:cubicBezTo>
                <a:cubicBezTo>
                  <a:pt x="4062" y="1640"/>
                  <a:pt x="4062" y="1640"/>
                  <a:pt x="4062" y="1640"/>
                </a:cubicBezTo>
                <a:cubicBezTo>
                  <a:pt x="4069" y="1640"/>
                  <a:pt x="4074" y="1635"/>
                  <a:pt x="4079" y="1632"/>
                </a:cubicBezTo>
                <a:cubicBezTo>
                  <a:pt x="4082" y="1629"/>
                  <a:pt x="4085" y="1627"/>
                  <a:pt x="4086" y="1626"/>
                </a:cubicBezTo>
                <a:cubicBezTo>
                  <a:pt x="4088" y="1625"/>
                  <a:pt x="4091" y="1624"/>
                  <a:pt x="4095" y="1623"/>
                </a:cubicBezTo>
                <a:cubicBezTo>
                  <a:pt x="4097" y="1622"/>
                  <a:pt x="4100" y="1620"/>
                  <a:pt x="4103" y="1618"/>
                </a:cubicBezTo>
                <a:cubicBezTo>
                  <a:pt x="4105" y="1616"/>
                  <a:pt x="4108" y="1612"/>
                  <a:pt x="4108" y="1607"/>
                </a:cubicBezTo>
                <a:cubicBezTo>
                  <a:pt x="4107" y="1601"/>
                  <a:pt x="4104" y="1596"/>
                  <a:pt x="4100" y="1592"/>
                </a:cubicBezTo>
                <a:cubicBezTo>
                  <a:pt x="4095" y="1589"/>
                  <a:pt x="4090" y="1586"/>
                  <a:pt x="4084" y="1586"/>
                </a:cubicBezTo>
                <a:cubicBezTo>
                  <a:pt x="4079" y="1586"/>
                  <a:pt x="4074" y="1588"/>
                  <a:pt x="4071" y="1593"/>
                </a:cubicBezTo>
                <a:cubicBezTo>
                  <a:pt x="4068" y="1598"/>
                  <a:pt x="4064" y="1603"/>
                  <a:pt x="4060" y="1608"/>
                </a:cubicBezTo>
                <a:cubicBezTo>
                  <a:pt x="4056" y="1614"/>
                  <a:pt x="4052" y="1619"/>
                  <a:pt x="4052" y="1627"/>
                </a:cubicBezTo>
                <a:cubicBezTo>
                  <a:pt x="4052" y="1627"/>
                  <a:pt x="4052" y="1628"/>
                  <a:pt x="4052" y="1629"/>
                </a:cubicBezTo>
                <a:cubicBezTo>
                  <a:pt x="4052" y="1632"/>
                  <a:pt x="4053" y="1634"/>
                  <a:pt x="4055" y="1637"/>
                </a:cubicBezTo>
                <a:close/>
                <a:moveTo>
                  <a:pt x="4022" y="1470"/>
                </a:moveTo>
                <a:cubicBezTo>
                  <a:pt x="4023" y="1470"/>
                  <a:pt x="4024" y="1470"/>
                  <a:pt x="4025" y="1470"/>
                </a:cubicBezTo>
                <a:cubicBezTo>
                  <a:pt x="4038" y="1469"/>
                  <a:pt x="4065" y="1464"/>
                  <a:pt x="4069" y="1464"/>
                </a:cubicBezTo>
                <a:cubicBezTo>
                  <a:pt x="4076" y="1464"/>
                  <a:pt x="4079" y="1459"/>
                  <a:pt x="4081" y="1455"/>
                </a:cubicBezTo>
                <a:cubicBezTo>
                  <a:pt x="4084" y="1451"/>
                  <a:pt x="4086" y="1447"/>
                  <a:pt x="4086" y="1442"/>
                </a:cubicBezTo>
                <a:cubicBezTo>
                  <a:pt x="4086" y="1441"/>
                  <a:pt x="4086" y="1440"/>
                  <a:pt x="4085" y="1438"/>
                </a:cubicBezTo>
                <a:cubicBezTo>
                  <a:pt x="4083" y="1436"/>
                  <a:pt x="4081" y="1434"/>
                  <a:pt x="4078" y="1434"/>
                </a:cubicBezTo>
                <a:cubicBezTo>
                  <a:pt x="4072" y="1435"/>
                  <a:pt x="4043" y="1441"/>
                  <a:pt x="4036" y="1443"/>
                </a:cubicBezTo>
                <a:cubicBezTo>
                  <a:pt x="4036" y="1443"/>
                  <a:pt x="4036" y="1443"/>
                  <a:pt x="4036" y="1443"/>
                </a:cubicBezTo>
                <a:cubicBezTo>
                  <a:pt x="4033" y="1443"/>
                  <a:pt x="4028" y="1442"/>
                  <a:pt x="4023" y="1442"/>
                </a:cubicBezTo>
                <a:cubicBezTo>
                  <a:pt x="4019" y="1441"/>
                  <a:pt x="4015" y="1440"/>
                  <a:pt x="4015" y="1440"/>
                </a:cubicBezTo>
                <a:cubicBezTo>
                  <a:pt x="4013" y="1440"/>
                  <a:pt x="4011" y="1440"/>
                  <a:pt x="4009" y="1442"/>
                </a:cubicBezTo>
                <a:cubicBezTo>
                  <a:pt x="4006" y="1446"/>
                  <a:pt x="4004" y="1450"/>
                  <a:pt x="4004" y="1455"/>
                </a:cubicBezTo>
                <a:cubicBezTo>
                  <a:pt x="4004" y="1459"/>
                  <a:pt x="4006" y="1463"/>
                  <a:pt x="4010" y="1466"/>
                </a:cubicBezTo>
                <a:cubicBezTo>
                  <a:pt x="4013" y="1469"/>
                  <a:pt x="4017" y="1470"/>
                  <a:pt x="4022" y="1470"/>
                </a:cubicBezTo>
                <a:close/>
                <a:moveTo>
                  <a:pt x="4825" y="1720"/>
                </a:moveTo>
                <a:cubicBezTo>
                  <a:pt x="4825" y="1720"/>
                  <a:pt x="4825" y="1720"/>
                  <a:pt x="4825" y="1720"/>
                </a:cubicBezTo>
                <a:cubicBezTo>
                  <a:pt x="4824" y="1720"/>
                  <a:pt x="4822" y="1719"/>
                  <a:pt x="4821" y="1719"/>
                </a:cubicBezTo>
                <a:cubicBezTo>
                  <a:pt x="4816" y="1720"/>
                  <a:pt x="4812" y="1722"/>
                  <a:pt x="4808" y="1725"/>
                </a:cubicBezTo>
                <a:cubicBezTo>
                  <a:pt x="4797" y="1735"/>
                  <a:pt x="4787" y="1751"/>
                  <a:pt x="4787" y="1752"/>
                </a:cubicBezTo>
                <a:cubicBezTo>
                  <a:pt x="4786" y="1753"/>
                  <a:pt x="4786" y="1755"/>
                  <a:pt x="4786" y="1757"/>
                </a:cubicBezTo>
                <a:cubicBezTo>
                  <a:pt x="4787" y="1758"/>
                  <a:pt x="4788" y="1759"/>
                  <a:pt x="4789" y="1759"/>
                </a:cubicBezTo>
                <a:cubicBezTo>
                  <a:pt x="4792" y="1760"/>
                  <a:pt x="4794" y="1760"/>
                  <a:pt x="4796" y="1760"/>
                </a:cubicBezTo>
                <a:cubicBezTo>
                  <a:pt x="4797" y="1760"/>
                  <a:pt x="4797" y="1760"/>
                  <a:pt x="4797" y="1760"/>
                </a:cubicBezTo>
                <a:cubicBezTo>
                  <a:pt x="4806" y="1760"/>
                  <a:pt x="4813" y="1755"/>
                  <a:pt x="4820" y="1749"/>
                </a:cubicBezTo>
                <a:cubicBezTo>
                  <a:pt x="4826" y="1743"/>
                  <a:pt x="4831" y="1737"/>
                  <a:pt x="4831" y="1729"/>
                </a:cubicBezTo>
                <a:cubicBezTo>
                  <a:pt x="4832" y="1726"/>
                  <a:pt x="4829" y="1722"/>
                  <a:pt x="4825" y="1720"/>
                </a:cubicBezTo>
                <a:close/>
                <a:moveTo>
                  <a:pt x="4791" y="2070"/>
                </a:moveTo>
                <a:cubicBezTo>
                  <a:pt x="4787" y="2070"/>
                  <a:pt x="4785" y="2072"/>
                  <a:pt x="4784" y="2072"/>
                </a:cubicBezTo>
                <a:cubicBezTo>
                  <a:pt x="4782" y="2073"/>
                  <a:pt x="4782" y="2073"/>
                  <a:pt x="4782" y="2073"/>
                </a:cubicBezTo>
                <a:cubicBezTo>
                  <a:pt x="4781" y="2073"/>
                  <a:pt x="4780" y="2073"/>
                  <a:pt x="4777" y="2071"/>
                </a:cubicBezTo>
                <a:cubicBezTo>
                  <a:pt x="4771" y="2067"/>
                  <a:pt x="4770" y="2066"/>
                  <a:pt x="4769" y="2066"/>
                </a:cubicBezTo>
                <a:cubicBezTo>
                  <a:pt x="4769" y="2065"/>
                  <a:pt x="4767" y="2062"/>
                  <a:pt x="4764" y="2055"/>
                </a:cubicBezTo>
                <a:cubicBezTo>
                  <a:pt x="4761" y="2050"/>
                  <a:pt x="4759" y="2044"/>
                  <a:pt x="4757" y="2038"/>
                </a:cubicBezTo>
                <a:cubicBezTo>
                  <a:pt x="4756" y="2035"/>
                  <a:pt x="4755" y="2033"/>
                  <a:pt x="4753" y="2030"/>
                </a:cubicBezTo>
                <a:cubicBezTo>
                  <a:pt x="4751" y="2028"/>
                  <a:pt x="4748" y="2026"/>
                  <a:pt x="4744" y="2026"/>
                </a:cubicBezTo>
                <a:cubicBezTo>
                  <a:pt x="4741" y="2026"/>
                  <a:pt x="4738" y="2027"/>
                  <a:pt x="4736" y="2028"/>
                </a:cubicBezTo>
                <a:cubicBezTo>
                  <a:pt x="4731" y="2031"/>
                  <a:pt x="4731" y="2035"/>
                  <a:pt x="4731" y="2038"/>
                </a:cubicBezTo>
                <a:cubicBezTo>
                  <a:pt x="4731" y="2046"/>
                  <a:pt x="4734" y="2055"/>
                  <a:pt x="4739" y="2061"/>
                </a:cubicBezTo>
                <a:cubicBezTo>
                  <a:pt x="4740" y="2061"/>
                  <a:pt x="4741" y="2065"/>
                  <a:pt x="4742" y="2070"/>
                </a:cubicBezTo>
                <a:cubicBezTo>
                  <a:pt x="4743" y="2074"/>
                  <a:pt x="4744" y="2080"/>
                  <a:pt x="4744" y="2083"/>
                </a:cubicBezTo>
                <a:cubicBezTo>
                  <a:pt x="4744" y="2084"/>
                  <a:pt x="4743" y="2085"/>
                  <a:pt x="4743" y="2085"/>
                </a:cubicBezTo>
                <a:cubicBezTo>
                  <a:pt x="4743" y="2086"/>
                  <a:pt x="4740" y="2088"/>
                  <a:pt x="4737" y="2091"/>
                </a:cubicBezTo>
                <a:cubicBezTo>
                  <a:pt x="4734" y="2093"/>
                  <a:pt x="4730" y="2096"/>
                  <a:pt x="4729" y="2102"/>
                </a:cubicBezTo>
                <a:cubicBezTo>
                  <a:pt x="4729" y="2106"/>
                  <a:pt x="4732" y="2109"/>
                  <a:pt x="4734" y="2111"/>
                </a:cubicBezTo>
                <a:cubicBezTo>
                  <a:pt x="4741" y="2116"/>
                  <a:pt x="4748" y="2116"/>
                  <a:pt x="4753" y="2116"/>
                </a:cubicBezTo>
                <a:cubicBezTo>
                  <a:pt x="4754" y="2116"/>
                  <a:pt x="4754" y="2116"/>
                  <a:pt x="4755" y="2116"/>
                </a:cubicBezTo>
                <a:cubicBezTo>
                  <a:pt x="4753" y="2120"/>
                  <a:pt x="4750" y="2125"/>
                  <a:pt x="4750" y="2131"/>
                </a:cubicBezTo>
                <a:cubicBezTo>
                  <a:pt x="4749" y="2129"/>
                  <a:pt x="4747" y="2127"/>
                  <a:pt x="4744" y="2125"/>
                </a:cubicBezTo>
                <a:cubicBezTo>
                  <a:pt x="4743" y="2123"/>
                  <a:pt x="4740" y="2121"/>
                  <a:pt x="4738" y="2119"/>
                </a:cubicBezTo>
                <a:cubicBezTo>
                  <a:pt x="4736" y="2117"/>
                  <a:pt x="4735" y="2115"/>
                  <a:pt x="4730" y="2115"/>
                </a:cubicBezTo>
                <a:cubicBezTo>
                  <a:pt x="4728" y="2114"/>
                  <a:pt x="4724" y="2118"/>
                  <a:pt x="4724" y="2120"/>
                </a:cubicBezTo>
                <a:cubicBezTo>
                  <a:pt x="4724" y="2121"/>
                  <a:pt x="4722" y="2122"/>
                  <a:pt x="4719" y="2124"/>
                </a:cubicBezTo>
                <a:cubicBezTo>
                  <a:pt x="4716" y="2126"/>
                  <a:pt x="4711" y="2128"/>
                  <a:pt x="4707" y="2132"/>
                </a:cubicBezTo>
                <a:cubicBezTo>
                  <a:pt x="4703" y="2137"/>
                  <a:pt x="4702" y="2141"/>
                  <a:pt x="4701" y="2143"/>
                </a:cubicBezTo>
                <a:cubicBezTo>
                  <a:pt x="4700" y="2145"/>
                  <a:pt x="4698" y="2148"/>
                  <a:pt x="4688" y="2155"/>
                </a:cubicBezTo>
                <a:cubicBezTo>
                  <a:pt x="4669" y="2169"/>
                  <a:pt x="4645" y="2183"/>
                  <a:pt x="4638" y="2199"/>
                </a:cubicBezTo>
                <a:cubicBezTo>
                  <a:pt x="4637" y="2202"/>
                  <a:pt x="4636" y="2205"/>
                  <a:pt x="4636" y="2207"/>
                </a:cubicBezTo>
                <a:cubicBezTo>
                  <a:pt x="4636" y="2214"/>
                  <a:pt x="4640" y="2220"/>
                  <a:pt x="4646" y="2223"/>
                </a:cubicBezTo>
                <a:cubicBezTo>
                  <a:pt x="4651" y="2226"/>
                  <a:pt x="4658" y="2228"/>
                  <a:pt x="4666" y="2228"/>
                </a:cubicBezTo>
                <a:cubicBezTo>
                  <a:pt x="4673" y="2229"/>
                  <a:pt x="4676" y="2230"/>
                  <a:pt x="4680" y="2230"/>
                </a:cubicBezTo>
                <a:cubicBezTo>
                  <a:pt x="4680" y="2230"/>
                  <a:pt x="4680" y="2230"/>
                  <a:pt x="4680" y="2230"/>
                </a:cubicBezTo>
                <a:cubicBezTo>
                  <a:pt x="4684" y="2230"/>
                  <a:pt x="4687" y="2228"/>
                  <a:pt x="4689" y="2225"/>
                </a:cubicBezTo>
                <a:cubicBezTo>
                  <a:pt x="4692" y="2223"/>
                  <a:pt x="4694" y="2220"/>
                  <a:pt x="4698" y="2215"/>
                </a:cubicBezTo>
                <a:cubicBezTo>
                  <a:pt x="4710" y="2199"/>
                  <a:pt x="4721" y="2189"/>
                  <a:pt x="4736" y="2176"/>
                </a:cubicBezTo>
                <a:cubicBezTo>
                  <a:pt x="4750" y="2162"/>
                  <a:pt x="4753" y="2145"/>
                  <a:pt x="4753" y="2139"/>
                </a:cubicBezTo>
                <a:cubicBezTo>
                  <a:pt x="4755" y="2141"/>
                  <a:pt x="4757" y="2142"/>
                  <a:pt x="4759" y="2143"/>
                </a:cubicBezTo>
                <a:cubicBezTo>
                  <a:pt x="4761" y="2143"/>
                  <a:pt x="4762" y="2143"/>
                  <a:pt x="4764" y="2143"/>
                </a:cubicBezTo>
                <a:cubicBezTo>
                  <a:pt x="4771" y="2143"/>
                  <a:pt x="4775" y="2138"/>
                  <a:pt x="4778" y="2134"/>
                </a:cubicBezTo>
                <a:cubicBezTo>
                  <a:pt x="4781" y="2129"/>
                  <a:pt x="4783" y="2124"/>
                  <a:pt x="4785" y="2120"/>
                </a:cubicBezTo>
                <a:cubicBezTo>
                  <a:pt x="4789" y="2110"/>
                  <a:pt x="4793" y="2103"/>
                  <a:pt x="4799" y="2099"/>
                </a:cubicBezTo>
                <a:cubicBezTo>
                  <a:pt x="4803" y="2096"/>
                  <a:pt x="4805" y="2091"/>
                  <a:pt x="4805" y="2088"/>
                </a:cubicBezTo>
                <a:cubicBezTo>
                  <a:pt x="4805" y="2083"/>
                  <a:pt x="4803" y="2079"/>
                  <a:pt x="4801" y="2076"/>
                </a:cubicBezTo>
                <a:cubicBezTo>
                  <a:pt x="4798" y="2073"/>
                  <a:pt x="4796" y="2070"/>
                  <a:pt x="4791" y="2070"/>
                </a:cubicBezTo>
                <a:close/>
                <a:moveTo>
                  <a:pt x="4639" y="1836"/>
                </a:moveTo>
                <a:cubicBezTo>
                  <a:pt x="4646" y="1836"/>
                  <a:pt x="4651" y="1831"/>
                  <a:pt x="4652" y="1824"/>
                </a:cubicBezTo>
                <a:cubicBezTo>
                  <a:pt x="4646" y="1823"/>
                  <a:pt x="4646" y="1823"/>
                  <a:pt x="4646" y="1823"/>
                </a:cubicBezTo>
                <a:cubicBezTo>
                  <a:pt x="4652" y="1825"/>
                  <a:pt x="4652" y="1825"/>
                  <a:pt x="4652" y="1825"/>
                </a:cubicBezTo>
                <a:cubicBezTo>
                  <a:pt x="4652" y="1823"/>
                  <a:pt x="4652" y="1822"/>
                  <a:pt x="4652" y="1821"/>
                </a:cubicBezTo>
                <a:cubicBezTo>
                  <a:pt x="4652" y="1811"/>
                  <a:pt x="4644" y="1801"/>
                  <a:pt x="4624" y="1796"/>
                </a:cubicBezTo>
                <a:cubicBezTo>
                  <a:pt x="4620" y="1795"/>
                  <a:pt x="4617" y="1794"/>
                  <a:pt x="4614" y="1794"/>
                </a:cubicBezTo>
                <a:cubicBezTo>
                  <a:pt x="4613" y="1794"/>
                  <a:pt x="4611" y="1794"/>
                  <a:pt x="4609" y="1795"/>
                </a:cubicBezTo>
                <a:cubicBezTo>
                  <a:pt x="4607" y="1796"/>
                  <a:pt x="4606" y="1799"/>
                  <a:pt x="4606" y="1802"/>
                </a:cubicBezTo>
                <a:cubicBezTo>
                  <a:pt x="4606" y="1805"/>
                  <a:pt x="4607" y="1806"/>
                  <a:pt x="4608" y="1807"/>
                </a:cubicBezTo>
                <a:cubicBezTo>
                  <a:pt x="4610" y="1812"/>
                  <a:pt x="4615" y="1816"/>
                  <a:pt x="4617" y="1821"/>
                </a:cubicBezTo>
                <a:cubicBezTo>
                  <a:pt x="4623" y="1829"/>
                  <a:pt x="4630" y="1836"/>
                  <a:pt x="4639" y="1836"/>
                </a:cubicBezTo>
                <a:cubicBezTo>
                  <a:pt x="4639" y="1836"/>
                  <a:pt x="4639" y="1836"/>
                  <a:pt x="4639" y="1836"/>
                </a:cubicBezTo>
                <a:close/>
                <a:moveTo>
                  <a:pt x="2422" y="804"/>
                </a:moveTo>
                <a:cubicBezTo>
                  <a:pt x="2416" y="804"/>
                  <a:pt x="2413" y="808"/>
                  <a:pt x="2409" y="815"/>
                </a:cubicBezTo>
                <a:cubicBezTo>
                  <a:pt x="2409" y="816"/>
                  <a:pt x="2408" y="817"/>
                  <a:pt x="2408" y="819"/>
                </a:cubicBezTo>
                <a:cubicBezTo>
                  <a:pt x="2408" y="823"/>
                  <a:pt x="2411" y="826"/>
                  <a:pt x="2413" y="827"/>
                </a:cubicBezTo>
                <a:cubicBezTo>
                  <a:pt x="2415" y="828"/>
                  <a:pt x="2417" y="828"/>
                  <a:pt x="2420" y="828"/>
                </a:cubicBezTo>
                <a:cubicBezTo>
                  <a:pt x="2424" y="828"/>
                  <a:pt x="2429" y="827"/>
                  <a:pt x="2432" y="821"/>
                </a:cubicBezTo>
                <a:cubicBezTo>
                  <a:pt x="2432" y="821"/>
                  <a:pt x="2432" y="821"/>
                  <a:pt x="2432" y="821"/>
                </a:cubicBezTo>
                <a:cubicBezTo>
                  <a:pt x="2432" y="819"/>
                  <a:pt x="2433" y="818"/>
                  <a:pt x="2433" y="816"/>
                </a:cubicBezTo>
                <a:cubicBezTo>
                  <a:pt x="2433" y="813"/>
                  <a:pt x="2432" y="811"/>
                  <a:pt x="2430" y="809"/>
                </a:cubicBezTo>
                <a:cubicBezTo>
                  <a:pt x="2429" y="806"/>
                  <a:pt x="2426" y="804"/>
                  <a:pt x="2422" y="804"/>
                </a:cubicBezTo>
                <a:close/>
                <a:moveTo>
                  <a:pt x="4023" y="1526"/>
                </a:moveTo>
                <a:cubicBezTo>
                  <a:pt x="4023" y="1530"/>
                  <a:pt x="4024" y="1536"/>
                  <a:pt x="4028" y="1543"/>
                </a:cubicBezTo>
                <a:cubicBezTo>
                  <a:pt x="4037" y="1556"/>
                  <a:pt x="4051" y="1557"/>
                  <a:pt x="4055" y="1557"/>
                </a:cubicBezTo>
                <a:cubicBezTo>
                  <a:pt x="4056" y="1557"/>
                  <a:pt x="4057" y="1557"/>
                  <a:pt x="4057" y="1557"/>
                </a:cubicBezTo>
                <a:cubicBezTo>
                  <a:pt x="4060" y="1557"/>
                  <a:pt x="4063" y="1554"/>
                  <a:pt x="4063" y="1551"/>
                </a:cubicBezTo>
                <a:cubicBezTo>
                  <a:pt x="4063" y="1550"/>
                  <a:pt x="4062" y="1542"/>
                  <a:pt x="4060" y="1532"/>
                </a:cubicBezTo>
                <a:cubicBezTo>
                  <a:pt x="4058" y="1522"/>
                  <a:pt x="4055" y="1511"/>
                  <a:pt x="4046" y="1504"/>
                </a:cubicBezTo>
                <a:cubicBezTo>
                  <a:pt x="4044" y="1503"/>
                  <a:pt x="4043" y="1502"/>
                  <a:pt x="4041" y="1501"/>
                </a:cubicBezTo>
                <a:cubicBezTo>
                  <a:pt x="4042" y="1501"/>
                  <a:pt x="4043" y="1501"/>
                  <a:pt x="4043" y="1501"/>
                </a:cubicBezTo>
                <a:cubicBezTo>
                  <a:pt x="4049" y="1501"/>
                  <a:pt x="4053" y="1500"/>
                  <a:pt x="4057" y="1497"/>
                </a:cubicBezTo>
                <a:cubicBezTo>
                  <a:pt x="4061" y="1495"/>
                  <a:pt x="4063" y="1490"/>
                  <a:pt x="4063" y="1486"/>
                </a:cubicBezTo>
                <a:cubicBezTo>
                  <a:pt x="4063" y="1484"/>
                  <a:pt x="4063" y="1482"/>
                  <a:pt x="4062" y="1480"/>
                </a:cubicBezTo>
                <a:cubicBezTo>
                  <a:pt x="4058" y="1471"/>
                  <a:pt x="4050" y="1471"/>
                  <a:pt x="4043" y="1471"/>
                </a:cubicBezTo>
                <a:cubicBezTo>
                  <a:pt x="4035" y="1471"/>
                  <a:pt x="4027" y="1472"/>
                  <a:pt x="4023" y="1473"/>
                </a:cubicBezTo>
                <a:cubicBezTo>
                  <a:pt x="4023" y="1473"/>
                  <a:pt x="4023" y="1473"/>
                  <a:pt x="4022" y="1473"/>
                </a:cubicBezTo>
                <a:cubicBezTo>
                  <a:pt x="4021" y="1473"/>
                  <a:pt x="4017" y="1472"/>
                  <a:pt x="4015" y="1471"/>
                </a:cubicBezTo>
                <a:cubicBezTo>
                  <a:pt x="4012" y="1470"/>
                  <a:pt x="4010" y="1469"/>
                  <a:pt x="4010" y="1469"/>
                </a:cubicBezTo>
                <a:cubicBezTo>
                  <a:pt x="4009" y="1467"/>
                  <a:pt x="4007" y="1467"/>
                  <a:pt x="4005" y="1468"/>
                </a:cubicBezTo>
                <a:cubicBezTo>
                  <a:pt x="3999" y="1470"/>
                  <a:pt x="3996" y="1475"/>
                  <a:pt x="3995" y="1480"/>
                </a:cubicBezTo>
                <a:cubicBezTo>
                  <a:pt x="3994" y="1485"/>
                  <a:pt x="3994" y="1489"/>
                  <a:pt x="3993" y="1496"/>
                </a:cubicBezTo>
                <a:cubicBezTo>
                  <a:pt x="3992" y="1504"/>
                  <a:pt x="3986" y="1511"/>
                  <a:pt x="3986" y="1520"/>
                </a:cubicBezTo>
                <a:cubicBezTo>
                  <a:pt x="3986" y="1525"/>
                  <a:pt x="3988" y="1529"/>
                  <a:pt x="3992" y="1532"/>
                </a:cubicBezTo>
                <a:cubicBezTo>
                  <a:pt x="3994" y="1534"/>
                  <a:pt x="3996" y="1534"/>
                  <a:pt x="3999" y="1534"/>
                </a:cubicBezTo>
                <a:cubicBezTo>
                  <a:pt x="4007" y="1534"/>
                  <a:pt x="4011" y="1529"/>
                  <a:pt x="4016" y="1525"/>
                </a:cubicBezTo>
                <a:cubicBezTo>
                  <a:pt x="4019" y="1522"/>
                  <a:pt x="4021" y="1520"/>
                  <a:pt x="4022" y="1519"/>
                </a:cubicBezTo>
                <a:cubicBezTo>
                  <a:pt x="4023" y="1521"/>
                  <a:pt x="4023" y="1523"/>
                  <a:pt x="4023" y="1526"/>
                </a:cubicBezTo>
                <a:close/>
                <a:moveTo>
                  <a:pt x="4598" y="517"/>
                </a:moveTo>
                <a:cubicBezTo>
                  <a:pt x="4598" y="516"/>
                  <a:pt x="4598" y="514"/>
                  <a:pt x="4599" y="511"/>
                </a:cubicBezTo>
                <a:cubicBezTo>
                  <a:pt x="4603" y="504"/>
                  <a:pt x="4605" y="498"/>
                  <a:pt x="4608" y="496"/>
                </a:cubicBezTo>
                <a:cubicBezTo>
                  <a:pt x="4611" y="493"/>
                  <a:pt x="4618" y="490"/>
                  <a:pt x="4634" y="490"/>
                </a:cubicBezTo>
                <a:cubicBezTo>
                  <a:pt x="4662" y="490"/>
                  <a:pt x="4659" y="492"/>
                  <a:pt x="4672" y="492"/>
                </a:cubicBezTo>
                <a:cubicBezTo>
                  <a:pt x="4676" y="492"/>
                  <a:pt x="4680" y="492"/>
                  <a:pt x="4685" y="491"/>
                </a:cubicBezTo>
                <a:cubicBezTo>
                  <a:pt x="4700" y="491"/>
                  <a:pt x="4711" y="485"/>
                  <a:pt x="4721" y="480"/>
                </a:cubicBezTo>
                <a:cubicBezTo>
                  <a:pt x="4730" y="474"/>
                  <a:pt x="4739" y="469"/>
                  <a:pt x="4751" y="465"/>
                </a:cubicBezTo>
                <a:cubicBezTo>
                  <a:pt x="4771" y="458"/>
                  <a:pt x="4788" y="454"/>
                  <a:pt x="4797" y="454"/>
                </a:cubicBezTo>
                <a:cubicBezTo>
                  <a:pt x="4800" y="454"/>
                  <a:pt x="4801" y="454"/>
                  <a:pt x="4802" y="455"/>
                </a:cubicBezTo>
                <a:cubicBezTo>
                  <a:pt x="4805" y="456"/>
                  <a:pt x="4809" y="457"/>
                  <a:pt x="4812" y="457"/>
                </a:cubicBezTo>
                <a:cubicBezTo>
                  <a:pt x="4815" y="457"/>
                  <a:pt x="4818" y="457"/>
                  <a:pt x="4821" y="455"/>
                </a:cubicBezTo>
                <a:cubicBezTo>
                  <a:pt x="4823" y="454"/>
                  <a:pt x="4826" y="450"/>
                  <a:pt x="4826" y="447"/>
                </a:cubicBezTo>
                <a:cubicBezTo>
                  <a:pt x="4826" y="443"/>
                  <a:pt x="4824" y="440"/>
                  <a:pt x="4822" y="437"/>
                </a:cubicBezTo>
                <a:cubicBezTo>
                  <a:pt x="4818" y="433"/>
                  <a:pt x="4813" y="428"/>
                  <a:pt x="4809" y="424"/>
                </a:cubicBezTo>
                <a:cubicBezTo>
                  <a:pt x="4808" y="423"/>
                  <a:pt x="4806" y="421"/>
                  <a:pt x="4805" y="420"/>
                </a:cubicBezTo>
                <a:cubicBezTo>
                  <a:pt x="4809" y="419"/>
                  <a:pt x="4812" y="418"/>
                  <a:pt x="4816" y="416"/>
                </a:cubicBezTo>
                <a:cubicBezTo>
                  <a:pt x="4821" y="413"/>
                  <a:pt x="4826" y="409"/>
                  <a:pt x="4828" y="402"/>
                </a:cubicBezTo>
                <a:cubicBezTo>
                  <a:pt x="4828" y="400"/>
                  <a:pt x="4828" y="398"/>
                  <a:pt x="4828" y="396"/>
                </a:cubicBezTo>
                <a:cubicBezTo>
                  <a:pt x="4828" y="385"/>
                  <a:pt x="4821" y="374"/>
                  <a:pt x="4822" y="367"/>
                </a:cubicBezTo>
                <a:cubicBezTo>
                  <a:pt x="4822" y="365"/>
                  <a:pt x="4822" y="364"/>
                  <a:pt x="4823" y="362"/>
                </a:cubicBezTo>
                <a:cubicBezTo>
                  <a:pt x="4826" y="359"/>
                  <a:pt x="4827" y="355"/>
                  <a:pt x="4827" y="351"/>
                </a:cubicBezTo>
                <a:cubicBezTo>
                  <a:pt x="4827" y="344"/>
                  <a:pt x="4823" y="338"/>
                  <a:pt x="4818" y="334"/>
                </a:cubicBezTo>
                <a:cubicBezTo>
                  <a:pt x="4813" y="330"/>
                  <a:pt x="4807" y="326"/>
                  <a:pt x="4801" y="325"/>
                </a:cubicBezTo>
                <a:cubicBezTo>
                  <a:pt x="4798" y="324"/>
                  <a:pt x="4793" y="324"/>
                  <a:pt x="4788" y="324"/>
                </a:cubicBezTo>
                <a:cubicBezTo>
                  <a:pt x="4778" y="324"/>
                  <a:pt x="4766" y="325"/>
                  <a:pt x="4756" y="325"/>
                </a:cubicBezTo>
                <a:cubicBezTo>
                  <a:pt x="4746" y="325"/>
                  <a:pt x="4738" y="323"/>
                  <a:pt x="4737" y="323"/>
                </a:cubicBezTo>
                <a:cubicBezTo>
                  <a:pt x="4730" y="318"/>
                  <a:pt x="4719" y="313"/>
                  <a:pt x="4710" y="312"/>
                </a:cubicBezTo>
                <a:cubicBezTo>
                  <a:pt x="4707" y="312"/>
                  <a:pt x="4704" y="313"/>
                  <a:pt x="4702" y="315"/>
                </a:cubicBezTo>
                <a:cubicBezTo>
                  <a:pt x="4698" y="319"/>
                  <a:pt x="4695" y="325"/>
                  <a:pt x="4691" y="332"/>
                </a:cubicBezTo>
                <a:cubicBezTo>
                  <a:pt x="4689" y="335"/>
                  <a:pt x="4688" y="338"/>
                  <a:pt x="4687" y="340"/>
                </a:cubicBezTo>
                <a:cubicBezTo>
                  <a:pt x="4686" y="339"/>
                  <a:pt x="4684" y="338"/>
                  <a:pt x="4681" y="333"/>
                </a:cubicBezTo>
                <a:cubicBezTo>
                  <a:pt x="4676" y="325"/>
                  <a:pt x="4666" y="323"/>
                  <a:pt x="4657" y="321"/>
                </a:cubicBezTo>
                <a:cubicBezTo>
                  <a:pt x="4647" y="319"/>
                  <a:pt x="4636" y="319"/>
                  <a:pt x="4628" y="319"/>
                </a:cubicBezTo>
                <a:cubicBezTo>
                  <a:pt x="4624" y="319"/>
                  <a:pt x="4621" y="319"/>
                  <a:pt x="4619" y="319"/>
                </a:cubicBezTo>
                <a:cubicBezTo>
                  <a:pt x="4607" y="319"/>
                  <a:pt x="4594" y="322"/>
                  <a:pt x="4582" y="323"/>
                </a:cubicBezTo>
                <a:cubicBezTo>
                  <a:pt x="4575" y="324"/>
                  <a:pt x="4570" y="326"/>
                  <a:pt x="4567" y="325"/>
                </a:cubicBezTo>
                <a:cubicBezTo>
                  <a:pt x="4564" y="325"/>
                  <a:pt x="4562" y="325"/>
                  <a:pt x="4558" y="321"/>
                </a:cubicBezTo>
                <a:cubicBezTo>
                  <a:pt x="4548" y="310"/>
                  <a:pt x="4534" y="306"/>
                  <a:pt x="4531" y="303"/>
                </a:cubicBezTo>
                <a:cubicBezTo>
                  <a:pt x="4528" y="300"/>
                  <a:pt x="4524" y="300"/>
                  <a:pt x="4520" y="299"/>
                </a:cubicBezTo>
                <a:cubicBezTo>
                  <a:pt x="4516" y="298"/>
                  <a:pt x="4511" y="298"/>
                  <a:pt x="4505" y="298"/>
                </a:cubicBezTo>
                <a:cubicBezTo>
                  <a:pt x="4496" y="298"/>
                  <a:pt x="4486" y="299"/>
                  <a:pt x="4477" y="300"/>
                </a:cubicBezTo>
                <a:cubicBezTo>
                  <a:pt x="4461" y="302"/>
                  <a:pt x="4445" y="303"/>
                  <a:pt x="4440" y="303"/>
                </a:cubicBezTo>
                <a:cubicBezTo>
                  <a:pt x="4439" y="302"/>
                  <a:pt x="4437" y="301"/>
                  <a:pt x="4435" y="300"/>
                </a:cubicBezTo>
                <a:cubicBezTo>
                  <a:pt x="4431" y="298"/>
                  <a:pt x="4426" y="295"/>
                  <a:pt x="4419" y="290"/>
                </a:cubicBezTo>
                <a:cubicBezTo>
                  <a:pt x="4412" y="285"/>
                  <a:pt x="4405" y="281"/>
                  <a:pt x="4399" y="278"/>
                </a:cubicBezTo>
                <a:cubicBezTo>
                  <a:pt x="4393" y="275"/>
                  <a:pt x="4388" y="273"/>
                  <a:pt x="4383" y="272"/>
                </a:cubicBezTo>
                <a:cubicBezTo>
                  <a:pt x="4379" y="272"/>
                  <a:pt x="4363" y="275"/>
                  <a:pt x="4350" y="275"/>
                </a:cubicBezTo>
                <a:cubicBezTo>
                  <a:pt x="4344" y="276"/>
                  <a:pt x="4339" y="274"/>
                  <a:pt x="4339" y="274"/>
                </a:cubicBezTo>
                <a:cubicBezTo>
                  <a:pt x="4331" y="267"/>
                  <a:pt x="4324" y="263"/>
                  <a:pt x="4316" y="262"/>
                </a:cubicBezTo>
                <a:cubicBezTo>
                  <a:pt x="4321" y="260"/>
                  <a:pt x="4327" y="259"/>
                  <a:pt x="4334" y="257"/>
                </a:cubicBezTo>
                <a:cubicBezTo>
                  <a:pt x="4343" y="254"/>
                  <a:pt x="4351" y="251"/>
                  <a:pt x="4351" y="251"/>
                </a:cubicBezTo>
                <a:cubicBezTo>
                  <a:pt x="4353" y="250"/>
                  <a:pt x="4354" y="249"/>
                  <a:pt x="4355" y="247"/>
                </a:cubicBezTo>
                <a:cubicBezTo>
                  <a:pt x="4355" y="246"/>
                  <a:pt x="4355" y="244"/>
                  <a:pt x="4354" y="242"/>
                </a:cubicBezTo>
                <a:cubicBezTo>
                  <a:pt x="4354" y="242"/>
                  <a:pt x="4351" y="238"/>
                  <a:pt x="4347" y="234"/>
                </a:cubicBezTo>
                <a:cubicBezTo>
                  <a:pt x="4343" y="229"/>
                  <a:pt x="4337" y="224"/>
                  <a:pt x="4328" y="224"/>
                </a:cubicBezTo>
                <a:cubicBezTo>
                  <a:pt x="4324" y="224"/>
                  <a:pt x="4316" y="223"/>
                  <a:pt x="4308" y="221"/>
                </a:cubicBezTo>
                <a:cubicBezTo>
                  <a:pt x="4301" y="219"/>
                  <a:pt x="4295" y="217"/>
                  <a:pt x="4290" y="217"/>
                </a:cubicBezTo>
                <a:cubicBezTo>
                  <a:pt x="4288" y="217"/>
                  <a:pt x="4285" y="218"/>
                  <a:pt x="4284" y="219"/>
                </a:cubicBezTo>
                <a:cubicBezTo>
                  <a:pt x="4283" y="220"/>
                  <a:pt x="4282" y="221"/>
                  <a:pt x="4282" y="222"/>
                </a:cubicBezTo>
                <a:cubicBezTo>
                  <a:pt x="4281" y="222"/>
                  <a:pt x="4280" y="222"/>
                  <a:pt x="4279" y="222"/>
                </a:cubicBezTo>
                <a:cubicBezTo>
                  <a:pt x="4271" y="220"/>
                  <a:pt x="4264" y="216"/>
                  <a:pt x="4255" y="216"/>
                </a:cubicBezTo>
                <a:cubicBezTo>
                  <a:pt x="4251" y="216"/>
                  <a:pt x="4247" y="217"/>
                  <a:pt x="4244" y="220"/>
                </a:cubicBezTo>
                <a:cubicBezTo>
                  <a:pt x="4242" y="222"/>
                  <a:pt x="4239" y="224"/>
                  <a:pt x="4235" y="226"/>
                </a:cubicBezTo>
                <a:cubicBezTo>
                  <a:pt x="4232" y="229"/>
                  <a:pt x="4229" y="232"/>
                  <a:pt x="4228" y="238"/>
                </a:cubicBezTo>
                <a:cubicBezTo>
                  <a:pt x="4228" y="241"/>
                  <a:pt x="4230" y="244"/>
                  <a:pt x="4232" y="246"/>
                </a:cubicBezTo>
                <a:cubicBezTo>
                  <a:pt x="4234" y="248"/>
                  <a:pt x="4237" y="249"/>
                  <a:pt x="4240" y="250"/>
                </a:cubicBezTo>
                <a:cubicBezTo>
                  <a:pt x="4250" y="253"/>
                  <a:pt x="4259" y="253"/>
                  <a:pt x="4265" y="253"/>
                </a:cubicBezTo>
                <a:cubicBezTo>
                  <a:pt x="4272" y="253"/>
                  <a:pt x="4275" y="255"/>
                  <a:pt x="4275" y="255"/>
                </a:cubicBezTo>
                <a:cubicBezTo>
                  <a:pt x="4276" y="257"/>
                  <a:pt x="4276" y="258"/>
                  <a:pt x="4276" y="259"/>
                </a:cubicBezTo>
                <a:cubicBezTo>
                  <a:pt x="4276" y="261"/>
                  <a:pt x="4274" y="264"/>
                  <a:pt x="4274" y="270"/>
                </a:cubicBezTo>
                <a:cubicBezTo>
                  <a:pt x="4274" y="270"/>
                  <a:pt x="4272" y="276"/>
                  <a:pt x="4269" y="280"/>
                </a:cubicBezTo>
                <a:cubicBezTo>
                  <a:pt x="4267" y="284"/>
                  <a:pt x="4263" y="288"/>
                  <a:pt x="4262" y="288"/>
                </a:cubicBezTo>
                <a:cubicBezTo>
                  <a:pt x="4262" y="288"/>
                  <a:pt x="4262" y="288"/>
                  <a:pt x="4262" y="288"/>
                </a:cubicBezTo>
                <a:cubicBezTo>
                  <a:pt x="4260" y="288"/>
                  <a:pt x="4257" y="287"/>
                  <a:pt x="4251" y="287"/>
                </a:cubicBezTo>
                <a:cubicBezTo>
                  <a:pt x="4248" y="287"/>
                  <a:pt x="4243" y="289"/>
                  <a:pt x="4238" y="292"/>
                </a:cubicBezTo>
                <a:cubicBezTo>
                  <a:pt x="4234" y="294"/>
                  <a:pt x="4224" y="296"/>
                  <a:pt x="4216" y="296"/>
                </a:cubicBezTo>
                <a:cubicBezTo>
                  <a:pt x="4213" y="296"/>
                  <a:pt x="4211" y="296"/>
                  <a:pt x="4210" y="296"/>
                </a:cubicBezTo>
                <a:cubicBezTo>
                  <a:pt x="4206" y="296"/>
                  <a:pt x="4203" y="295"/>
                  <a:pt x="4201" y="295"/>
                </a:cubicBezTo>
                <a:cubicBezTo>
                  <a:pt x="4199" y="296"/>
                  <a:pt x="4197" y="295"/>
                  <a:pt x="4196" y="296"/>
                </a:cubicBezTo>
                <a:cubicBezTo>
                  <a:pt x="4195" y="295"/>
                  <a:pt x="4194" y="294"/>
                  <a:pt x="4193" y="293"/>
                </a:cubicBezTo>
                <a:cubicBezTo>
                  <a:pt x="4190" y="291"/>
                  <a:pt x="4188" y="288"/>
                  <a:pt x="4182" y="287"/>
                </a:cubicBezTo>
                <a:cubicBezTo>
                  <a:pt x="4181" y="287"/>
                  <a:pt x="4180" y="288"/>
                  <a:pt x="4178" y="288"/>
                </a:cubicBezTo>
                <a:cubicBezTo>
                  <a:pt x="4174" y="291"/>
                  <a:pt x="4169" y="295"/>
                  <a:pt x="4164" y="300"/>
                </a:cubicBezTo>
                <a:cubicBezTo>
                  <a:pt x="4159" y="304"/>
                  <a:pt x="4152" y="307"/>
                  <a:pt x="4152" y="307"/>
                </a:cubicBezTo>
                <a:cubicBezTo>
                  <a:pt x="4152" y="307"/>
                  <a:pt x="4152" y="307"/>
                  <a:pt x="4152" y="307"/>
                </a:cubicBezTo>
                <a:cubicBezTo>
                  <a:pt x="4148" y="306"/>
                  <a:pt x="4139" y="298"/>
                  <a:pt x="4139" y="291"/>
                </a:cubicBezTo>
                <a:cubicBezTo>
                  <a:pt x="4139" y="285"/>
                  <a:pt x="4139" y="278"/>
                  <a:pt x="4137" y="272"/>
                </a:cubicBezTo>
                <a:cubicBezTo>
                  <a:pt x="4136" y="267"/>
                  <a:pt x="4135" y="262"/>
                  <a:pt x="4130" y="258"/>
                </a:cubicBezTo>
                <a:cubicBezTo>
                  <a:pt x="4128" y="257"/>
                  <a:pt x="4126" y="257"/>
                  <a:pt x="4124" y="256"/>
                </a:cubicBezTo>
                <a:cubicBezTo>
                  <a:pt x="4118" y="255"/>
                  <a:pt x="4108" y="254"/>
                  <a:pt x="4099" y="254"/>
                </a:cubicBezTo>
                <a:cubicBezTo>
                  <a:pt x="4095" y="254"/>
                  <a:pt x="4091" y="254"/>
                  <a:pt x="4088" y="255"/>
                </a:cubicBezTo>
                <a:cubicBezTo>
                  <a:pt x="4084" y="255"/>
                  <a:pt x="4074" y="256"/>
                  <a:pt x="4065" y="258"/>
                </a:cubicBezTo>
                <a:cubicBezTo>
                  <a:pt x="4060" y="259"/>
                  <a:pt x="4056" y="260"/>
                  <a:pt x="4052" y="261"/>
                </a:cubicBezTo>
                <a:cubicBezTo>
                  <a:pt x="4048" y="262"/>
                  <a:pt x="4045" y="263"/>
                  <a:pt x="4042" y="266"/>
                </a:cubicBezTo>
                <a:cubicBezTo>
                  <a:pt x="4040" y="269"/>
                  <a:pt x="4027" y="274"/>
                  <a:pt x="4021" y="274"/>
                </a:cubicBezTo>
                <a:cubicBezTo>
                  <a:pt x="4020" y="274"/>
                  <a:pt x="4016" y="272"/>
                  <a:pt x="4011" y="269"/>
                </a:cubicBezTo>
                <a:cubicBezTo>
                  <a:pt x="4006" y="267"/>
                  <a:pt x="3999" y="263"/>
                  <a:pt x="3990" y="261"/>
                </a:cubicBezTo>
                <a:cubicBezTo>
                  <a:pt x="3976" y="259"/>
                  <a:pt x="3953" y="259"/>
                  <a:pt x="3939" y="259"/>
                </a:cubicBezTo>
                <a:cubicBezTo>
                  <a:pt x="3933" y="259"/>
                  <a:pt x="3930" y="260"/>
                  <a:pt x="3927" y="260"/>
                </a:cubicBezTo>
                <a:cubicBezTo>
                  <a:pt x="3927" y="260"/>
                  <a:pt x="3927" y="260"/>
                  <a:pt x="3927" y="260"/>
                </a:cubicBezTo>
                <a:cubicBezTo>
                  <a:pt x="3926" y="260"/>
                  <a:pt x="3923" y="259"/>
                  <a:pt x="3922" y="259"/>
                </a:cubicBezTo>
                <a:cubicBezTo>
                  <a:pt x="3924" y="256"/>
                  <a:pt x="3927" y="253"/>
                  <a:pt x="3930" y="250"/>
                </a:cubicBezTo>
                <a:cubicBezTo>
                  <a:pt x="3933" y="244"/>
                  <a:pt x="3937" y="239"/>
                  <a:pt x="3937" y="232"/>
                </a:cubicBezTo>
                <a:cubicBezTo>
                  <a:pt x="3937" y="227"/>
                  <a:pt x="3935" y="223"/>
                  <a:pt x="3931" y="220"/>
                </a:cubicBezTo>
                <a:cubicBezTo>
                  <a:pt x="3918" y="210"/>
                  <a:pt x="3895" y="211"/>
                  <a:pt x="3885" y="209"/>
                </a:cubicBezTo>
                <a:cubicBezTo>
                  <a:pt x="3878" y="208"/>
                  <a:pt x="3870" y="206"/>
                  <a:pt x="3861" y="206"/>
                </a:cubicBezTo>
                <a:cubicBezTo>
                  <a:pt x="3856" y="206"/>
                  <a:pt x="3851" y="207"/>
                  <a:pt x="3846" y="208"/>
                </a:cubicBezTo>
                <a:cubicBezTo>
                  <a:pt x="3840" y="209"/>
                  <a:pt x="3835" y="211"/>
                  <a:pt x="3831" y="213"/>
                </a:cubicBezTo>
                <a:cubicBezTo>
                  <a:pt x="3830" y="213"/>
                  <a:pt x="3830" y="213"/>
                  <a:pt x="3830" y="213"/>
                </a:cubicBezTo>
                <a:cubicBezTo>
                  <a:pt x="3830" y="212"/>
                  <a:pt x="3829" y="211"/>
                  <a:pt x="3829" y="211"/>
                </a:cubicBezTo>
                <a:cubicBezTo>
                  <a:pt x="3828" y="210"/>
                  <a:pt x="3828" y="210"/>
                  <a:pt x="3827" y="210"/>
                </a:cubicBezTo>
                <a:cubicBezTo>
                  <a:pt x="3826" y="209"/>
                  <a:pt x="3823" y="207"/>
                  <a:pt x="3817" y="204"/>
                </a:cubicBezTo>
                <a:cubicBezTo>
                  <a:pt x="3802" y="197"/>
                  <a:pt x="3791" y="194"/>
                  <a:pt x="3783" y="194"/>
                </a:cubicBezTo>
                <a:cubicBezTo>
                  <a:pt x="3777" y="194"/>
                  <a:pt x="3772" y="195"/>
                  <a:pt x="3768" y="197"/>
                </a:cubicBezTo>
                <a:cubicBezTo>
                  <a:pt x="3766" y="199"/>
                  <a:pt x="3765" y="200"/>
                  <a:pt x="3764" y="201"/>
                </a:cubicBezTo>
                <a:cubicBezTo>
                  <a:pt x="3762" y="203"/>
                  <a:pt x="3763" y="202"/>
                  <a:pt x="3762" y="203"/>
                </a:cubicBezTo>
                <a:cubicBezTo>
                  <a:pt x="3761" y="203"/>
                  <a:pt x="3758" y="204"/>
                  <a:pt x="3752" y="207"/>
                </a:cubicBezTo>
                <a:cubicBezTo>
                  <a:pt x="3734" y="215"/>
                  <a:pt x="3723" y="220"/>
                  <a:pt x="3719" y="220"/>
                </a:cubicBezTo>
                <a:cubicBezTo>
                  <a:pt x="3719" y="220"/>
                  <a:pt x="3719" y="220"/>
                  <a:pt x="3719" y="220"/>
                </a:cubicBezTo>
                <a:cubicBezTo>
                  <a:pt x="3717" y="220"/>
                  <a:pt x="3709" y="219"/>
                  <a:pt x="3702" y="217"/>
                </a:cubicBezTo>
                <a:cubicBezTo>
                  <a:pt x="3698" y="216"/>
                  <a:pt x="3694" y="215"/>
                  <a:pt x="3692" y="214"/>
                </a:cubicBezTo>
                <a:cubicBezTo>
                  <a:pt x="3690" y="214"/>
                  <a:pt x="3689" y="214"/>
                  <a:pt x="3689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4" y="211"/>
                  <a:pt x="3683" y="211"/>
                  <a:pt x="3681" y="211"/>
                </a:cubicBezTo>
                <a:cubicBezTo>
                  <a:pt x="3673" y="211"/>
                  <a:pt x="3663" y="215"/>
                  <a:pt x="3654" y="219"/>
                </a:cubicBezTo>
                <a:cubicBezTo>
                  <a:pt x="3643" y="225"/>
                  <a:pt x="3636" y="231"/>
                  <a:pt x="3630" y="230"/>
                </a:cubicBezTo>
                <a:cubicBezTo>
                  <a:pt x="3629" y="230"/>
                  <a:pt x="3628" y="230"/>
                  <a:pt x="3626" y="230"/>
                </a:cubicBezTo>
                <a:cubicBezTo>
                  <a:pt x="3621" y="228"/>
                  <a:pt x="3615" y="228"/>
                  <a:pt x="3608" y="228"/>
                </a:cubicBezTo>
                <a:cubicBezTo>
                  <a:pt x="3599" y="228"/>
                  <a:pt x="3589" y="229"/>
                  <a:pt x="3581" y="233"/>
                </a:cubicBezTo>
                <a:cubicBezTo>
                  <a:pt x="3571" y="238"/>
                  <a:pt x="3562" y="238"/>
                  <a:pt x="3549" y="249"/>
                </a:cubicBezTo>
                <a:cubicBezTo>
                  <a:pt x="3544" y="253"/>
                  <a:pt x="3536" y="257"/>
                  <a:pt x="3529" y="259"/>
                </a:cubicBezTo>
                <a:cubicBezTo>
                  <a:pt x="3525" y="261"/>
                  <a:pt x="3520" y="262"/>
                  <a:pt x="3519" y="263"/>
                </a:cubicBezTo>
                <a:cubicBezTo>
                  <a:pt x="3514" y="262"/>
                  <a:pt x="3499" y="261"/>
                  <a:pt x="3489" y="261"/>
                </a:cubicBezTo>
                <a:cubicBezTo>
                  <a:pt x="3485" y="261"/>
                  <a:pt x="3481" y="261"/>
                  <a:pt x="3476" y="262"/>
                </a:cubicBezTo>
                <a:cubicBezTo>
                  <a:pt x="3474" y="262"/>
                  <a:pt x="3472" y="263"/>
                  <a:pt x="3470" y="264"/>
                </a:cubicBezTo>
                <a:cubicBezTo>
                  <a:pt x="3468" y="265"/>
                  <a:pt x="3465" y="268"/>
                  <a:pt x="3465" y="272"/>
                </a:cubicBezTo>
                <a:cubicBezTo>
                  <a:pt x="3465" y="276"/>
                  <a:pt x="3467" y="278"/>
                  <a:pt x="3470" y="281"/>
                </a:cubicBezTo>
                <a:cubicBezTo>
                  <a:pt x="3476" y="287"/>
                  <a:pt x="3485" y="292"/>
                  <a:pt x="3494" y="296"/>
                </a:cubicBezTo>
                <a:cubicBezTo>
                  <a:pt x="3494" y="296"/>
                  <a:pt x="3494" y="297"/>
                  <a:pt x="3494" y="297"/>
                </a:cubicBezTo>
                <a:cubicBezTo>
                  <a:pt x="3492" y="296"/>
                  <a:pt x="3490" y="295"/>
                  <a:pt x="3487" y="293"/>
                </a:cubicBezTo>
                <a:cubicBezTo>
                  <a:pt x="3480" y="291"/>
                  <a:pt x="3476" y="290"/>
                  <a:pt x="3474" y="289"/>
                </a:cubicBezTo>
                <a:cubicBezTo>
                  <a:pt x="3473" y="289"/>
                  <a:pt x="3471" y="287"/>
                  <a:pt x="3465" y="281"/>
                </a:cubicBezTo>
                <a:cubicBezTo>
                  <a:pt x="3458" y="274"/>
                  <a:pt x="3450" y="270"/>
                  <a:pt x="3443" y="270"/>
                </a:cubicBezTo>
                <a:cubicBezTo>
                  <a:pt x="3436" y="270"/>
                  <a:pt x="3429" y="274"/>
                  <a:pt x="3426" y="279"/>
                </a:cubicBezTo>
                <a:cubicBezTo>
                  <a:pt x="3421" y="285"/>
                  <a:pt x="3421" y="292"/>
                  <a:pt x="3420" y="297"/>
                </a:cubicBezTo>
                <a:cubicBezTo>
                  <a:pt x="3420" y="300"/>
                  <a:pt x="3420" y="302"/>
                  <a:pt x="3419" y="303"/>
                </a:cubicBezTo>
                <a:cubicBezTo>
                  <a:pt x="3419" y="303"/>
                  <a:pt x="3419" y="303"/>
                  <a:pt x="3419" y="303"/>
                </a:cubicBezTo>
                <a:cubicBezTo>
                  <a:pt x="3416" y="304"/>
                  <a:pt x="3413" y="305"/>
                  <a:pt x="3412" y="305"/>
                </a:cubicBezTo>
                <a:cubicBezTo>
                  <a:pt x="3412" y="305"/>
                  <a:pt x="3411" y="304"/>
                  <a:pt x="3411" y="303"/>
                </a:cubicBezTo>
                <a:cubicBezTo>
                  <a:pt x="3411" y="298"/>
                  <a:pt x="3411" y="291"/>
                  <a:pt x="3410" y="286"/>
                </a:cubicBezTo>
                <a:cubicBezTo>
                  <a:pt x="3410" y="283"/>
                  <a:pt x="3409" y="280"/>
                  <a:pt x="3408" y="278"/>
                </a:cubicBezTo>
                <a:cubicBezTo>
                  <a:pt x="3408" y="276"/>
                  <a:pt x="3407" y="275"/>
                  <a:pt x="3406" y="274"/>
                </a:cubicBezTo>
                <a:cubicBezTo>
                  <a:pt x="3405" y="273"/>
                  <a:pt x="3403" y="271"/>
                  <a:pt x="3400" y="271"/>
                </a:cubicBezTo>
                <a:cubicBezTo>
                  <a:pt x="3394" y="272"/>
                  <a:pt x="3393" y="275"/>
                  <a:pt x="3391" y="278"/>
                </a:cubicBezTo>
                <a:cubicBezTo>
                  <a:pt x="3387" y="285"/>
                  <a:pt x="3384" y="288"/>
                  <a:pt x="3382" y="291"/>
                </a:cubicBezTo>
                <a:cubicBezTo>
                  <a:pt x="3380" y="293"/>
                  <a:pt x="3378" y="297"/>
                  <a:pt x="3379" y="302"/>
                </a:cubicBezTo>
                <a:cubicBezTo>
                  <a:pt x="3379" y="311"/>
                  <a:pt x="3384" y="316"/>
                  <a:pt x="3384" y="323"/>
                </a:cubicBezTo>
                <a:cubicBezTo>
                  <a:pt x="3384" y="324"/>
                  <a:pt x="3384" y="326"/>
                  <a:pt x="3383" y="327"/>
                </a:cubicBezTo>
                <a:cubicBezTo>
                  <a:pt x="3382" y="333"/>
                  <a:pt x="3382" y="338"/>
                  <a:pt x="3382" y="342"/>
                </a:cubicBezTo>
                <a:cubicBezTo>
                  <a:pt x="3382" y="344"/>
                  <a:pt x="3382" y="347"/>
                  <a:pt x="3383" y="349"/>
                </a:cubicBezTo>
                <a:cubicBezTo>
                  <a:pt x="3383" y="351"/>
                  <a:pt x="3385" y="353"/>
                  <a:pt x="3387" y="354"/>
                </a:cubicBezTo>
                <a:cubicBezTo>
                  <a:pt x="3380" y="363"/>
                  <a:pt x="3372" y="375"/>
                  <a:pt x="3369" y="378"/>
                </a:cubicBezTo>
                <a:cubicBezTo>
                  <a:pt x="3367" y="380"/>
                  <a:pt x="3363" y="382"/>
                  <a:pt x="3358" y="384"/>
                </a:cubicBezTo>
                <a:cubicBezTo>
                  <a:pt x="3356" y="385"/>
                  <a:pt x="3355" y="386"/>
                  <a:pt x="3353" y="387"/>
                </a:cubicBezTo>
                <a:cubicBezTo>
                  <a:pt x="3356" y="382"/>
                  <a:pt x="3361" y="378"/>
                  <a:pt x="3364" y="376"/>
                </a:cubicBezTo>
                <a:cubicBezTo>
                  <a:pt x="3373" y="368"/>
                  <a:pt x="3380" y="357"/>
                  <a:pt x="3380" y="348"/>
                </a:cubicBezTo>
                <a:cubicBezTo>
                  <a:pt x="3380" y="346"/>
                  <a:pt x="3380" y="343"/>
                  <a:pt x="3378" y="341"/>
                </a:cubicBezTo>
                <a:cubicBezTo>
                  <a:pt x="3378" y="341"/>
                  <a:pt x="3378" y="341"/>
                  <a:pt x="3378" y="341"/>
                </a:cubicBezTo>
                <a:cubicBezTo>
                  <a:pt x="3376" y="339"/>
                  <a:pt x="3373" y="321"/>
                  <a:pt x="3373" y="313"/>
                </a:cubicBezTo>
                <a:cubicBezTo>
                  <a:pt x="3373" y="311"/>
                  <a:pt x="3373" y="309"/>
                  <a:pt x="3373" y="309"/>
                </a:cubicBezTo>
                <a:cubicBezTo>
                  <a:pt x="3374" y="306"/>
                  <a:pt x="3379" y="301"/>
                  <a:pt x="3380" y="292"/>
                </a:cubicBezTo>
                <a:cubicBezTo>
                  <a:pt x="3380" y="287"/>
                  <a:pt x="3377" y="282"/>
                  <a:pt x="3372" y="279"/>
                </a:cubicBezTo>
                <a:cubicBezTo>
                  <a:pt x="3361" y="272"/>
                  <a:pt x="3353" y="264"/>
                  <a:pt x="3342" y="259"/>
                </a:cubicBezTo>
                <a:cubicBezTo>
                  <a:pt x="3341" y="258"/>
                  <a:pt x="3339" y="258"/>
                  <a:pt x="3337" y="258"/>
                </a:cubicBezTo>
                <a:cubicBezTo>
                  <a:pt x="3329" y="259"/>
                  <a:pt x="3324" y="265"/>
                  <a:pt x="3320" y="270"/>
                </a:cubicBezTo>
                <a:cubicBezTo>
                  <a:pt x="3315" y="275"/>
                  <a:pt x="3311" y="280"/>
                  <a:pt x="3309" y="282"/>
                </a:cubicBezTo>
                <a:cubicBezTo>
                  <a:pt x="3304" y="285"/>
                  <a:pt x="3301" y="289"/>
                  <a:pt x="3300" y="291"/>
                </a:cubicBezTo>
                <a:cubicBezTo>
                  <a:pt x="3298" y="293"/>
                  <a:pt x="3298" y="294"/>
                  <a:pt x="3294" y="294"/>
                </a:cubicBezTo>
                <a:cubicBezTo>
                  <a:pt x="3285" y="296"/>
                  <a:pt x="3278" y="304"/>
                  <a:pt x="3278" y="313"/>
                </a:cubicBezTo>
                <a:cubicBezTo>
                  <a:pt x="3278" y="321"/>
                  <a:pt x="3283" y="328"/>
                  <a:pt x="3292" y="333"/>
                </a:cubicBezTo>
                <a:cubicBezTo>
                  <a:pt x="3298" y="337"/>
                  <a:pt x="3303" y="340"/>
                  <a:pt x="3306" y="343"/>
                </a:cubicBezTo>
                <a:cubicBezTo>
                  <a:pt x="3307" y="344"/>
                  <a:pt x="3308" y="345"/>
                  <a:pt x="3308" y="346"/>
                </a:cubicBezTo>
                <a:cubicBezTo>
                  <a:pt x="3308" y="346"/>
                  <a:pt x="3308" y="346"/>
                  <a:pt x="3308" y="346"/>
                </a:cubicBezTo>
                <a:cubicBezTo>
                  <a:pt x="3308" y="346"/>
                  <a:pt x="3308" y="346"/>
                  <a:pt x="3307" y="346"/>
                </a:cubicBezTo>
                <a:cubicBezTo>
                  <a:pt x="3305" y="346"/>
                  <a:pt x="3301" y="345"/>
                  <a:pt x="3297" y="344"/>
                </a:cubicBezTo>
                <a:cubicBezTo>
                  <a:pt x="3294" y="343"/>
                  <a:pt x="3291" y="342"/>
                  <a:pt x="3291" y="342"/>
                </a:cubicBezTo>
                <a:cubicBezTo>
                  <a:pt x="3291" y="342"/>
                  <a:pt x="3291" y="342"/>
                  <a:pt x="3291" y="342"/>
                </a:cubicBezTo>
                <a:cubicBezTo>
                  <a:pt x="3289" y="340"/>
                  <a:pt x="3276" y="333"/>
                  <a:pt x="3265" y="333"/>
                </a:cubicBezTo>
                <a:cubicBezTo>
                  <a:pt x="3258" y="333"/>
                  <a:pt x="3247" y="327"/>
                  <a:pt x="3236" y="325"/>
                </a:cubicBezTo>
                <a:cubicBezTo>
                  <a:pt x="3232" y="324"/>
                  <a:pt x="3228" y="324"/>
                  <a:pt x="3223" y="324"/>
                </a:cubicBezTo>
                <a:cubicBezTo>
                  <a:pt x="3214" y="324"/>
                  <a:pt x="3205" y="324"/>
                  <a:pt x="3198" y="331"/>
                </a:cubicBezTo>
                <a:cubicBezTo>
                  <a:pt x="3196" y="334"/>
                  <a:pt x="3193" y="338"/>
                  <a:pt x="3189" y="341"/>
                </a:cubicBezTo>
                <a:cubicBezTo>
                  <a:pt x="3186" y="345"/>
                  <a:pt x="3182" y="347"/>
                  <a:pt x="3181" y="347"/>
                </a:cubicBezTo>
                <a:cubicBezTo>
                  <a:pt x="3181" y="347"/>
                  <a:pt x="3181" y="346"/>
                  <a:pt x="3181" y="346"/>
                </a:cubicBezTo>
                <a:cubicBezTo>
                  <a:pt x="3178" y="345"/>
                  <a:pt x="3176" y="343"/>
                  <a:pt x="3174" y="341"/>
                </a:cubicBezTo>
                <a:cubicBezTo>
                  <a:pt x="3172" y="340"/>
                  <a:pt x="3168" y="338"/>
                  <a:pt x="3164" y="338"/>
                </a:cubicBezTo>
                <a:cubicBezTo>
                  <a:pt x="3161" y="338"/>
                  <a:pt x="3157" y="339"/>
                  <a:pt x="3153" y="340"/>
                </a:cubicBezTo>
                <a:cubicBezTo>
                  <a:pt x="3151" y="341"/>
                  <a:pt x="3149" y="342"/>
                  <a:pt x="3146" y="342"/>
                </a:cubicBezTo>
                <a:cubicBezTo>
                  <a:pt x="3142" y="342"/>
                  <a:pt x="3137" y="341"/>
                  <a:pt x="3132" y="341"/>
                </a:cubicBezTo>
                <a:cubicBezTo>
                  <a:pt x="3128" y="340"/>
                  <a:pt x="3122" y="342"/>
                  <a:pt x="3119" y="346"/>
                </a:cubicBezTo>
                <a:cubicBezTo>
                  <a:pt x="3118" y="348"/>
                  <a:pt x="3117" y="349"/>
                  <a:pt x="3116" y="350"/>
                </a:cubicBezTo>
                <a:cubicBezTo>
                  <a:pt x="3114" y="349"/>
                  <a:pt x="3109" y="347"/>
                  <a:pt x="3102" y="344"/>
                </a:cubicBezTo>
                <a:cubicBezTo>
                  <a:pt x="3097" y="342"/>
                  <a:pt x="3093" y="341"/>
                  <a:pt x="3089" y="341"/>
                </a:cubicBezTo>
                <a:cubicBezTo>
                  <a:pt x="3082" y="341"/>
                  <a:pt x="3077" y="345"/>
                  <a:pt x="3074" y="348"/>
                </a:cubicBezTo>
                <a:cubicBezTo>
                  <a:pt x="3071" y="350"/>
                  <a:pt x="3068" y="352"/>
                  <a:pt x="3061" y="354"/>
                </a:cubicBezTo>
                <a:cubicBezTo>
                  <a:pt x="3057" y="355"/>
                  <a:pt x="3053" y="355"/>
                  <a:pt x="3049" y="355"/>
                </a:cubicBezTo>
                <a:cubicBezTo>
                  <a:pt x="3043" y="355"/>
                  <a:pt x="3038" y="354"/>
                  <a:pt x="3033" y="354"/>
                </a:cubicBezTo>
                <a:cubicBezTo>
                  <a:pt x="3028" y="354"/>
                  <a:pt x="3022" y="355"/>
                  <a:pt x="3018" y="360"/>
                </a:cubicBezTo>
                <a:cubicBezTo>
                  <a:pt x="3016" y="363"/>
                  <a:pt x="3015" y="366"/>
                  <a:pt x="3013" y="369"/>
                </a:cubicBezTo>
                <a:cubicBezTo>
                  <a:pt x="3013" y="367"/>
                  <a:pt x="3014" y="365"/>
                  <a:pt x="3015" y="364"/>
                </a:cubicBezTo>
                <a:cubicBezTo>
                  <a:pt x="3017" y="359"/>
                  <a:pt x="3019" y="355"/>
                  <a:pt x="3019" y="350"/>
                </a:cubicBezTo>
                <a:cubicBezTo>
                  <a:pt x="3019" y="347"/>
                  <a:pt x="3018" y="344"/>
                  <a:pt x="3016" y="342"/>
                </a:cubicBezTo>
                <a:cubicBezTo>
                  <a:pt x="3011" y="337"/>
                  <a:pt x="3005" y="337"/>
                  <a:pt x="2999" y="337"/>
                </a:cubicBezTo>
                <a:cubicBezTo>
                  <a:pt x="2994" y="337"/>
                  <a:pt x="2989" y="337"/>
                  <a:pt x="2985" y="338"/>
                </a:cubicBezTo>
                <a:cubicBezTo>
                  <a:pt x="2980" y="339"/>
                  <a:pt x="2977" y="340"/>
                  <a:pt x="2974" y="343"/>
                </a:cubicBezTo>
                <a:cubicBezTo>
                  <a:pt x="2971" y="348"/>
                  <a:pt x="2971" y="351"/>
                  <a:pt x="2971" y="355"/>
                </a:cubicBezTo>
                <a:cubicBezTo>
                  <a:pt x="2971" y="362"/>
                  <a:pt x="2972" y="370"/>
                  <a:pt x="2974" y="375"/>
                </a:cubicBezTo>
                <a:cubicBezTo>
                  <a:pt x="2974" y="375"/>
                  <a:pt x="2974" y="376"/>
                  <a:pt x="2975" y="377"/>
                </a:cubicBezTo>
                <a:cubicBezTo>
                  <a:pt x="2973" y="375"/>
                  <a:pt x="2970" y="373"/>
                  <a:pt x="2967" y="373"/>
                </a:cubicBezTo>
                <a:cubicBezTo>
                  <a:pt x="2966" y="373"/>
                  <a:pt x="2965" y="373"/>
                  <a:pt x="2964" y="373"/>
                </a:cubicBezTo>
                <a:cubicBezTo>
                  <a:pt x="2961" y="374"/>
                  <a:pt x="2958" y="375"/>
                  <a:pt x="2956" y="376"/>
                </a:cubicBezTo>
                <a:cubicBezTo>
                  <a:pt x="2957" y="375"/>
                  <a:pt x="2957" y="373"/>
                  <a:pt x="2957" y="371"/>
                </a:cubicBezTo>
                <a:cubicBezTo>
                  <a:pt x="2957" y="365"/>
                  <a:pt x="2953" y="363"/>
                  <a:pt x="2950" y="361"/>
                </a:cubicBezTo>
                <a:cubicBezTo>
                  <a:pt x="2940" y="356"/>
                  <a:pt x="2929" y="350"/>
                  <a:pt x="2911" y="347"/>
                </a:cubicBezTo>
                <a:cubicBezTo>
                  <a:pt x="2895" y="344"/>
                  <a:pt x="2874" y="344"/>
                  <a:pt x="2850" y="334"/>
                </a:cubicBezTo>
                <a:cubicBezTo>
                  <a:pt x="2825" y="323"/>
                  <a:pt x="2819" y="318"/>
                  <a:pt x="2807" y="315"/>
                </a:cubicBezTo>
                <a:cubicBezTo>
                  <a:pt x="2798" y="313"/>
                  <a:pt x="2754" y="304"/>
                  <a:pt x="2721" y="304"/>
                </a:cubicBezTo>
                <a:cubicBezTo>
                  <a:pt x="2714" y="304"/>
                  <a:pt x="2708" y="304"/>
                  <a:pt x="2702" y="306"/>
                </a:cubicBezTo>
                <a:cubicBezTo>
                  <a:pt x="2687" y="308"/>
                  <a:pt x="2660" y="316"/>
                  <a:pt x="2636" y="323"/>
                </a:cubicBezTo>
                <a:cubicBezTo>
                  <a:pt x="2624" y="327"/>
                  <a:pt x="2613" y="331"/>
                  <a:pt x="2604" y="334"/>
                </a:cubicBezTo>
                <a:cubicBezTo>
                  <a:pt x="2600" y="335"/>
                  <a:pt x="2596" y="337"/>
                  <a:pt x="2593" y="338"/>
                </a:cubicBezTo>
                <a:cubicBezTo>
                  <a:pt x="2590" y="339"/>
                  <a:pt x="2589" y="340"/>
                  <a:pt x="2586" y="341"/>
                </a:cubicBezTo>
                <a:cubicBezTo>
                  <a:pt x="2583" y="345"/>
                  <a:pt x="2580" y="350"/>
                  <a:pt x="2576" y="356"/>
                </a:cubicBezTo>
                <a:cubicBezTo>
                  <a:pt x="2572" y="362"/>
                  <a:pt x="2567" y="370"/>
                  <a:pt x="2560" y="376"/>
                </a:cubicBezTo>
                <a:cubicBezTo>
                  <a:pt x="2545" y="390"/>
                  <a:pt x="2517" y="421"/>
                  <a:pt x="2498" y="426"/>
                </a:cubicBezTo>
                <a:cubicBezTo>
                  <a:pt x="2486" y="429"/>
                  <a:pt x="2474" y="436"/>
                  <a:pt x="2464" y="443"/>
                </a:cubicBezTo>
                <a:cubicBezTo>
                  <a:pt x="2460" y="447"/>
                  <a:pt x="2455" y="450"/>
                  <a:pt x="2452" y="454"/>
                </a:cubicBezTo>
                <a:cubicBezTo>
                  <a:pt x="2450" y="457"/>
                  <a:pt x="2447" y="459"/>
                  <a:pt x="2446" y="465"/>
                </a:cubicBezTo>
                <a:cubicBezTo>
                  <a:pt x="2447" y="469"/>
                  <a:pt x="2449" y="474"/>
                  <a:pt x="2450" y="480"/>
                </a:cubicBezTo>
                <a:cubicBezTo>
                  <a:pt x="2452" y="485"/>
                  <a:pt x="2454" y="491"/>
                  <a:pt x="2454" y="493"/>
                </a:cubicBezTo>
                <a:cubicBezTo>
                  <a:pt x="2453" y="494"/>
                  <a:pt x="2453" y="496"/>
                  <a:pt x="2453" y="497"/>
                </a:cubicBezTo>
                <a:cubicBezTo>
                  <a:pt x="2453" y="502"/>
                  <a:pt x="2455" y="509"/>
                  <a:pt x="2458" y="515"/>
                </a:cubicBezTo>
                <a:cubicBezTo>
                  <a:pt x="2462" y="521"/>
                  <a:pt x="2467" y="527"/>
                  <a:pt x="2474" y="531"/>
                </a:cubicBezTo>
                <a:cubicBezTo>
                  <a:pt x="2480" y="533"/>
                  <a:pt x="2488" y="534"/>
                  <a:pt x="2494" y="535"/>
                </a:cubicBezTo>
                <a:cubicBezTo>
                  <a:pt x="2498" y="535"/>
                  <a:pt x="2501" y="534"/>
                  <a:pt x="2503" y="534"/>
                </a:cubicBezTo>
                <a:cubicBezTo>
                  <a:pt x="2503" y="534"/>
                  <a:pt x="2503" y="534"/>
                  <a:pt x="2503" y="534"/>
                </a:cubicBezTo>
                <a:cubicBezTo>
                  <a:pt x="2498" y="536"/>
                  <a:pt x="2492" y="539"/>
                  <a:pt x="2489" y="545"/>
                </a:cubicBezTo>
                <a:cubicBezTo>
                  <a:pt x="2487" y="551"/>
                  <a:pt x="2485" y="560"/>
                  <a:pt x="2484" y="568"/>
                </a:cubicBezTo>
                <a:cubicBezTo>
                  <a:pt x="2485" y="572"/>
                  <a:pt x="2485" y="577"/>
                  <a:pt x="2488" y="581"/>
                </a:cubicBezTo>
                <a:cubicBezTo>
                  <a:pt x="2489" y="583"/>
                  <a:pt x="2490" y="584"/>
                  <a:pt x="2492" y="586"/>
                </a:cubicBezTo>
                <a:cubicBezTo>
                  <a:pt x="2488" y="585"/>
                  <a:pt x="2483" y="585"/>
                  <a:pt x="2479" y="585"/>
                </a:cubicBezTo>
                <a:cubicBezTo>
                  <a:pt x="2471" y="585"/>
                  <a:pt x="2463" y="587"/>
                  <a:pt x="2457" y="592"/>
                </a:cubicBezTo>
                <a:cubicBezTo>
                  <a:pt x="2449" y="599"/>
                  <a:pt x="2437" y="613"/>
                  <a:pt x="2432" y="617"/>
                </a:cubicBezTo>
                <a:cubicBezTo>
                  <a:pt x="2429" y="618"/>
                  <a:pt x="2425" y="618"/>
                  <a:pt x="2419" y="620"/>
                </a:cubicBezTo>
                <a:cubicBezTo>
                  <a:pt x="2418" y="620"/>
                  <a:pt x="2416" y="621"/>
                  <a:pt x="2414" y="621"/>
                </a:cubicBezTo>
                <a:cubicBezTo>
                  <a:pt x="2414" y="621"/>
                  <a:pt x="2414" y="620"/>
                  <a:pt x="2414" y="620"/>
                </a:cubicBezTo>
                <a:cubicBezTo>
                  <a:pt x="2412" y="607"/>
                  <a:pt x="2400" y="592"/>
                  <a:pt x="2387" y="585"/>
                </a:cubicBezTo>
                <a:cubicBezTo>
                  <a:pt x="2384" y="583"/>
                  <a:pt x="2379" y="576"/>
                  <a:pt x="2374" y="569"/>
                </a:cubicBezTo>
                <a:cubicBezTo>
                  <a:pt x="2369" y="561"/>
                  <a:pt x="2364" y="554"/>
                  <a:pt x="2360" y="550"/>
                </a:cubicBezTo>
                <a:cubicBezTo>
                  <a:pt x="2360" y="550"/>
                  <a:pt x="2360" y="550"/>
                  <a:pt x="2360" y="550"/>
                </a:cubicBezTo>
                <a:cubicBezTo>
                  <a:pt x="2360" y="548"/>
                  <a:pt x="2363" y="541"/>
                  <a:pt x="2363" y="533"/>
                </a:cubicBezTo>
                <a:cubicBezTo>
                  <a:pt x="2363" y="529"/>
                  <a:pt x="2362" y="525"/>
                  <a:pt x="2359" y="521"/>
                </a:cubicBezTo>
                <a:cubicBezTo>
                  <a:pt x="2355" y="516"/>
                  <a:pt x="2350" y="513"/>
                  <a:pt x="2346" y="511"/>
                </a:cubicBezTo>
                <a:cubicBezTo>
                  <a:pt x="2342" y="509"/>
                  <a:pt x="2339" y="508"/>
                  <a:pt x="2335" y="505"/>
                </a:cubicBezTo>
                <a:cubicBezTo>
                  <a:pt x="2332" y="503"/>
                  <a:pt x="2328" y="501"/>
                  <a:pt x="2325" y="501"/>
                </a:cubicBezTo>
                <a:cubicBezTo>
                  <a:pt x="2314" y="502"/>
                  <a:pt x="2308" y="510"/>
                  <a:pt x="2304" y="516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2" y="517"/>
                  <a:pt x="2298" y="515"/>
                  <a:pt x="2292" y="514"/>
                </a:cubicBezTo>
                <a:cubicBezTo>
                  <a:pt x="2290" y="514"/>
                  <a:pt x="2289" y="515"/>
                  <a:pt x="2287" y="515"/>
                </a:cubicBezTo>
                <a:cubicBezTo>
                  <a:pt x="2280" y="518"/>
                  <a:pt x="2277" y="525"/>
                  <a:pt x="2277" y="531"/>
                </a:cubicBezTo>
                <a:cubicBezTo>
                  <a:pt x="2277" y="538"/>
                  <a:pt x="2280" y="544"/>
                  <a:pt x="2283" y="549"/>
                </a:cubicBezTo>
                <a:cubicBezTo>
                  <a:pt x="2284" y="551"/>
                  <a:pt x="2286" y="554"/>
                  <a:pt x="2288" y="557"/>
                </a:cubicBezTo>
                <a:cubicBezTo>
                  <a:pt x="2285" y="556"/>
                  <a:pt x="2283" y="556"/>
                  <a:pt x="2281" y="556"/>
                </a:cubicBezTo>
                <a:cubicBezTo>
                  <a:pt x="2279" y="556"/>
                  <a:pt x="2277" y="556"/>
                  <a:pt x="2275" y="557"/>
                </a:cubicBezTo>
                <a:cubicBezTo>
                  <a:pt x="2267" y="558"/>
                  <a:pt x="2263" y="564"/>
                  <a:pt x="2261" y="567"/>
                </a:cubicBezTo>
                <a:cubicBezTo>
                  <a:pt x="2260" y="569"/>
                  <a:pt x="2259" y="571"/>
                  <a:pt x="2258" y="571"/>
                </a:cubicBezTo>
                <a:cubicBezTo>
                  <a:pt x="2258" y="571"/>
                  <a:pt x="2258" y="571"/>
                  <a:pt x="2258" y="572"/>
                </a:cubicBezTo>
                <a:cubicBezTo>
                  <a:pt x="2254" y="572"/>
                  <a:pt x="2250" y="572"/>
                  <a:pt x="2246" y="574"/>
                </a:cubicBezTo>
                <a:cubicBezTo>
                  <a:pt x="2242" y="576"/>
                  <a:pt x="2239" y="581"/>
                  <a:pt x="2239" y="587"/>
                </a:cubicBezTo>
                <a:cubicBezTo>
                  <a:pt x="2239" y="588"/>
                  <a:pt x="2239" y="590"/>
                  <a:pt x="2239" y="591"/>
                </a:cubicBezTo>
                <a:cubicBezTo>
                  <a:pt x="2241" y="598"/>
                  <a:pt x="2243" y="603"/>
                  <a:pt x="2243" y="605"/>
                </a:cubicBezTo>
                <a:cubicBezTo>
                  <a:pt x="2243" y="605"/>
                  <a:pt x="2243" y="605"/>
                  <a:pt x="2243" y="605"/>
                </a:cubicBezTo>
                <a:cubicBezTo>
                  <a:pt x="2243" y="605"/>
                  <a:pt x="2243" y="605"/>
                  <a:pt x="2242" y="605"/>
                </a:cubicBezTo>
                <a:cubicBezTo>
                  <a:pt x="2238" y="608"/>
                  <a:pt x="2237" y="612"/>
                  <a:pt x="2237" y="616"/>
                </a:cubicBezTo>
                <a:cubicBezTo>
                  <a:pt x="2237" y="621"/>
                  <a:pt x="2239" y="626"/>
                  <a:pt x="2242" y="630"/>
                </a:cubicBezTo>
                <a:cubicBezTo>
                  <a:pt x="2245" y="634"/>
                  <a:pt x="2249" y="638"/>
                  <a:pt x="2255" y="639"/>
                </a:cubicBezTo>
                <a:cubicBezTo>
                  <a:pt x="2255" y="639"/>
                  <a:pt x="2255" y="639"/>
                  <a:pt x="2255" y="639"/>
                </a:cubicBezTo>
                <a:cubicBezTo>
                  <a:pt x="2256" y="639"/>
                  <a:pt x="2257" y="639"/>
                  <a:pt x="2258" y="639"/>
                </a:cubicBezTo>
                <a:cubicBezTo>
                  <a:pt x="2270" y="639"/>
                  <a:pt x="2279" y="630"/>
                  <a:pt x="2286" y="627"/>
                </a:cubicBezTo>
                <a:cubicBezTo>
                  <a:pt x="2295" y="623"/>
                  <a:pt x="2309" y="614"/>
                  <a:pt x="2309" y="597"/>
                </a:cubicBezTo>
                <a:cubicBezTo>
                  <a:pt x="2309" y="590"/>
                  <a:pt x="2308" y="583"/>
                  <a:pt x="2307" y="577"/>
                </a:cubicBezTo>
                <a:cubicBezTo>
                  <a:pt x="2308" y="578"/>
                  <a:pt x="2309" y="578"/>
                  <a:pt x="2309" y="579"/>
                </a:cubicBezTo>
                <a:cubicBezTo>
                  <a:pt x="2312" y="573"/>
                  <a:pt x="2312" y="573"/>
                  <a:pt x="2312" y="573"/>
                </a:cubicBezTo>
                <a:cubicBezTo>
                  <a:pt x="2309" y="579"/>
                  <a:pt x="2309" y="579"/>
                  <a:pt x="2309" y="579"/>
                </a:cubicBezTo>
                <a:cubicBezTo>
                  <a:pt x="2315" y="581"/>
                  <a:pt x="2322" y="584"/>
                  <a:pt x="2328" y="586"/>
                </a:cubicBezTo>
                <a:cubicBezTo>
                  <a:pt x="2329" y="587"/>
                  <a:pt x="2330" y="587"/>
                  <a:pt x="2331" y="588"/>
                </a:cubicBezTo>
                <a:cubicBezTo>
                  <a:pt x="2327" y="591"/>
                  <a:pt x="2322" y="595"/>
                  <a:pt x="2318" y="599"/>
                </a:cubicBezTo>
                <a:cubicBezTo>
                  <a:pt x="2312" y="605"/>
                  <a:pt x="2307" y="611"/>
                  <a:pt x="2305" y="617"/>
                </a:cubicBezTo>
                <a:cubicBezTo>
                  <a:pt x="2305" y="618"/>
                  <a:pt x="2305" y="619"/>
                  <a:pt x="2305" y="620"/>
                </a:cubicBezTo>
                <a:cubicBezTo>
                  <a:pt x="2306" y="629"/>
                  <a:pt x="2312" y="633"/>
                  <a:pt x="2318" y="636"/>
                </a:cubicBezTo>
                <a:cubicBezTo>
                  <a:pt x="2319" y="637"/>
                  <a:pt x="2321" y="638"/>
                  <a:pt x="2322" y="638"/>
                </a:cubicBezTo>
                <a:cubicBezTo>
                  <a:pt x="2322" y="640"/>
                  <a:pt x="2321" y="642"/>
                  <a:pt x="2321" y="644"/>
                </a:cubicBezTo>
                <a:cubicBezTo>
                  <a:pt x="2321" y="647"/>
                  <a:pt x="2323" y="652"/>
                  <a:pt x="2327" y="653"/>
                </a:cubicBezTo>
                <a:cubicBezTo>
                  <a:pt x="2328" y="654"/>
                  <a:pt x="2330" y="654"/>
                  <a:pt x="2331" y="654"/>
                </a:cubicBezTo>
                <a:cubicBezTo>
                  <a:pt x="2338" y="654"/>
                  <a:pt x="2340" y="650"/>
                  <a:pt x="2342" y="648"/>
                </a:cubicBezTo>
                <a:cubicBezTo>
                  <a:pt x="2345" y="645"/>
                  <a:pt x="2346" y="644"/>
                  <a:pt x="2348" y="644"/>
                </a:cubicBezTo>
                <a:cubicBezTo>
                  <a:pt x="2355" y="644"/>
                  <a:pt x="2372" y="650"/>
                  <a:pt x="2383" y="651"/>
                </a:cubicBezTo>
                <a:cubicBezTo>
                  <a:pt x="2375" y="653"/>
                  <a:pt x="2366" y="655"/>
                  <a:pt x="2357" y="657"/>
                </a:cubicBezTo>
                <a:cubicBezTo>
                  <a:pt x="2349" y="659"/>
                  <a:pt x="2345" y="662"/>
                  <a:pt x="2341" y="664"/>
                </a:cubicBezTo>
                <a:cubicBezTo>
                  <a:pt x="2338" y="666"/>
                  <a:pt x="2336" y="667"/>
                  <a:pt x="2329" y="668"/>
                </a:cubicBezTo>
                <a:cubicBezTo>
                  <a:pt x="2324" y="668"/>
                  <a:pt x="2320" y="669"/>
                  <a:pt x="2317" y="671"/>
                </a:cubicBezTo>
                <a:cubicBezTo>
                  <a:pt x="2313" y="673"/>
                  <a:pt x="2310" y="675"/>
                  <a:pt x="2310" y="680"/>
                </a:cubicBezTo>
                <a:cubicBezTo>
                  <a:pt x="2310" y="685"/>
                  <a:pt x="2313" y="687"/>
                  <a:pt x="2315" y="689"/>
                </a:cubicBezTo>
                <a:cubicBezTo>
                  <a:pt x="2318" y="691"/>
                  <a:pt x="2321" y="692"/>
                  <a:pt x="2325" y="692"/>
                </a:cubicBezTo>
                <a:cubicBezTo>
                  <a:pt x="2331" y="694"/>
                  <a:pt x="2341" y="697"/>
                  <a:pt x="2348" y="701"/>
                </a:cubicBezTo>
                <a:cubicBezTo>
                  <a:pt x="2355" y="705"/>
                  <a:pt x="2359" y="711"/>
                  <a:pt x="2359" y="713"/>
                </a:cubicBezTo>
                <a:cubicBezTo>
                  <a:pt x="2359" y="715"/>
                  <a:pt x="2359" y="717"/>
                  <a:pt x="2359" y="719"/>
                </a:cubicBezTo>
                <a:cubicBezTo>
                  <a:pt x="2359" y="729"/>
                  <a:pt x="2356" y="739"/>
                  <a:pt x="2352" y="749"/>
                </a:cubicBezTo>
                <a:cubicBezTo>
                  <a:pt x="2352" y="749"/>
                  <a:pt x="2352" y="749"/>
                  <a:pt x="2352" y="749"/>
                </a:cubicBezTo>
                <a:cubicBezTo>
                  <a:pt x="2352" y="749"/>
                  <a:pt x="2349" y="750"/>
                  <a:pt x="2344" y="750"/>
                </a:cubicBezTo>
                <a:cubicBezTo>
                  <a:pt x="2336" y="750"/>
                  <a:pt x="2325" y="748"/>
                  <a:pt x="2316" y="748"/>
                </a:cubicBezTo>
                <a:cubicBezTo>
                  <a:pt x="2308" y="748"/>
                  <a:pt x="2293" y="746"/>
                  <a:pt x="2279" y="746"/>
                </a:cubicBezTo>
                <a:cubicBezTo>
                  <a:pt x="2273" y="746"/>
                  <a:pt x="2267" y="746"/>
                  <a:pt x="2261" y="749"/>
                </a:cubicBezTo>
                <a:cubicBezTo>
                  <a:pt x="2250" y="754"/>
                  <a:pt x="2249" y="767"/>
                  <a:pt x="2249" y="778"/>
                </a:cubicBezTo>
                <a:cubicBezTo>
                  <a:pt x="2249" y="786"/>
                  <a:pt x="2250" y="795"/>
                  <a:pt x="2252" y="801"/>
                </a:cubicBezTo>
                <a:cubicBezTo>
                  <a:pt x="2253" y="804"/>
                  <a:pt x="2253" y="806"/>
                  <a:pt x="2253" y="808"/>
                </a:cubicBezTo>
                <a:cubicBezTo>
                  <a:pt x="2253" y="813"/>
                  <a:pt x="2251" y="816"/>
                  <a:pt x="2248" y="818"/>
                </a:cubicBezTo>
                <a:cubicBezTo>
                  <a:pt x="2244" y="823"/>
                  <a:pt x="2242" y="828"/>
                  <a:pt x="2242" y="834"/>
                </a:cubicBezTo>
                <a:cubicBezTo>
                  <a:pt x="2242" y="839"/>
                  <a:pt x="2244" y="845"/>
                  <a:pt x="2248" y="849"/>
                </a:cubicBezTo>
                <a:cubicBezTo>
                  <a:pt x="2250" y="851"/>
                  <a:pt x="2253" y="855"/>
                  <a:pt x="2255" y="859"/>
                </a:cubicBezTo>
                <a:cubicBezTo>
                  <a:pt x="2258" y="863"/>
                  <a:pt x="2259" y="868"/>
                  <a:pt x="2265" y="870"/>
                </a:cubicBezTo>
                <a:cubicBezTo>
                  <a:pt x="2267" y="871"/>
                  <a:pt x="2268" y="871"/>
                  <a:pt x="2269" y="871"/>
                </a:cubicBezTo>
                <a:cubicBezTo>
                  <a:pt x="2274" y="871"/>
                  <a:pt x="2278" y="869"/>
                  <a:pt x="2282" y="870"/>
                </a:cubicBezTo>
                <a:cubicBezTo>
                  <a:pt x="2286" y="870"/>
                  <a:pt x="2288" y="870"/>
                  <a:pt x="2288" y="871"/>
                </a:cubicBezTo>
                <a:cubicBezTo>
                  <a:pt x="2290" y="873"/>
                  <a:pt x="2292" y="878"/>
                  <a:pt x="2295" y="882"/>
                </a:cubicBezTo>
                <a:cubicBezTo>
                  <a:pt x="2296" y="884"/>
                  <a:pt x="2297" y="887"/>
                  <a:pt x="2299" y="888"/>
                </a:cubicBezTo>
                <a:cubicBezTo>
                  <a:pt x="2299" y="889"/>
                  <a:pt x="2299" y="889"/>
                  <a:pt x="2299" y="889"/>
                </a:cubicBezTo>
                <a:cubicBezTo>
                  <a:pt x="2299" y="889"/>
                  <a:pt x="2299" y="889"/>
                  <a:pt x="2298" y="890"/>
                </a:cubicBezTo>
                <a:cubicBezTo>
                  <a:pt x="2291" y="894"/>
                  <a:pt x="2284" y="901"/>
                  <a:pt x="2279" y="905"/>
                </a:cubicBezTo>
                <a:cubicBezTo>
                  <a:pt x="2276" y="908"/>
                  <a:pt x="2274" y="910"/>
                  <a:pt x="2272" y="911"/>
                </a:cubicBezTo>
                <a:cubicBezTo>
                  <a:pt x="2272" y="911"/>
                  <a:pt x="2271" y="912"/>
                  <a:pt x="2271" y="912"/>
                </a:cubicBezTo>
                <a:cubicBezTo>
                  <a:pt x="2268" y="912"/>
                  <a:pt x="2266" y="914"/>
                  <a:pt x="2264" y="915"/>
                </a:cubicBezTo>
                <a:cubicBezTo>
                  <a:pt x="2258" y="920"/>
                  <a:pt x="2251" y="930"/>
                  <a:pt x="2245" y="946"/>
                </a:cubicBezTo>
                <a:cubicBezTo>
                  <a:pt x="2242" y="958"/>
                  <a:pt x="2242" y="968"/>
                  <a:pt x="2241" y="976"/>
                </a:cubicBezTo>
                <a:cubicBezTo>
                  <a:pt x="2241" y="984"/>
                  <a:pt x="2240" y="987"/>
                  <a:pt x="2237" y="989"/>
                </a:cubicBezTo>
                <a:cubicBezTo>
                  <a:pt x="2224" y="996"/>
                  <a:pt x="2201" y="1011"/>
                  <a:pt x="2190" y="1023"/>
                </a:cubicBezTo>
                <a:cubicBezTo>
                  <a:pt x="2184" y="1030"/>
                  <a:pt x="2179" y="1042"/>
                  <a:pt x="2174" y="1056"/>
                </a:cubicBezTo>
                <a:cubicBezTo>
                  <a:pt x="2168" y="1069"/>
                  <a:pt x="2163" y="1083"/>
                  <a:pt x="2157" y="1091"/>
                </a:cubicBezTo>
                <a:cubicBezTo>
                  <a:pt x="2153" y="1098"/>
                  <a:pt x="2151" y="1105"/>
                  <a:pt x="2151" y="1111"/>
                </a:cubicBezTo>
                <a:cubicBezTo>
                  <a:pt x="2152" y="1125"/>
                  <a:pt x="2158" y="1135"/>
                  <a:pt x="2159" y="1141"/>
                </a:cubicBezTo>
                <a:cubicBezTo>
                  <a:pt x="2160" y="1148"/>
                  <a:pt x="2163" y="1157"/>
                  <a:pt x="2163" y="1167"/>
                </a:cubicBezTo>
                <a:cubicBezTo>
                  <a:pt x="2163" y="1174"/>
                  <a:pt x="2162" y="1181"/>
                  <a:pt x="2157" y="1188"/>
                </a:cubicBezTo>
                <a:cubicBezTo>
                  <a:pt x="2151" y="1198"/>
                  <a:pt x="2148" y="1206"/>
                  <a:pt x="2146" y="1211"/>
                </a:cubicBezTo>
                <a:cubicBezTo>
                  <a:pt x="2145" y="1213"/>
                  <a:pt x="2144" y="1215"/>
                  <a:pt x="2144" y="1215"/>
                </a:cubicBezTo>
                <a:cubicBezTo>
                  <a:pt x="2143" y="1216"/>
                  <a:pt x="2143" y="1216"/>
                  <a:pt x="2143" y="1216"/>
                </a:cubicBezTo>
                <a:cubicBezTo>
                  <a:pt x="2142" y="1216"/>
                  <a:pt x="2141" y="1216"/>
                  <a:pt x="2140" y="1217"/>
                </a:cubicBezTo>
                <a:cubicBezTo>
                  <a:pt x="2139" y="1218"/>
                  <a:pt x="2138" y="1221"/>
                  <a:pt x="2138" y="1223"/>
                </a:cubicBezTo>
                <a:cubicBezTo>
                  <a:pt x="2138" y="1226"/>
                  <a:pt x="2139" y="1227"/>
                  <a:pt x="2140" y="1229"/>
                </a:cubicBezTo>
                <a:cubicBezTo>
                  <a:pt x="2143" y="1232"/>
                  <a:pt x="2146" y="1236"/>
                  <a:pt x="2147" y="1243"/>
                </a:cubicBezTo>
                <a:cubicBezTo>
                  <a:pt x="2148" y="1244"/>
                  <a:pt x="2148" y="1245"/>
                  <a:pt x="2148" y="1246"/>
                </a:cubicBezTo>
                <a:cubicBezTo>
                  <a:pt x="2148" y="1250"/>
                  <a:pt x="2146" y="1256"/>
                  <a:pt x="2146" y="1263"/>
                </a:cubicBezTo>
                <a:cubicBezTo>
                  <a:pt x="2145" y="1271"/>
                  <a:pt x="2150" y="1281"/>
                  <a:pt x="2162" y="1287"/>
                </a:cubicBezTo>
                <a:cubicBezTo>
                  <a:pt x="2183" y="1299"/>
                  <a:pt x="2192" y="1309"/>
                  <a:pt x="2197" y="1324"/>
                </a:cubicBezTo>
                <a:cubicBezTo>
                  <a:pt x="2204" y="1343"/>
                  <a:pt x="2233" y="1370"/>
                  <a:pt x="2233" y="1370"/>
                </a:cubicBezTo>
                <a:cubicBezTo>
                  <a:pt x="2233" y="1371"/>
                  <a:pt x="2254" y="1392"/>
                  <a:pt x="2264" y="1402"/>
                </a:cubicBezTo>
                <a:cubicBezTo>
                  <a:pt x="2269" y="1406"/>
                  <a:pt x="2272" y="1409"/>
                  <a:pt x="2277" y="1409"/>
                </a:cubicBezTo>
                <a:cubicBezTo>
                  <a:pt x="2282" y="1409"/>
                  <a:pt x="2285" y="1406"/>
                  <a:pt x="2287" y="1403"/>
                </a:cubicBezTo>
                <a:cubicBezTo>
                  <a:pt x="2289" y="1400"/>
                  <a:pt x="2290" y="1397"/>
                  <a:pt x="2290" y="1394"/>
                </a:cubicBezTo>
                <a:cubicBezTo>
                  <a:pt x="2291" y="1392"/>
                  <a:pt x="2292" y="1390"/>
                  <a:pt x="2297" y="1389"/>
                </a:cubicBezTo>
                <a:cubicBezTo>
                  <a:pt x="2302" y="1388"/>
                  <a:pt x="2309" y="1387"/>
                  <a:pt x="2317" y="1387"/>
                </a:cubicBezTo>
                <a:cubicBezTo>
                  <a:pt x="2328" y="1387"/>
                  <a:pt x="2337" y="1390"/>
                  <a:pt x="2349" y="1390"/>
                </a:cubicBezTo>
                <a:cubicBezTo>
                  <a:pt x="2353" y="1390"/>
                  <a:pt x="2357" y="1389"/>
                  <a:pt x="2361" y="1389"/>
                </a:cubicBezTo>
                <a:cubicBezTo>
                  <a:pt x="2380" y="1385"/>
                  <a:pt x="2396" y="1372"/>
                  <a:pt x="2401" y="1370"/>
                </a:cubicBezTo>
                <a:cubicBezTo>
                  <a:pt x="2406" y="1367"/>
                  <a:pt x="2417" y="1360"/>
                  <a:pt x="2426" y="1360"/>
                </a:cubicBezTo>
                <a:cubicBezTo>
                  <a:pt x="2430" y="1360"/>
                  <a:pt x="2432" y="1361"/>
                  <a:pt x="2435" y="1363"/>
                </a:cubicBezTo>
                <a:cubicBezTo>
                  <a:pt x="2441" y="1367"/>
                  <a:pt x="2444" y="1372"/>
                  <a:pt x="2446" y="1378"/>
                </a:cubicBezTo>
                <a:cubicBezTo>
                  <a:pt x="2448" y="1384"/>
                  <a:pt x="2450" y="1391"/>
                  <a:pt x="2455" y="1398"/>
                </a:cubicBezTo>
                <a:cubicBezTo>
                  <a:pt x="2459" y="1402"/>
                  <a:pt x="2465" y="1405"/>
                  <a:pt x="2470" y="1405"/>
                </a:cubicBezTo>
                <a:cubicBezTo>
                  <a:pt x="2480" y="1405"/>
                  <a:pt x="2488" y="1399"/>
                  <a:pt x="2496" y="1393"/>
                </a:cubicBezTo>
                <a:cubicBezTo>
                  <a:pt x="2497" y="1391"/>
                  <a:pt x="2498" y="1390"/>
                  <a:pt x="2499" y="1390"/>
                </a:cubicBezTo>
                <a:cubicBezTo>
                  <a:pt x="2500" y="1391"/>
                  <a:pt x="2503" y="1394"/>
                  <a:pt x="2507" y="1396"/>
                </a:cubicBezTo>
                <a:cubicBezTo>
                  <a:pt x="2514" y="1401"/>
                  <a:pt x="2517" y="1405"/>
                  <a:pt x="2517" y="1407"/>
                </a:cubicBezTo>
                <a:cubicBezTo>
                  <a:pt x="2517" y="1409"/>
                  <a:pt x="2516" y="1412"/>
                  <a:pt x="2513" y="1416"/>
                </a:cubicBezTo>
                <a:cubicBezTo>
                  <a:pt x="2505" y="1424"/>
                  <a:pt x="2504" y="1433"/>
                  <a:pt x="2503" y="1442"/>
                </a:cubicBezTo>
                <a:cubicBezTo>
                  <a:pt x="2503" y="1451"/>
                  <a:pt x="2503" y="1460"/>
                  <a:pt x="2500" y="1469"/>
                </a:cubicBezTo>
                <a:cubicBezTo>
                  <a:pt x="2497" y="1477"/>
                  <a:pt x="2495" y="1482"/>
                  <a:pt x="2495" y="1487"/>
                </a:cubicBezTo>
                <a:cubicBezTo>
                  <a:pt x="2495" y="1491"/>
                  <a:pt x="2497" y="1496"/>
                  <a:pt x="2499" y="1499"/>
                </a:cubicBezTo>
                <a:cubicBezTo>
                  <a:pt x="2502" y="1501"/>
                  <a:pt x="2505" y="1504"/>
                  <a:pt x="2509" y="1506"/>
                </a:cubicBezTo>
                <a:cubicBezTo>
                  <a:pt x="2513" y="1508"/>
                  <a:pt x="2523" y="1523"/>
                  <a:pt x="2530" y="1538"/>
                </a:cubicBezTo>
                <a:cubicBezTo>
                  <a:pt x="2539" y="1553"/>
                  <a:pt x="2546" y="1568"/>
                  <a:pt x="2550" y="1574"/>
                </a:cubicBezTo>
                <a:cubicBezTo>
                  <a:pt x="2551" y="1575"/>
                  <a:pt x="2552" y="1579"/>
                  <a:pt x="2552" y="1584"/>
                </a:cubicBezTo>
                <a:cubicBezTo>
                  <a:pt x="2552" y="1590"/>
                  <a:pt x="2551" y="1596"/>
                  <a:pt x="2551" y="1603"/>
                </a:cubicBezTo>
                <a:cubicBezTo>
                  <a:pt x="2551" y="1611"/>
                  <a:pt x="2552" y="1619"/>
                  <a:pt x="2555" y="1627"/>
                </a:cubicBezTo>
                <a:cubicBezTo>
                  <a:pt x="2561" y="1638"/>
                  <a:pt x="2566" y="1647"/>
                  <a:pt x="2566" y="1651"/>
                </a:cubicBezTo>
                <a:cubicBezTo>
                  <a:pt x="2565" y="1653"/>
                  <a:pt x="2565" y="1653"/>
                  <a:pt x="2564" y="1655"/>
                </a:cubicBezTo>
                <a:cubicBezTo>
                  <a:pt x="2554" y="1664"/>
                  <a:pt x="2536" y="1680"/>
                  <a:pt x="2535" y="1710"/>
                </a:cubicBezTo>
                <a:cubicBezTo>
                  <a:pt x="2535" y="1713"/>
                  <a:pt x="2535" y="1716"/>
                  <a:pt x="2535" y="1718"/>
                </a:cubicBezTo>
                <a:cubicBezTo>
                  <a:pt x="2535" y="1743"/>
                  <a:pt x="2540" y="1760"/>
                  <a:pt x="2545" y="1770"/>
                </a:cubicBezTo>
                <a:cubicBezTo>
                  <a:pt x="2549" y="1779"/>
                  <a:pt x="2561" y="1805"/>
                  <a:pt x="2567" y="1816"/>
                </a:cubicBezTo>
                <a:cubicBezTo>
                  <a:pt x="2572" y="1824"/>
                  <a:pt x="2579" y="1848"/>
                  <a:pt x="2580" y="1861"/>
                </a:cubicBezTo>
                <a:cubicBezTo>
                  <a:pt x="2580" y="1864"/>
                  <a:pt x="2580" y="1866"/>
                  <a:pt x="2580" y="1869"/>
                </a:cubicBezTo>
                <a:cubicBezTo>
                  <a:pt x="2580" y="1874"/>
                  <a:pt x="2580" y="1879"/>
                  <a:pt x="2580" y="1884"/>
                </a:cubicBezTo>
                <a:cubicBezTo>
                  <a:pt x="2580" y="1892"/>
                  <a:pt x="2580" y="1899"/>
                  <a:pt x="2584" y="1906"/>
                </a:cubicBezTo>
                <a:cubicBezTo>
                  <a:pt x="2589" y="1913"/>
                  <a:pt x="2593" y="1926"/>
                  <a:pt x="2605" y="1938"/>
                </a:cubicBezTo>
                <a:cubicBezTo>
                  <a:pt x="2609" y="1942"/>
                  <a:pt x="2612" y="1950"/>
                  <a:pt x="2614" y="1957"/>
                </a:cubicBezTo>
                <a:cubicBezTo>
                  <a:pt x="2616" y="1964"/>
                  <a:pt x="2617" y="1969"/>
                  <a:pt x="2617" y="1969"/>
                </a:cubicBezTo>
                <a:cubicBezTo>
                  <a:pt x="2617" y="1971"/>
                  <a:pt x="2617" y="1971"/>
                  <a:pt x="2617" y="1971"/>
                </a:cubicBezTo>
                <a:cubicBezTo>
                  <a:pt x="2617" y="1971"/>
                  <a:pt x="2618" y="1973"/>
                  <a:pt x="2619" y="1977"/>
                </a:cubicBezTo>
                <a:cubicBezTo>
                  <a:pt x="2620" y="1981"/>
                  <a:pt x="2621" y="1987"/>
                  <a:pt x="2621" y="1994"/>
                </a:cubicBezTo>
                <a:cubicBezTo>
                  <a:pt x="2622" y="2001"/>
                  <a:pt x="2622" y="2008"/>
                  <a:pt x="2625" y="2014"/>
                </a:cubicBezTo>
                <a:cubicBezTo>
                  <a:pt x="2627" y="2021"/>
                  <a:pt x="2631" y="2026"/>
                  <a:pt x="2638" y="2030"/>
                </a:cubicBezTo>
                <a:cubicBezTo>
                  <a:pt x="2645" y="2034"/>
                  <a:pt x="2651" y="2036"/>
                  <a:pt x="2657" y="2036"/>
                </a:cubicBezTo>
                <a:cubicBezTo>
                  <a:pt x="2658" y="2036"/>
                  <a:pt x="2658" y="2036"/>
                  <a:pt x="2658" y="2036"/>
                </a:cubicBezTo>
                <a:cubicBezTo>
                  <a:pt x="2663" y="2036"/>
                  <a:pt x="2668" y="2034"/>
                  <a:pt x="2671" y="2030"/>
                </a:cubicBezTo>
                <a:cubicBezTo>
                  <a:pt x="2671" y="2030"/>
                  <a:pt x="2672" y="2029"/>
                  <a:pt x="2674" y="2028"/>
                </a:cubicBezTo>
                <a:cubicBezTo>
                  <a:pt x="2681" y="2026"/>
                  <a:pt x="2693" y="2025"/>
                  <a:pt x="2704" y="2025"/>
                </a:cubicBezTo>
                <a:cubicBezTo>
                  <a:pt x="2708" y="2025"/>
                  <a:pt x="2712" y="2025"/>
                  <a:pt x="2715" y="2026"/>
                </a:cubicBezTo>
                <a:cubicBezTo>
                  <a:pt x="2717" y="2026"/>
                  <a:pt x="2718" y="2026"/>
                  <a:pt x="2719" y="2026"/>
                </a:cubicBezTo>
                <a:cubicBezTo>
                  <a:pt x="2736" y="2026"/>
                  <a:pt x="2752" y="2015"/>
                  <a:pt x="2767" y="2003"/>
                </a:cubicBezTo>
                <a:cubicBezTo>
                  <a:pt x="2783" y="1990"/>
                  <a:pt x="2805" y="1957"/>
                  <a:pt x="2813" y="1948"/>
                </a:cubicBezTo>
                <a:cubicBezTo>
                  <a:pt x="2816" y="1943"/>
                  <a:pt x="2822" y="1937"/>
                  <a:pt x="2828" y="1930"/>
                </a:cubicBezTo>
                <a:cubicBezTo>
                  <a:pt x="2833" y="1923"/>
                  <a:pt x="2838" y="1916"/>
                  <a:pt x="2838" y="1907"/>
                </a:cubicBezTo>
                <a:cubicBezTo>
                  <a:pt x="2838" y="1906"/>
                  <a:pt x="2838" y="1905"/>
                  <a:pt x="2838" y="1904"/>
                </a:cubicBezTo>
                <a:cubicBezTo>
                  <a:pt x="2837" y="1897"/>
                  <a:pt x="2835" y="1892"/>
                  <a:pt x="2835" y="1888"/>
                </a:cubicBezTo>
                <a:cubicBezTo>
                  <a:pt x="2835" y="1885"/>
                  <a:pt x="2835" y="1884"/>
                  <a:pt x="2838" y="1883"/>
                </a:cubicBezTo>
                <a:cubicBezTo>
                  <a:pt x="2842" y="1880"/>
                  <a:pt x="2850" y="1876"/>
                  <a:pt x="2857" y="1871"/>
                </a:cubicBezTo>
                <a:cubicBezTo>
                  <a:pt x="2864" y="1866"/>
                  <a:pt x="2871" y="1862"/>
                  <a:pt x="2873" y="1853"/>
                </a:cubicBezTo>
                <a:cubicBezTo>
                  <a:pt x="2873" y="1853"/>
                  <a:pt x="2873" y="1852"/>
                  <a:pt x="2873" y="1851"/>
                </a:cubicBezTo>
                <a:cubicBezTo>
                  <a:pt x="2873" y="1838"/>
                  <a:pt x="2864" y="1808"/>
                  <a:pt x="2862" y="1801"/>
                </a:cubicBezTo>
                <a:cubicBezTo>
                  <a:pt x="2862" y="1801"/>
                  <a:pt x="2862" y="1801"/>
                  <a:pt x="2862" y="1800"/>
                </a:cubicBezTo>
                <a:cubicBezTo>
                  <a:pt x="2862" y="1797"/>
                  <a:pt x="2868" y="1785"/>
                  <a:pt x="2876" y="1773"/>
                </a:cubicBezTo>
                <a:cubicBezTo>
                  <a:pt x="2880" y="1768"/>
                  <a:pt x="2889" y="1762"/>
                  <a:pt x="2897" y="1758"/>
                </a:cubicBezTo>
                <a:cubicBezTo>
                  <a:pt x="2902" y="1755"/>
                  <a:pt x="2906" y="1753"/>
                  <a:pt x="2910" y="1751"/>
                </a:cubicBezTo>
                <a:cubicBezTo>
                  <a:pt x="2913" y="1749"/>
                  <a:pt x="2916" y="1748"/>
                  <a:pt x="2919" y="1745"/>
                </a:cubicBezTo>
                <a:cubicBezTo>
                  <a:pt x="2924" y="1738"/>
                  <a:pt x="2937" y="1715"/>
                  <a:pt x="2939" y="1695"/>
                </a:cubicBezTo>
                <a:cubicBezTo>
                  <a:pt x="2940" y="1692"/>
                  <a:pt x="2940" y="1689"/>
                  <a:pt x="2940" y="1686"/>
                </a:cubicBezTo>
                <a:cubicBezTo>
                  <a:pt x="2940" y="1674"/>
                  <a:pt x="2938" y="1662"/>
                  <a:pt x="2938" y="1654"/>
                </a:cubicBezTo>
                <a:cubicBezTo>
                  <a:pt x="2938" y="1651"/>
                  <a:pt x="2938" y="1648"/>
                  <a:pt x="2939" y="1647"/>
                </a:cubicBezTo>
                <a:cubicBezTo>
                  <a:pt x="2941" y="1644"/>
                  <a:pt x="2942" y="1640"/>
                  <a:pt x="2942" y="1636"/>
                </a:cubicBezTo>
                <a:cubicBezTo>
                  <a:pt x="2941" y="1627"/>
                  <a:pt x="2936" y="1620"/>
                  <a:pt x="2929" y="1611"/>
                </a:cubicBezTo>
                <a:cubicBezTo>
                  <a:pt x="2925" y="1608"/>
                  <a:pt x="2923" y="1598"/>
                  <a:pt x="2922" y="1588"/>
                </a:cubicBezTo>
                <a:cubicBezTo>
                  <a:pt x="2921" y="1583"/>
                  <a:pt x="2921" y="1578"/>
                  <a:pt x="2921" y="1574"/>
                </a:cubicBezTo>
                <a:cubicBezTo>
                  <a:pt x="2920" y="1570"/>
                  <a:pt x="2920" y="1567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7" y="1559"/>
                  <a:pt x="2917" y="1556"/>
                </a:cubicBezTo>
                <a:cubicBezTo>
                  <a:pt x="2917" y="1551"/>
                  <a:pt x="2918" y="1545"/>
                  <a:pt x="2919" y="1540"/>
                </a:cubicBezTo>
                <a:cubicBezTo>
                  <a:pt x="2919" y="1538"/>
                  <a:pt x="2920" y="1536"/>
                  <a:pt x="2921" y="1535"/>
                </a:cubicBezTo>
                <a:cubicBezTo>
                  <a:pt x="2921" y="1535"/>
                  <a:pt x="2921" y="1534"/>
                  <a:pt x="2921" y="1534"/>
                </a:cubicBezTo>
                <a:cubicBezTo>
                  <a:pt x="2925" y="1532"/>
                  <a:pt x="2927" y="1530"/>
                  <a:pt x="2930" y="1526"/>
                </a:cubicBezTo>
                <a:cubicBezTo>
                  <a:pt x="2938" y="1516"/>
                  <a:pt x="2948" y="1498"/>
                  <a:pt x="2954" y="1490"/>
                </a:cubicBezTo>
                <a:cubicBezTo>
                  <a:pt x="2959" y="1483"/>
                  <a:pt x="2968" y="1471"/>
                  <a:pt x="2977" y="1459"/>
                </a:cubicBezTo>
                <a:cubicBezTo>
                  <a:pt x="2986" y="1448"/>
                  <a:pt x="2997" y="1438"/>
                  <a:pt x="2999" y="1438"/>
                </a:cubicBezTo>
                <a:cubicBezTo>
                  <a:pt x="3008" y="1436"/>
                  <a:pt x="3016" y="1429"/>
                  <a:pt x="3023" y="1421"/>
                </a:cubicBezTo>
                <a:cubicBezTo>
                  <a:pt x="3031" y="1413"/>
                  <a:pt x="3036" y="1404"/>
                  <a:pt x="3037" y="1396"/>
                </a:cubicBezTo>
                <a:cubicBezTo>
                  <a:pt x="3037" y="1393"/>
                  <a:pt x="3046" y="1377"/>
                  <a:pt x="3054" y="1363"/>
                </a:cubicBezTo>
                <a:cubicBezTo>
                  <a:pt x="3059" y="1355"/>
                  <a:pt x="3063" y="1348"/>
                  <a:pt x="3066" y="1342"/>
                </a:cubicBezTo>
                <a:cubicBezTo>
                  <a:pt x="3070" y="1336"/>
                  <a:pt x="3072" y="1332"/>
                  <a:pt x="3073" y="1327"/>
                </a:cubicBezTo>
                <a:cubicBezTo>
                  <a:pt x="3073" y="1324"/>
                  <a:pt x="3076" y="1315"/>
                  <a:pt x="3078" y="1306"/>
                </a:cubicBezTo>
                <a:cubicBezTo>
                  <a:pt x="3081" y="1297"/>
                  <a:pt x="3084" y="1287"/>
                  <a:pt x="3084" y="1279"/>
                </a:cubicBezTo>
                <a:cubicBezTo>
                  <a:pt x="3084" y="1275"/>
                  <a:pt x="3083" y="1272"/>
                  <a:pt x="3081" y="1269"/>
                </a:cubicBezTo>
                <a:cubicBezTo>
                  <a:pt x="3078" y="1265"/>
                  <a:pt x="3074" y="1264"/>
                  <a:pt x="3071" y="1264"/>
                </a:cubicBezTo>
                <a:cubicBezTo>
                  <a:pt x="3054" y="1265"/>
                  <a:pt x="3023" y="1280"/>
                  <a:pt x="3017" y="1282"/>
                </a:cubicBezTo>
                <a:cubicBezTo>
                  <a:pt x="3011" y="1285"/>
                  <a:pt x="2998" y="1294"/>
                  <a:pt x="2983" y="1294"/>
                </a:cubicBezTo>
                <a:cubicBezTo>
                  <a:pt x="2982" y="1294"/>
                  <a:pt x="2981" y="1294"/>
                  <a:pt x="2980" y="1294"/>
                </a:cubicBezTo>
                <a:cubicBezTo>
                  <a:pt x="2976" y="1293"/>
                  <a:pt x="2975" y="1293"/>
                  <a:pt x="2974" y="1292"/>
                </a:cubicBezTo>
                <a:cubicBezTo>
                  <a:pt x="2974" y="1291"/>
                  <a:pt x="2973" y="1289"/>
                  <a:pt x="2973" y="1287"/>
                </a:cubicBezTo>
                <a:cubicBezTo>
                  <a:pt x="2973" y="1283"/>
                  <a:pt x="2974" y="1279"/>
                  <a:pt x="2974" y="1274"/>
                </a:cubicBezTo>
                <a:cubicBezTo>
                  <a:pt x="2974" y="1273"/>
                  <a:pt x="2974" y="1273"/>
                  <a:pt x="2974" y="1272"/>
                </a:cubicBezTo>
                <a:cubicBezTo>
                  <a:pt x="2974" y="1269"/>
                  <a:pt x="2972" y="1265"/>
                  <a:pt x="2970" y="1261"/>
                </a:cubicBezTo>
                <a:cubicBezTo>
                  <a:pt x="2971" y="1262"/>
                  <a:pt x="2972" y="1262"/>
                  <a:pt x="2972" y="1263"/>
                </a:cubicBezTo>
                <a:cubicBezTo>
                  <a:pt x="2975" y="1264"/>
                  <a:pt x="2978" y="1264"/>
                  <a:pt x="2981" y="1264"/>
                </a:cubicBezTo>
                <a:cubicBezTo>
                  <a:pt x="2988" y="1264"/>
                  <a:pt x="2997" y="1262"/>
                  <a:pt x="3005" y="1259"/>
                </a:cubicBezTo>
                <a:cubicBezTo>
                  <a:pt x="3014" y="1256"/>
                  <a:pt x="3021" y="1254"/>
                  <a:pt x="3024" y="1251"/>
                </a:cubicBezTo>
                <a:cubicBezTo>
                  <a:pt x="3029" y="1248"/>
                  <a:pt x="3069" y="1225"/>
                  <a:pt x="3079" y="1225"/>
                </a:cubicBezTo>
                <a:cubicBezTo>
                  <a:pt x="3088" y="1224"/>
                  <a:pt x="3093" y="1220"/>
                  <a:pt x="3098" y="1216"/>
                </a:cubicBezTo>
                <a:cubicBezTo>
                  <a:pt x="3102" y="1213"/>
                  <a:pt x="3106" y="1210"/>
                  <a:pt x="3113" y="1208"/>
                </a:cubicBezTo>
                <a:cubicBezTo>
                  <a:pt x="3133" y="1203"/>
                  <a:pt x="3146" y="1187"/>
                  <a:pt x="3157" y="1176"/>
                </a:cubicBezTo>
                <a:cubicBezTo>
                  <a:pt x="3170" y="1163"/>
                  <a:pt x="3184" y="1136"/>
                  <a:pt x="3189" y="1126"/>
                </a:cubicBezTo>
                <a:cubicBezTo>
                  <a:pt x="3191" y="1120"/>
                  <a:pt x="3200" y="1114"/>
                  <a:pt x="3201" y="1102"/>
                </a:cubicBezTo>
                <a:cubicBezTo>
                  <a:pt x="3201" y="1099"/>
                  <a:pt x="3200" y="1096"/>
                  <a:pt x="3199" y="1093"/>
                </a:cubicBezTo>
                <a:cubicBezTo>
                  <a:pt x="3195" y="1086"/>
                  <a:pt x="3187" y="1079"/>
                  <a:pt x="3179" y="1073"/>
                </a:cubicBezTo>
                <a:cubicBezTo>
                  <a:pt x="3170" y="1067"/>
                  <a:pt x="3162" y="1062"/>
                  <a:pt x="3155" y="1061"/>
                </a:cubicBezTo>
                <a:cubicBezTo>
                  <a:pt x="3155" y="1061"/>
                  <a:pt x="3155" y="1061"/>
                  <a:pt x="3154" y="1060"/>
                </a:cubicBezTo>
                <a:cubicBezTo>
                  <a:pt x="3153" y="1058"/>
                  <a:pt x="3152" y="1055"/>
                  <a:pt x="3151" y="1051"/>
                </a:cubicBezTo>
                <a:cubicBezTo>
                  <a:pt x="3150" y="1050"/>
                  <a:pt x="3150" y="1048"/>
                  <a:pt x="3148" y="1046"/>
                </a:cubicBezTo>
                <a:cubicBezTo>
                  <a:pt x="3147" y="1044"/>
                  <a:pt x="3144" y="1042"/>
                  <a:pt x="3141" y="1042"/>
                </a:cubicBezTo>
                <a:cubicBezTo>
                  <a:pt x="3137" y="1041"/>
                  <a:pt x="3134" y="1043"/>
                  <a:pt x="3133" y="1045"/>
                </a:cubicBezTo>
                <a:cubicBezTo>
                  <a:pt x="3128" y="1051"/>
                  <a:pt x="3128" y="1055"/>
                  <a:pt x="3121" y="1059"/>
                </a:cubicBezTo>
                <a:cubicBezTo>
                  <a:pt x="3116" y="1063"/>
                  <a:pt x="3110" y="1067"/>
                  <a:pt x="3105" y="1071"/>
                </a:cubicBezTo>
                <a:cubicBezTo>
                  <a:pt x="3101" y="1074"/>
                  <a:pt x="3097" y="1076"/>
                  <a:pt x="3096" y="1076"/>
                </a:cubicBezTo>
                <a:cubicBezTo>
                  <a:pt x="3096" y="1076"/>
                  <a:pt x="3096" y="1075"/>
                  <a:pt x="3096" y="1075"/>
                </a:cubicBezTo>
                <a:cubicBezTo>
                  <a:pt x="3096" y="1070"/>
                  <a:pt x="3095" y="1063"/>
                  <a:pt x="3087" y="1056"/>
                </a:cubicBezTo>
                <a:cubicBezTo>
                  <a:pt x="3081" y="1049"/>
                  <a:pt x="3077" y="1046"/>
                  <a:pt x="3074" y="1043"/>
                </a:cubicBezTo>
                <a:cubicBezTo>
                  <a:pt x="3072" y="1040"/>
                  <a:pt x="3072" y="1039"/>
                  <a:pt x="3072" y="1035"/>
                </a:cubicBezTo>
                <a:cubicBezTo>
                  <a:pt x="3072" y="1030"/>
                  <a:pt x="3069" y="1027"/>
                  <a:pt x="3067" y="1023"/>
                </a:cubicBezTo>
                <a:cubicBezTo>
                  <a:pt x="3059" y="1013"/>
                  <a:pt x="3045" y="999"/>
                  <a:pt x="3044" y="993"/>
                </a:cubicBezTo>
                <a:cubicBezTo>
                  <a:pt x="3044" y="992"/>
                  <a:pt x="3044" y="992"/>
                  <a:pt x="3044" y="992"/>
                </a:cubicBezTo>
                <a:cubicBezTo>
                  <a:pt x="3044" y="988"/>
                  <a:pt x="3046" y="984"/>
                  <a:pt x="3049" y="980"/>
                </a:cubicBezTo>
                <a:cubicBezTo>
                  <a:pt x="3051" y="977"/>
                  <a:pt x="3055" y="975"/>
                  <a:pt x="3055" y="975"/>
                </a:cubicBezTo>
                <a:cubicBezTo>
                  <a:pt x="3056" y="975"/>
                  <a:pt x="3056" y="975"/>
                  <a:pt x="3056" y="976"/>
                </a:cubicBezTo>
                <a:cubicBezTo>
                  <a:pt x="3061" y="987"/>
                  <a:pt x="3066" y="1008"/>
                  <a:pt x="3084" y="1018"/>
                </a:cubicBezTo>
                <a:cubicBezTo>
                  <a:pt x="3091" y="1022"/>
                  <a:pt x="3097" y="1028"/>
                  <a:pt x="3104" y="1032"/>
                </a:cubicBezTo>
                <a:cubicBezTo>
                  <a:pt x="3110" y="1037"/>
                  <a:pt x="3115" y="1041"/>
                  <a:pt x="3120" y="1044"/>
                </a:cubicBezTo>
                <a:cubicBezTo>
                  <a:pt x="3121" y="1044"/>
                  <a:pt x="3123" y="1044"/>
                  <a:pt x="3124" y="1044"/>
                </a:cubicBezTo>
                <a:cubicBezTo>
                  <a:pt x="3131" y="1044"/>
                  <a:pt x="3136" y="1040"/>
                  <a:pt x="3141" y="1037"/>
                </a:cubicBezTo>
                <a:cubicBezTo>
                  <a:pt x="3143" y="1035"/>
                  <a:pt x="3146" y="1034"/>
                  <a:pt x="3148" y="1033"/>
                </a:cubicBezTo>
                <a:cubicBezTo>
                  <a:pt x="3149" y="1032"/>
                  <a:pt x="3149" y="1032"/>
                  <a:pt x="3150" y="1032"/>
                </a:cubicBezTo>
                <a:cubicBezTo>
                  <a:pt x="3152" y="1034"/>
                  <a:pt x="3156" y="1040"/>
                  <a:pt x="3160" y="1046"/>
                </a:cubicBezTo>
                <a:cubicBezTo>
                  <a:pt x="3165" y="1053"/>
                  <a:pt x="3170" y="1060"/>
                  <a:pt x="3178" y="1063"/>
                </a:cubicBezTo>
                <a:cubicBezTo>
                  <a:pt x="3184" y="1066"/>
                  <a:pt x="3195" y="1067"/>
                  <a:pt x="3206" y="1068"/>
                </a:cubicBezTo>
                <a:cubicBezTo>
                  <a:pt x="3217" y="1069"/>
                  <a:pt x="3227" y="1069"/>
                  <a:pt x="3230" y="1069"/>
                </a:cubicBezTo>
                <a:cubicBezTo>
                  <a:pt x="3232" y="1069"/>
                  <a:pt x="3234" y="1069"/>
                  <a:pt x="3238" y="1069"/>
                </a:cubicBezTo>
                <a:cubicBezTo>
                  <a:pt x="3242" y="1069"/>
                  <a:pt x="3249" y="1069"/>
                  <a:pt x="3255" y="1068"/>
                </a:cubicBezTo>
                <a:cubicBezTo>
                  <a:pt x="3260" y="1066"/>
                  <a:pt x="3266" y="1065"/>
                  <a:pt x="3270" y="1059"/>
                </a:cubicBezTo>
                <a:cubicBezTo>
                  <a:pt x="3272" y="1055"/>
                  <a:pt x="3273" y="1054"/>
                  <a:pt x="3274" y="1054"/>
                </a:cubicBezTo>
                <a:cubicBezTo>
                  <a:pt x="3274" y="1054"/>
                  <a:pt x="3275" y="1054"/>
                  <a:pt x="3278" y="1054"/>
                </a:cubicBezTo>
                <a:cubicBezTo>
                  <a:pt x="3279" y="1055"/>
                  <a:pt x="3283" y="1061"/>
                  <a:pt x="3286" y="1066"/>
                </a:cubicBezTo>
                <a:cubicBezTo>
                  <a:pt x="3291" y="1072"/>
                  <a:pt x="3294" y="1078"/>
                  <a:pt x="3301" y="1081"/>
                </a:cubicBezTo>
                <a:cubicBezTo>
                  <a:pt x="3306" y="1083"/>
                  <a:pt x="3311" y="1083"/>
                  <a:pt x="3314" y="1084"/>
                </a:cubicBezTo>
                <a:cubicBezTo>
                  <a:pt x="3317" y="1086"/>
                  <a:pt x="3318" y="1086"/>
                  <a:pt x="3319" y="1093"/>
                </a:cubicBezTo>
                <a:cubicBezTo>
                  <a:pt x="3319" y="1093"/>
                  <a:pt x="3319" y="1094"/>
                  <a:pt x="3319" y="1094"/>
                </a:cubicBezTo>
                <a:cubicBezTo>
                  <a:pt x="3319" y="1095"/>
                  <a:pt x="3319" y="1097"/>
                  <a:pt x="3319" y="1098"/>
                </a:cubicBezTo>
                <a:cubicBezTo>
                  <a:pt x="3319" y="1107"/>
                  <a:pt x="3321" y="1115"/>
                  <a:pt x="3324" y="1122"/>
                </a:cubicBezTo>
                <a:cubicBezTo>
                  <a:pt x="3327" y="1128"/>
                  <a:pt x="3332" y="1134"/>
                  <a:pt x="3339" y="1135"/>
                </a:cubicBezTo>
                <a:cubicBezTo>
                  <a:pt x="3339" y="1135"/>
                  <a:pt x="3340" y="1135"/>
                  <a:pt x="3340" y="1135"/>
                </a:cubicBezTo>
                <a:cubicBezTo>
                  <a:pt x="3349" y="1134"/>
                  <a:pt x="3354" y="1129"/>
                  <a:pt x="3360" y="1124"/>
                </a:cubicBezTo>
                <a:cubicBezTo>
                  <a:pt x="3360" y="1134"/>
                  <a:pt x="3360" y="1148"/>
                  <a:pt x="3359" y="1155"/>
                </a:cubicBezTo>
                <a:cubicBezTo>
                  <a:pt x="3359" y="1155"/>
                  <a:pt x="3359" y="1156"/>
                  <a:pt x="3359" y="1157"/>
                </a:cubicBezTo>
                <a:cubicBezTo>
                  <a:pt x="3359" y="1173"/>
                  <a:pt x="3372" y="1214"/>
                  <a:pt x="3372" y="1215"/>
                </a:cubicBezTo>
                <a:cubicBezTo>
                  <a:pt x="3372" y="1215"/>
                  <a:pt x="3372" y="1215"/>
                  <a:pt x="3372" y="1215"/>
                </a:cubicBezTo>
                <a:cubicBezTo>
                  <a:pt x="3372" y="1215"/>
                  <a:pt x="3389" y="1258"/>
                  <a:pt x="3394" y="1268"/>
                </a:cubicBezTo>
                <a:cubicBezTo>
                  <a:pt x="3397" y="1274"/>
                  <a:pt x="3403" y="1283"/>
                  <a:pt x="3408" y="1293"/>
                </a:cubicBezTo>
                <a:cubicBezTo>
                  <a:pt x="3413" y="1302"/>
                  <a:pt x="3418" y="1313"/>
                  <a:pt x="3418" y="1316"/>
                </a:cubicBezTo>
                <a:cubicBezTo>
                  <a:pt x="3418" y="1323"/>
                  <a:pt x="3418" y="1331"/>
                  <a:pt x="3420" y="1338"/>
                </a:cubicBezTo>
                <a:cubicBezTo>
                  <a:pt x="3421" y="1342"/>
                  <a:pt x="3422" y="1345"/>
                  <a:pt x="3423" y="1348"/>
                </a:cubicBezTo>
                <a:cubicBezTo>
                  <a:pt x="3425" y="1351"/>
                  <a:pt x="3428" y="1354"/>
                  <a:pt x="3433" y="1354"/>
                </a:cubicBezTo>
                <a:cubicBezTo>
                  <a:pt x="3438" y="1354"/>
                  <a:pt x="3441" y="1351"/>
                  <a:pt x="3443" y="1348"/>
                </a:cubicBezTo>
                <a:cubicBezTo>
                  <a:pt x="3449" y="1340"/>
                  <a:pt x="3454" y="1325"/>
                  <a:pt x="3460" y="1315"/>
                </a:cubicBezTo>
                <a:cubicBezTo>
                  <a:pt x="3461" y="1314"/>
                  <a:pt x="3461" y="1313"/>
                  <a:pt x="3462" y="1311"/>
                </a:cubicBezTo>
                <a:cubicBezTo>
                  <a:pt x="3461" y="1314"/>
                  <a:pt x="3460" y="1317"/>
                  <a:pt x="3459" y="1320"/>
                </a:cubicBezTo>
                <a:cubicBezTo>
                  <a:pt x="3458" y="1327"/>
                  <a:pt x="3457" y="1335"/>
                  <a:pt x="3457" y="1343"/>
                </a:cubicBezTo>
                <a:cubicBezTo>
                  <a:pt x="3457" y="1349"/>
                  <a:pt x="3457" y="1354"/>
                  <a:pt x="3459" y="1359"/>
                </a:cubicBezTo>
                <a:cubicBezTo>
                  <a:pt x="3460" y="1364"/>
                  <a:pt x="3463" y="1369"/>
                  <a:pt x="3469" y="1372"/>
                </a:cubicBezTo>
                <a:cubicBezTo>
                  <a:pt x="3471" y="1373"/>
                  <a:pt x="3472" y="1373"/>
                  <a:pt x="3474" y="1373"/>
                </a:cubicBezTo>
                <a:cubicBezTo>
                  <a:pt x="3483" y="1373"/>
                  <a:pt x="3488" y="1367"/>
                  <a:pt x="3491" y="1361"/>
                </a:cubicBezTo>
                <a:cubicBezTo>
                  <a:pt x="3494" y="1355"/>
                  <a:pt x="3495" y="1349"/>
                  <a:pt x="3495" y="1343"/>
                </a:cubicBezTo>
                <a:cubicBezTo>
                  <a:pt x="3495" y="1340"/>
                  <a:pt x="3495" y="1337"/>
                  <a:pt x="3493" y="1334"/>
                </a:cubicBezTo>
                <a:cubicBezTo>
                  <a:pt x="3492" y="1333"/>
                  <a:pt x="3490" y="1325"/>
                  <a:pt x="3488" y="1319"/>
                </a:cubicBezTo>
                <a:cubicBezTo>
                  <a:pt x="3487" y="1315"/>
                  <a:pt x="3486" y="1312"/>
                  <a:pt x="3484" y="1309"/>
                </a:cubicBezTo>
                <a:cubicBezTo>
                  <a:pt x="3482" y="1306"/>
                  <a:pt x="3479" y="1303"/>
                  <a:pt x="3474" y="1303"/>
                </a:cubicBezTo>
                <a:cubicBezTo>
                  <a:pt x="3472" y="1303"/>
                  <a:pt x="3468" y="1303"/>
                  <a:pt x="3468" y="1304"/>
                </a:cubicBezTo>
                <a:cubicBezTo>
                  <a:pt x="3468" y="1304"/>
                  <a:pt x="3468" y="1304"/>
                  <a:pt x="3468" y="1304"/>
                </a:cubicBezTo>
                <a:cubicBezTo>
                  <a:pt x="3464" y="1306"/>
                  <a:pt x="3464" y="1308"/>
                  <a:pt x="3463" y="1310"/>
                </a:cubicBezTo>
                <a:cubicBezTo>
                  <a:pt x="3469" y="1296"/>
                  <a:pt x="3471" y="1279"/>
                  <a:pt x="3474" y="1267"/>
                </a:cubicBezTo>
                <a:cubicBezTo>
                  <a:pt x="3478" y="1252"/>
                  <a:pt x="3478" y="1227"/>
                  <a:pt x="3478" y="1217"/>
                </a:cubicBezTo>
                <a:cubicBezTo>
                  <a:pt x="3478" y="1211"/>
                  <a:pt x="3482" y="1205"/>
                  <a:pt x="3498" y="1196"/>
                </a:cubicBezTo>
                <a:cubicBezTo>
                  <a:pt x="3517" y="1186"/>
                  <a:pt x="3528" y="1162"/>
                  <a:pt x="3540" y="1151"/>
                </a:cubicBezTo>
                <a:cubicBezTo>
                  <a:pt x="3549" y="1144"/>
                  <a:pt x="3552" y="1135"/>
                  <a:pt x="3556" y="1129"/>
                </a:cubicBezTo>
                <a:cubicBezTo>
                  <a:pt x="3561" y="1124"/>
                  <a:pt x="3564" y="1120"/>
                  <a:pt x="3577" y="1120"/>
                </a:cubicBezTo>
                <a:cubicBezTo>
                  <a:pt x="3591" y="1120"/>
                  <a:pt x="3597" y="1120"/>
                  <a:pt x="3602" y="1119"/>
                </a:cubicBezTo>
                <a:cubicBezTo>
                  <a:pt x="3608" y="1117"/>
                  <a:pt x="3611" y="1113"/>
                  <a:pt x="3614" y="1109"/>
                </a:cubicBezTo>
                <a:cubicBezTo>
                  <a:pt x="3615" y="1107"/>
                  <a:pt x="3617" y="1105"/>
                  <a:pt x="3618" y="1104"/>
                </a:cubicBezTo>
                <a:cubicBezTo>
                  <a:pt x="3619" y="1104"/>
                  <a:pt x="3619" y="1104"/>
                  <a:pt x="3619" y="1104"/>
                </a:cubicBezTo>
                <a:cubicBezTo>
                  <a:pt x="3619" y="1105"/>
                  <a:pt x="3620" y="1106"/>
                  <a:pt x="3620" y="1108"/>
                </a:cubicBezTo>
                <a:cubicBezTo>
                  <a:pt x="3623" y="1118"/>
                  <a:pt x="3629" y="1127"/>
                  <a:pt x="3635" y="1135"/>
                </a:cubicBezTo>
                <a:cubicBezTo>
                  <a:pt x="3640" y="1144"/>
                  <a:pt x="3646" y="1151"/>
                  <a:pt x="3648" y="1153"/>
                </a:cubicBezTo>
                <a:cubicBezTo>
                  <a:pt x="3650" y="1157"/>
                  <a:pt x="3656" y="1170"/>
                  <a:pt x="3656" y="1183"/>
                </a:cubicBezTo>
                <a:cubicBezTo>
                  <a:pt x="3656" y="1184"/>
                  <a:pt x="3656" y="1185"/>
                  <a:pt x="3656" y="1186"/>
                </a:cubicBezTo>
                <a:cubicBezTo>
                  <a:pt x="3656" y="1189"/>
                  <a:pt x="3656" y="1192"/>
                  <a:pt x="3656" y="1195"/>
                </a:cubicBezTo>
                <a:cubicBezTo>
                  <a:pt x="3656" y="1203"/>
                  <a:pt x="3656" y="1210"/>
                  <a:pt x="3658" y="1216"/>
                </a:cubicBezTo>
                <a:cubicBezTo>
                  <a:pt x="3658" y="1219"/>
                  <a:pt x="3659" y="1221"/>
                  <a:pt x="3660" y="1224"/>
                </a:cubicBezTo>
                <a:cubicBezTo>
                  <a:pt x="3662" y="1226"/>
                  <a:pt x="3665" y="1229"/>
                  <a:pt x="3669" y="1229"/>
                </a:cubicBezTo>
                <a:cubicBezTo>
                  <a:pt x="3674" y="1228"/>
                  <a:pt x="3676" y="1225"/>
                  <a:pt x="3679" y="1223"/>
                </a:cubicBezTo>
                <a:cubicBezTo>
                  <a:pt x="3684" y="1217"/>
                  <a:pt x="3689" y="1207"/>
                  <a:pt x="3691" y="1203"/>
                </a:cubicBezTo>
                <a:cubicBezTo>
                  <a:pt x="3692" y="1202"/>
                  <a:pt x="3694" y="1201"/>
                  <a:pt x="3696" y="1200"/>
                </a:cubicBezTo>
                <a:cubicBezTo>
                  <a:pt x="3699" y="1198"/>
                  <a:pt x="3703" y="1196"/>
                  <a:pt x="3704" y="1197"/>
                </a:cubicBezTo>
                <a:cubicBezTo>
                  <a:pt x="3704" y="1197"/>
                  <a:pt x="3704" y="1198"/>
                  <a:pt x="3704" y="1199"/>
                </a:cubicBezTo>
                <a:cubicBezTo>
                  <a:pt x="3704" y="1200"/>
                  <a:pt x="3704" y="1200"/>
                  <a:pt x="3704" y="1200"/>
                </a:cubicBezTo>
                <a:cubicBezTo>
                  <a:pt x="3704" y="1204"/>
                  <a:pt x="3704" y="1207"/>
                  <a:pt x="3704" y="1210"/>
                </a:cubicBezTo>
                <a:cubicBezTo>
                  <a:pt x="3704" y="1230"/>
                  <a:pt x="3706" y="1249"/>
                  <a:pt x="3706" y="1260"/>
                </a:cubicBezTo>
                <a:cubicBezTo>
                  <a:pt x="3707" y="1268"/>
                  <a:pt x="3711" y="1278"/>
                  <a:pt x="3716" y="1287"/>
                </a:cubicBezTo>
                <a:cubicBezTo>
                  <a:pt x="3717" y="1290"/>
                  <a:pt x="3719" y="1293"/>
                  <a:pt x="3720" y="1295"/>
                </a:cubicBezTo>
                <a:cubicBezTo>
                  <a:pt x="3720" y="1295"/>
                  <a:pt x="3720" y="1295"/>
                  <a:pt x="3720" y="1295"/>
                </a:cubicBezTo>
                <a:cubicBezTo>
                  <a:pt x="3714" y="1296"/>
                  <a:pt x="3711" y="1300"/>
                  <a:pt x="3709" y="1304"/>
                </a:cubicBezTo>
                <a:cubicBezTo>
                  <a:pt x="3707" y="1308"/>
                  <a:pt x="3707" y="1313"/>
                  <a:pt x="3707" y="1317"/>
                </a:cubicBezTo>
                <a:cubicBezTo>
                  <a:pt x="3707" y="1323"/>
                  <a:pt x="3708" y="1329"/>
                  <a:pt x="3711" y="1334"/>
                </a:cubicBezTo>
                <a:cubicBezTo>
                  <a:pt x="3715" y="1339"/>
                  <a:pt x="3719" y="1340"/>
                  <a:pt x="3722" y="1342"/>
                </a:cubicBezTo>
                <a:cubicBezTo>
                  <a:pt x="3724" y="1344"/>
                  <a:pt x="3727" y="1347"/>
                  <a:pt x="3730" y="1359"/>
                </a:cubicBezTo>
                <a:cubicBezTo>
                  <a:pt x="3736" y="1385"/>
                  <a:pt x="3747" y="1410"/>
                  <a:pt x="3752" y="1420"/>
                </a:cubicBezTo>
                <a:cubicBezTo>
                  <a:pt x="3755" y="1426"/>
                  <a:pt x="3762" y="1432"/>
                  <a:pt x="3768" y="1438"/>
                </a:cubicBezTo>
                <a:cubicBezTo>
                  <a:pt x="3775" y="1443"/>
                  <a:pt x="3781" y="1449"/>
                  <a:pt x="3784" y="1452"/>
                </a:cubicBezTo>
                <a:cubicBezTo>
                  <a:pt x="3787" y="1454"/>
                  <a:pt x="3790" y="1456"/>
                  <a:pt x="3794" y="1456"/>
                </a:cubicBezTo>
                <a:cubicBezTo>
                  <a:pt x="3802" y="1456"/>
                  <a:pt x="3808" y="1449"/>
                  <a:pt x="3808" y="1441"/>
                </a:cubicBezTo>
                <a:cubicBezTo>
                  <a:pt x="3808" y="1438"/>
                  <a:pt x="3808" y="1436"/>
                  <a:pt x="3806" y="1433"/>
                </a:cubicBezTo>
                <a:cubicBezTo>
                  <a:pt x="3801" y="1425"/>
                  <a:pt x="3793" y="1412"/>
                  <a:pt x="3792" y="1405"/>
                </a:cubicBezTo>
                <a:cubicBezTo>
                  <a:pt x="3791" y="1394"/>
                  <a:pt x="3785" y="1379"/>
                  <a:pt x="3775" y="1362"/>
                </a:cubicBezTo>
                <a:cubicBezTo>
                  <a:pt x="3765" y="1344"/>
                  <a:pt x="3757" y="1339"/>
                  <a:pt x="3752" y="1330"/>
                </a:cubicBezTo>
                <a:cubicBezTo>
                  <a:pt x="3748" y="1323"/>
                  <a:pt x="3740" y="1313"/>
                  <a:pt x="3733" y="1306"/>
                </a:cubicBezTo>
                <a:cubicBezTo>
                  <a:pt x="3735" y="1306"/>
                  <a:pt x="3738" y="1304"/>
                  <a:pt x="3738" y="1302"/>
                </a:cubicBezTo>
                <a:cubicBezTo>
                  <a:pt x="3739" y="1301"/>
                  <a:pt x="3739" y="1300"/>
                  <a:pt x="3739" y="1299"/>
                </a:cubicBezTo>
                <a:cubicBezTo>
                  <a:pt x="3739" y="1296"/>
                  <a:pt x="3741" y="1288"/>
                  <a:pt x="3744" y="1280"/>
                </a:cubicBezTo>
                <a:cubicBezTo>
                  <a:pt x="3746" y="1272"/>
                  <a:pt x="3748" y="1263"/>
                  <a:pt x="3749" y="1256"/>
                </a:cubicBezTo>
                <a:cubicBezTo>
                  <a:pt x="3751" y="1258"/>
                  <a:pt x="3755" y="1261"/>
                  <a:pt x="3759" y="1265"/>
                </a:cubicBezTo>
                <a:cubicBezTo>
                  <a:pt x="3766" y="1270"/>
                  <a:pt x="3772" y="1279"/>
                  <a:pt x="3776" y="1286"/>
                </a:cubicBezTo>
                <a:cubicBezTo>
                  <a:pt x="3780" y="1294"/>
                  <a:pt x="3783" y="1299"/>
                  <a:pt x="3783" y="1299"/>
                </a:cubicBezTo>
                <a:cubicBezTo>
                  <a:pt x="3784" y="1301"/>
                  <a:pt x="3784" y="1301"/>
                  <a:pt x="3784" y="1301"/>
                </a:cubicBezTo>
                <a:cubicBezTo>
                  <a:pt x="3784" y="1301"/>
                  <a:pt x="3788" y="1305"/>
                  <a:pt x="3792" y="1310"/>
                </a:cubicBezTo>
                <a:cubicBezTo>
                  <a:pt x="3795" y="1315"/>
                  <a:pt x="3800" y="1321"/>
                  <a:pt x="3800" y="1322"/>
                </a:cubicBezTo>
                <a:cubicBezTo>
                  <a:pt x="3801" y="1327"/>
                  <a:pt x="3806" y="1329"/>
                  <a:pt x="3809" y="1329"/>
                </a:cubicBezTo>
                <a:cubicBezTo>
                  <a:pt x="3815" y="1329"/>
                  <a:pt x="3819" y="1326"/>
                  <a:pt x="3823" y="1323"/>
                </a:cubicBezTo>
                <a:cubicBezTo>
                  <a:pt x="3827" y="1320"/>
                  <a:pt x="3831" y="1317"/>
                  <a:pt x="3833" y="1312"/>
                </a:cubicBezTo>
                <a:cubicBezTo>
                  <a:pt x="3837" y="1304"/>
                  <a:pt x="3837" y="1303"/>
                  <a:pt x="3844" y="1300"/>
                </a:cubicBezTo>
                <a:cubicBezTo>
                  <a:pt x="3848" y="1299"/>
                  <a:pt x="3854" y="1298"/>
                  <a:pt x="3860" y="1296"/>
                </a:cubicBezTo>
                <a:cubicBezTo>
                  <a:pt x="3865" y="1293"/>
                  <a:pt x="3871" y="1287"/>
                  <a:pt x="3873" y="1278"/>
                </a:cubicBezTo>
                <a:cubicBezTo>
                  <a:pt x="3874" y="1269"/>
                  <a:pt x="3880" y="1258"/>
                  <a:pt x="3880" y="1245"/>
                </a:cubicBezTo>
                <a:cubicBezTo>
                  <a:pt x="3880" y="1237"/>
                  <a:pt x="3878" y="1228"/>
                  <a:pt x="3872" y="1219"/>
                </a:cubicBezTo>
                <a:cubicBezTo>
                  <a:pt x="3858" y="1199"/>
                  <a:pt x="3851" y="1185"/>
                  <a:pt x="3840" y="1174"/>
                </a:cubicBezTo>
                <a:cubicBezTo>
                  <a:pt x="3836" y="1171"/>
                  <a:pt x="3831" y="1162"/>
                  <a:pt x="3828" y="1155"/>
                </a:cubicBezTo>
                <a:cubicBezTo>
                  <a:pt x="3826" y="1151"/>
                  <a:pt x="3825" y="1148"/>
                  <a:pt x="3824" y="1146"/>
                </a:cubicBezTo>
                <a:cubicBezTo>
                  <a:pt x="3830" y="1139"/>
                  <a:pt x="3845" y="1123"/>
                  <a:pt x="3851" y="1116"/>
                </a:cubicBezTo>
                <a:cubicBezTo>
                  <a:pt x="3852" y="1115"/>
                  <a:pt x="3853" y="1114"/>
                  <a:pt x="3854" y="1114"/>
                </a:cubicBezTo>
                <a:cubicBezTo>
                  <a:pt x="3855" y="1114"/>
                  <a:pt x="3858" y="1116"/>
                  <a:pt x="3858" y="1120"/>
                </a:cubicBezTo>
                <a:cubicBezTo>
                  <a:pt x="3858" y="1120"/>
                  <a:pt x="3858" y="1120"/>
                  <a:pt x="3858" y="1121"/>
                </a:cubicBezTo>
                <a:cubicBezTo>
                  <a:pt x="3859" y="1123"/>
                  <a:pt x="3857" y="1127"/>
                  <a:pt x="3854" y="1133"/>
                </a:cubicBezTo>
                <a:cubicBezTo>
                  <a:pt x="3851" y="1138"/>
                  <a:pt x="3847" y="1146"/>
                  <a:pt x="3846" y="1157"/>
                </a:cubicBezTo>
                <a:cubicBezTo>
                  <a:pt x="3846" y="1159"/>
                  <a:pt x="3846" y="1160"/>
                  <a:pt x="3846" y="1162"/>
                </a:cubicBezTo>
                <a:cubicBezTo>
                  <a:pt x="3846" y="1177"/>
                  <a:pt x="3855" y="1187"/>
                  <a:pt x="3865" y="1187"/>
                </a:cubicBezTo>
                <a:cubicBezTo>
                  <a:pt x="3869" y="1187"/>
                  <a:pt x="3873" y="1186"/>
                  <a:pt x="3875" y="1182"/>
                </a:cubicBezTo>
                <a:cubicBezTo>
                  <a:pt x="3877" y="1179"/>
                  <a:pt x="3882" y="1173"/>
                  <a:pt x="3885" y="1167"/>
                </a:cubicBezTo>
                <a:cubicBezTo>
                  <a:pt x="3887" y="1164"/>
                  <a:pt x="3889" y="1161"/>
                  <a:pt x="3890" y="1159"/>
                </a:cubicBezTo>
                <a:cubicBezTo>
                  <a:pt x="3891" y="1156"/>
                  <a:pt x="3892" y="1155"/>
                  <a:pt x="3892" y="1151"/>
                </a:cubicBezTo>
                <a:cubicBezTo>
                  <a:pt x="3892" y="1148"/>
                  <a:pt x="3891" y="1145"/>
                  <a:pt x="3889" y="1144"/>
                </a:cubicBezTo>
                <a:cubicBezTo>
                  <a:pt x="3886" y="1141"/>
                  <a:pt x="3884" y="1143"/>
                  <a:pt x="3884" y="1133"/>
                </a:cubicBezTo>
                <a:cubicBezTo>
                  <a:pt x="3884" y="1132"/>
                  <a:pt x="3884" y="1132"/>
                  <a:pt x="3884" y="1132"/>
                </a:cubicBezTo>
                <a:cubicBezTo>
                  <a:pt x="3884" y="1127"/>
                  <a:pt x="3885" y="1123"/>
                  <a:pt x="3888" y="1120"/>
                </a:cubicBezTo>
                <a:cubicBezTo>
                  <a:pt x="3891" y="1118"/>
                  <a:pt x="3894" y="1116"/>
                  <a:pt x="3895" y="1116"/>
                </a:cubicBezTo>
                <a:cubicBezTo>
                  <a:pt x="3898" y="1118"/>
                  <a:pt x="3900" y="1118"/>
                  <a:pt x="3903" y="1118"/>
                </a:cubicBezTo>
                <a:cubicBezTo>
                  <a:pt x="3917" y="1118"/>
                  <a:pt x="3945" y="1110"/>
                  <a:pt x="3961" y="1100"/>
                </a:cubicBezTo>
                <a:cubicBezTo>
                  <a:pt x="3980" y="1087"/>
                  <a:pt x="3991" y="1063"/>
                  <a:pt x="4000" y="1055"/>
                </a:cubicBezTo>
                <a:cubicBezTo>
                  <a:pt x="4005" y="1050"/>
                  <a:pt x="4016" y="1040"/>
                  <a:pt x="4026" y="1029"/>
                </a:cubicBezTo>
                <a:cubicBezTo>
                  <a:pt x="4036" y="1018"/>
                  <a:pt x="4045" y="1007"/>
                  <a:pt x="4046" y="995"/>
                </a:cubicBezTo>
                <a:cubicBezTo>
                  <a:pt x="4046" y="995"/>
                  <a:pt x="4045" y="994"/>
                  <a:pt x="4045" y="993"/>
                </a:cubicBezTo>
                <a:cubicBezTo>
                  <a:pt x="4043" y="979"/>
                  <a:pt x="4047" y="958"/>
                  <a:pt x="4037" y="936"/>
                </a:cubicBezTo>
                <a:cubicBezTo>
                  <a:pt x="4028" y="918"/>
                  <a:pt x="4017" y="905"/>
                  <a:pt x="4012" y="898"/>
                </a:cubicBezTo>
                <a:cubicBezTo>
                  <a:pt x="4014" y="896"/>
                  <a:pt x="4018" y="895"/>
                  <a:pt x="4022" y="893"/>
                </a:cubicBezTo>
                <a:cubicBezTo>
                  <a:pt x="4028" y="890"/>
                  <a:pt x="4036" y="887"/>
                  <a:pt x="4041" y="881"/>
                </a:cubicBezTo>
                <a:cubicBezTo>
                  <a:pt x="4046" y="876"/>
                  <a:pt x="4048" y="871"/>
                  <a:pt x="4048" y="866"/>
                </a:cubicBezTo>
                <a:cubicBezTo>
                  <a:pt x="4048" y="856"/>
                  <a:pt x="4041" y="849"/>
                  <a:pt x="4032" y="848"/>
                </a:cubicBezTo>
                <a:cubicBezTo>
                  <a:pt x="4032" y="848"/>
                  <a:pt x="4031" y="849"/>
                  <a:pt x="4030" y="849"/>
                </a:cubicBezTo>
                <a:cubicBezTo>
                  <a:pt x="4025" y="850"/>
                  <a:pt x="4013" y="853"/>
                  <a:pt x="4008" y="853"/>
                </a:cubicBezTo>
                <a:cubicBezTo>
                  <a:pt x="4007" y="853"/>
                  <a:pt x="4006" y="853"/>
                  <a:pt x="4006" y="853"/>
                </a:cubicBezTo>
                <a:cubicBezTo>
                  <a:pt x="4005" y="853"/>
                  <a:pt x="4000" y="847"/>
                  <a:pt x="3990" y="838"/>
                </a:cubicBezTo>
                <a:cubicBezTo>
                  <a:pt x="3989" y="836"/>
                  <a:pt x="3989" y="836"/>
                  <a:pt x="3989" y="835"/>
                </a:cubicBezTo>
                <a:cubicBezTo>
                  <a:pt x="3989" y="834"/>
                  <a:pt x="3990" y="832"/>
                  <a:pt x="3991" y="831"/>
                </a:cubicBezTo>
                <a:cubicBezTo>
                  <a:pt x="3992" y="830"/>
                  <a:pt x="3992" y="829"/>
                  <a:pt x="3993" y="829"/>
                </a:cubicBezTo>
                <a:cubicBezTo>
                  <a:pt x="3993" y="829"/>
                  <a:pt x="3993" y="829"/>
                  <a:pt x="3993" y="829"/>
                </a:cubicBezTo>
                <a:cubicBezTo>
                  <a:pt x="3994" y="829"/>
                  <a:pt x="3995" y="829"/>
                  <a:pt x="3995" y="829"/>
                </a:cubicBezTo>
                <a:cubicBezTo>
                  <a:pt x="4002" y="829"/>
                  <a:pt x="4007" y="824"/>
                  <a:pt x="4012" y="820"/>
                </a:cubicBezTo>
                <a:cubicBezTo>
                  <a:pt x="4017" y="815"/>
                  <a:pt x="4022" y="811"/>
                  <a:pt x="4026" y="807"/>
                </a:cubicBezTo>
                <a:cubicBezTo>
                  <a:pt x="4024" y="812"/>
                  <a:pt x="4023" y="817"/>
                  <a:pt x="4023" y="822"/>
                </a:cubicBezTo>
                <a:cubicBezTo>
                  <a:pt x="4023" y="825"/>
                  <a:pt x="4024" y="827"/>
                  <a:pt x="4025" y="830"/>
                </a:cubicBezTo>
                <a:cubicBezTo>
                  <a:pt x="4026" y="833"/>
                  <a:pt x="4029" y="835"/>
                  <a:pt x="4033" y="836"/>
                </a:cubicBezTo>
                <a:cubicBezTo>
                  <a:pt x="4033" y="836"/>
                  <a:pt x="4034" y="836"/>
                  <a:pt x="4034" y="836"/>
                </a:cubicBezTo>
                <a:cubicBezTo>
                  <a:pt x="4043" y="836"/>
                  <a:pt x="4050" y="830"/>
                  <a:pt x="4057" y="825"/>
                </a:cubicBezTo>
                <a:cubicBezTo>
                  <a:pt x="4060" y="823"/>
                  <a:pt x="4063" y="820"/>
                  <a:pt x="4066" y="818"/>
                </a:cubicBezTo>
                <a:cubicBezTo>
                  <a:pt x="4066" y="818"/>
                  <a:pt x="4066" y="818"/>
                  <a:pt x="4066" y="818"/>
                </a:cubicBezTo>
                <a:cubicBezTo>
                  <a:pt x="4067" y="822"/>
                  <a:pt x="4069" y="827"/>
                  <a:pt x="4069" y="832"/>
                </a:cubicBezTo>
                <a:cubicBezTo>
                  <a:pt x="4069" y="834"/>
                  <a:pt x="4069" y="835"/>
                  <a:pt x="4068" y="836"/>
                </a:cubicBezTo>
                <a:cubicBezTo>
                  <a:pt x="4066" y="841"/>
                  <a:pt x="4065" y="846"/>
                  <a:pt x="4065" y="851"/>
                </a:cubicBezTo>
                <a:cubicBezTo>
                  <a:pt x="4065" y="854"/>
                  <a:pt x="4066" y="856"/>
                  <a:pt x="4066" y="859"/>
                </a:cubicBezTo>
                <a:cubicBezTo>
                  <a:pt x="4067" y="861"/>
                  <a:pt x="4069" y="865"/>
                  <a:pt x="4074" y="865"/>
                </a:cubicBezTo>
                <a:cubicBezTo>
                  <a:pt x="4075" y="865"/>
                  <a:pt x="4076" y="865"/>
                  <a:pt x="4077" y="865"/>
                </a:cubicBezTo>
                <a:cubicBezTo>
                  <a:pt x="4081" y="863"/>
                  <a:pt x="4084" y="860"/>
                  <a:pt x="4087" y="858"/>
                </a:cubicBezTo>
                <a:cubicBezTo>
                  <a:pt x="4087" y="857"/>
                  <a:pt x="4088" y="856"/>
                  <a:pt x="4089" y="856"/>
                </a:cubicBezTo>
                <a:cubicBezTo>
                  <a:pt x="4092" y="860"/>
                  <a:pt x="4095" y="863"/>
                  <a:pt x="4095" y="869"/>
                </a:cubicBezTo>
                <a:cubicBezTo>
                  <a:pt x="4095" y="870"/>
                  <a:pt x="4094" y="872"/>
                  <a:pt x="4094" y="875"/>
                </a:cubicBezTo>
                <a:cubicBezTo>
                  <a:pt x="4091" y="883"/>
                  <a:pt x="4084" y="888"/>
                  <a:pt x="4083" y="898"/>
                </a:cubicBezTo>
                <a:cubicBezTo>
                  <a:pt x="4083" y="904"/>
                  <a:pt x="4087" y="908"/>
                  <a:pt x="4092" y="912"/>
                </a:cubicBezTo>
                <a:cubicBezTo>
                  <a:pt x="4097" y="916"/>
                  <a:pt x="4102" y="917"/>
                  <a:pt x="4107" y="917"/>
                </a:cubicBezTo>
                <a:cubicBezTo>
                  <a:pt x="4117" y="917"/>
                  <a:pt x="4122" y="910"/>
                  <a:pt x="4128" y="907"/>
                </a:cubicBezTo>
                <a:cubicBezTo>
                  <a:pt x="4139" y="898"/>
                  <a:pt x="4144" y="880"/>
                  <a:pt x="4144" y="865"/>
                </a:cubicBezTo>
                <a:cubicBezTo>
                  <a:pt x="4144" y="860"/>
                  <a:pt x="4144" y="856"/>
                  <a:pt x="4141" y="852"/>
                </a:cubicBezTo>
                <a:cubicBezTo>
                  <a:pt x="4138" y="846"/>
                  <a:pt x="4133" y="839"/>
                  <a:pt x="4129" y="833"/>
                </a:cubicBezTo>
                <a:cubicBezTo>
                  <a:pt x="4126" y="828"/>
                  <a:pt x="4124" y="822"/>
                  <a:pt x="4123" y="820"/>
                </a:cubicBezTo>
                <a:cubicBezTo>
                  <a:pt x="4125" y="819"/>
                  <a:pt x="4130" y="817"/>
                  <a:pt x="4135" y="815"/>
                </a:cubicBezTo>
                <a:cubicBezTo>
                  <a:pt x="4139" y="813"/>
                  <a:pt x="4145" y="809"/>
                  <a:pt x="4145" y="801"/>
                </a:cubicBezTo>
                <a:cubicBezTo>
                  <a:pt x="4145" y="793"/>
                  <a:pt x="4152" y="786"/>
                  <a:pt x="4158" y="783"/>
                </a:cubicBezTo>
                <a:cubicBezTo>
                  <a:pt x="4164" y="780"/>
                  <a:pt x="4167" y="775"/>
                  <a:pt x="4171" y="771"/>
                </a:cubicBezTo>
                <a:cubicBezTo>
                  <a:pt x="4173" y="770"/>
                  <a:pt x="4174" y="768"/>
                  <a:pt x="4175" y="767"/>
                </a:cubicBezTo>
                <a:cubicBezTo>
                  <a:pt x="4177" y="769"/>
                  <a:pt x="4180" y="771"/>
                  <a:pt x="4183" y="772"/>
                </a:cubicBezTo>
                <a:cubicBezTo>
                  <a:pt x="4188" y="774"/>
                  <a:pt x="4193" y="775"/>
                  <a:pt x="4198" y="775"/>
                </a:cubicBezTo>
                <a:cubicBezTo>
                  <a:pt x="4203" y="775"/>
                  <a:pt x="4209" y="774"/>
                  <a:pt x="4212" y="769"/>
                </a:cubicBezTo>
                <a:cubicBezTo>
                  <a:pt x="4217" y="761"/>
                  <a:pt x="4247" y="731"/>
                  <a:pt x="4265" y="714"/>
                </a:cubicBezTo>
                <a:cubicBezTo>
                  <a:pt x="4285" y="697"/>
                  <a:pt x="4293" y="676"/>
                  <a:pt x="4297" y="656"/>
                </a:cubicBezTo>
                <a:cubicBezTo>
                  <a:pt x="4299" y="651"/>
                  <a:pt x="4300" y="646"/>
                  <a:pt x="4302" y="641"/>
                </a:cubicBezTo>
                <a:cubicBezTo>
                  <a:pt x="4302" y="643"/>
                  <a:pt x="4302" y="645"/>
                  <a:pt x="4302" y="646"/>
                </a:cubicBezTo>
                <a:cubicBezTo>
                  <a:pt x="4302" y="649"/>
                  <a:pt x="4302" y="653"/>
                  <a:pt x="4301" y="656"/>
                </a:cubicBezTo>
                <a:cubicBezTo>
                  <a:pt x="4301" y="660"/>
                  <a:pt x="4301" y="665"/>
                  <a:pt x="4301" y="671"/>
                </a:cubicBezTo>
                <a:cubicBezTo>
                  <a:pt x="4301" y="679"/>
                  <a:pt x="4301" y="687"/>
                  <a:pt x="4302" y="694"/>
                </a:cubicBezTo>
                <a:cubicBezTo>
                  <a:pt x="4302" y="698"/>
                  <a:pt x="4302" y="701"/>
                  <a:pt x="4303" y="703"/>
                </a:cubicBezTo>
                <a:cubicBezTo>
                  <a:pt x="4303" y="706"/>
                  <a:pt x="4303" y="708"/>
                  <a:pt x="4305" y="710"/>
                </a:cubicBezTo>
                <a:cubicBezTo>
                  <a:pt x="4306" y="713"/>
                  <a:pt x="4309" y="716"/>
                  <a:pt x="4312" y="719"/>
                </a:cubicBezTo>
                <a:cubicBezTo>
                  <a:pt x="4315" y="722"/>
                  <a:pt x="4319" y="725"/>
                  <a:pt x="4325" y="725"/>
                </a:cubicBezTo>
                <a:cubicBezTo>
                  <a:pt x="4326" y="725"/>
                  <a:pt x="4328" y="724"/>
                  <a:pt x="4330" y="724"/>
                </a:cubicBezTo>
                <a:cubicBezTo>
                  <a:pt x="4336" y="720"/>
                  <a:pt x="4335" y="715"/>
                  <a:pt x="4335" y="712"/>
                </a:cubicBezTo>
                <a:cubicBezTo>
                  <a:pt x="4335" y="706"/>
                  <a:pt x="4334" y="700"/>
                  <a:pt x="4333" y="694"/>
                </a:cubicBezTo>
                <a:cubicBezTo>
                  <a:pt x="4332" y="688"/>
                  <a:pt x="4331" y="683"/>
                  <a:pt x="4331" y="682"/>
                </a:cubicBezTo>
                <a:cubicBezTo>
                  <a:pt x="4331" y="682"/>
                  <a:pt x="4331" y="682"/>
                  <a:pt x="4331" y="681"/>
                </a:cubicBezTo>
                <a:cubicBezTo>
                  <a:pt x="4333" y="677"/>
                  <a:pt x="4338" y="673"/>
                  <a:pt x="4339" y="673"/>
                </a:cubicBezTo>
                <a:cubicBezTo>
                  <a:pt x="4343" y="672"/>
                  <a:pt x="4344" y="669"/>
                  <a:pt x="4345" y="667"/>
                </a:cubicBezTo>
                <a:cubicBezTo>
                  <a:pt x="4345" y="665"/>
                  <a:pt x="4345" y="663"/>
                  <a:pt x="4345" y="661"/>
                </a:cubicBezTo>
                <a:cubicBezTo>
                  <a:pt x="4345" y="652"/>
                  <a:pt x="4342" y="638"/>
                  <a:pt x="4337" y="630"/>
                </a:cubicBezTo>
                <a:cubicBezTo>
                  <a:pt x="4334" y="625"/>
                  <a:pt x="4331" y="622"/>
                  <a:pt x="4329" y="619"/>
                </a:cubicBezTo>
                <a:cubicBezTo>
                  <a:pt x="4329" y="619"/>
                  <a:pt x="4329" y="619"/>
                  <a:pt x="4329" y="619"/>
                </a:cubicBezTo>
                <a:cubicBezTo>
                  <a:pt x="4331" y="618"/>
                  <a:pt x="4332" y="616"/>
                  <a:pt x="4333" y="614"/>
                </a:cubicBezTo>
                <a:cubicBezTo>
                  <a:pt x="4335" y="611"/>
                  <a:pt x="4336" y="608"/>
                  <a:pt x="4336" y="604"/>
                </a:cubicBezTo>
                <a:cubicBezTo>
                  <a:pt x="4336" y="602"/>
                  <a:pt x="4336" y="599"/>
                  <a:pt x="4333" y="597"/>
                </a:cubicBezTo>
                <a:cubicBezTo>
                  <a:pt x="4333" y="596"/>
                  <a:pt x="4333" y="594"/>
                  <a:pt x="4332" y="592"/>
                </a:cubicBezTo>
                <a:cubicBezTo>
                  <a:pt x="4332" y="590"/>
                  <a:pt x="4328" y="585"/>
                  <a:pt x="4323" y="585"/>
                </a:cubicBezTo>
                <a:cubicBezTo>
                  <a:pt x="4321" y="585"/>
                  <a:pt x="4320" y="585"/>
                  <a:pt x="4318" y="586"/>
                </a:cubicBezTo>
                <a:cubicBezTo>
                  <a:pt x="4318" y="586"/>
                  <a:pt x="4312" y="586"/>
                  <a:pt x="4306" y="587"/>
                </a:cubicBezTo>
                <a:cubicBezTo>
                  <a:pt x="4304" y="587"/>
                  <a:pt x="4302" y="588"/>
                  <a:pt x="4300" y="589"/>
                </a:cubicBezTo>
                <a:cubicBezTo>
                  <a:pt x="4296" y="582"/>
                  <a:pt x="4290" y="577"/>
                  <a:pt x="4282" y="577"/>
                </a:cubicBezTo>
                <a:cubicBezTo>
                  <a:pt x="4281" y="577"/>
                  <a:pt x="4280" y="577"/>
                  <a:pt x="4279" y="577"/>
                </a:cubicBezTo>
                <a:cubicBezTo>
                  <a:pt x="4266" y="579"/>
                  <a:pt x="4261" y="585"/>
                  <a:pt x="4254" y="585"/>
                </a:cubicBezTo>
                <a:cubicBezTo>
                  <a:pt x="4254" y="585"/>
                  <a:pt x="4254" y="584"/>
                  <a:pt x="4254" y="583"/>
                </a:cubicBezTo>
                <a:cubicBezTo>
                  <a:pt x="4254" y="581"/>
                  <a:pt x="4254" y="578"/>
                  <a:pt x="4254" y="576"/>
                </a:cubicBezTo>
                <a:cubicBezTo>
                  <a:pt x="4254" y="574"/>
                  <a:pt x="4254" y="573"/>
                  <a:pt x="4253" y="571"/>
                </a:cubicBezTo>
                <a:cubicBezTo>
                  <a:pt x="4253" y="569"/>
                  <a:pt x="4250" y="566"/>
                  <a:pt x="4246" y="566"/>
                </a:cubicBezTo>
                <a:cubicBezTo>
                  <a:pt x="4242" y="566"/>
                  <a:pt x="4241" y="568"/>
                  <a:pt x="4239" y="569"/>
                </a:cubicBezTo>
                <a:cubicBezTo>
                  <a:pt x="4237" y="571"/>
                  <a:pt x="4235" y="573"/>
                  <a:pt x="4233" y="575"/>
                </a:cubicBezTo>
                <a:cubicBezTo>
                  <a:pt x="4232" y="576"/>
                  <a:pt x="4232" y="576"/>
                  <a:pt x="4231" y="576"/>
                </a:cubicBezTo>
                <a:cubicBezTo>
                  <a:pt x="4231" y="576"/>
                  <a:pt x="4232" y="575"/>
                  <a:pt x="4233" y="574"/>
                </a:cubicBezTo>
                <a:cubicBezTo>
                  <a:pt x="4237" y="569"/>
                  <a:pt x="4250" y="561"/>
                  <a:pt x="4261" y="557"/>
                </a:cubicBezTo>
                <a:cubicBezTo>
                  <a:pt x="4272" y="552"/>
                  <a:pt x="4283" y="540"/>
                  <a:pt x="4294" y="529"/>
                </a:cubicBezTo>
                <a:cubicBezTo>
                  <a:pt x="4300" y="524"/>
                  <a:pt x="4305" y="519"/>
                  <a:pt x="4309" y="515"/>
                </a:cubicBezTo>
                <a:cubicBezTo>
                  <a:pt x="4313" y="511"/>
                  <a:pt x="4317" y="509"/>
                  <a:pt x="4317" y="509"/>
                </a:cubicBezTo>
                <a:cubicBezTo>
                  <a:pt x="4319" y="509"/>
                  <a:pt x="4321" y="509"/>
                  <a:pt x="4323" y="509"/>
                </a:cubicBezTo>
                <a:cubicBezTo>
                  <a:pt x="4334" y="509"/>
                  <a:pt x="4352" y="511"/>
                  <a:pt x="4371" y="511"/>
                </a:cubicBezTo>
                <a:cubicBezTo>
                  <a:pt x="4375" y="511"/>
                  <a:pt x="4379" y="511"/>
                  <a:pt x="4383" y="511"/>
                </a:cubicBezTo>
                <a:cubicBezTo>
                  <a:pt x="4404" y="509"/>
                  <a:pt x="4416" y="501"/>
                  <a:pt x="4418" y="502"/>
                </a:cubicBezTo>
                <a:cubicBezTo>
                  <a:pt x="4419" y="502"/>
                  <a:pt x="4419" y="502"/>
                  <a:pt x="4420" y="502"/>
                </a:cubicBezTo>
                <a:cubicBezTo>
                  <a:pt x="4429" y="510"/>
                  <a:pt x="4444" y="517"/>
                  <a:pt x="4457" y="518"/>
                </a:cubicBezTo>
                <a:cubicBezTo>
                  <a:pt x="4458" y="518"/>
                  <a:pt x="4459" y="518"/>
                  <a:pt x="4460" y="517"/>
                </a:cubicBezTo>
                <a:cubicBezTo>
                  <a:pt x="4465" y="517"/>
                  <a:pt x="4468" y="517"/>
                  <a:pt x="4472" y="514"/>
                </a:cubicBezTo>
                <a:cubicBezTo>
                  <a:pt x="4475" y="512"/>
                  <a:pt x="4477" y="509"/>
                  <a:pt x="4485" y="502"/>
                </a:cubicBezTo>
                <a:cubicBezTo>
                  <a:pt x="4501" y="489"/>
                  <a:pt x="4516" y="482"/>
                  <a:pt x="4525" y="469"/>
                </a:cubicBezTo>
                <a:cubicBezTo>
                  <a:pt x="4529" y="464"/>
                  <a:pt x="4540" y="458"/>
                  <a:pt x="4545" y="459"/>
                </a:cubicBezTo>
                <a:cubicBezTo>
                  <a:pt x="4545" y="459"/>
                  <a:pt x="4544" y="459"/>
                  <a:pt x="4545" y="459"/>
                </a:cubicBezTo>
                <a:cubicBezTo>
                  <a:pt x="4545" y="460"/>
                  <a:pt x="4544" y="462"/>
                  <a:pt x="4544" y="464"/>
                </a:cubicBezTo>
                <a:cubicBezTo>
                  <a:pt x="4544" y="465"/>
                  <a:pt x="4544" y="467"/>
                  <a:pt x="4544" y="468"/>
                </a:cubicBezTo>
                <a:cubicBezTo>
                  <a:pt x="4544" y="472"/>
                  <a:pt x="4545" y="475"/>
                  <a:pt x="4546" y="479"/>
                </a:cubicBezTo>
                <a:cubicBezTo>
                  <a:pt x="4548" y="483"/>
                  <a:pt x="4553" y="486"/>
                  <a:pt x="4558" y="486"/>
                </a:cubicBezTo>
                <a:cubicBezTo>
                  <a:pt x="4559" y="486"/>
                  <a:pt x="4560" y="486"/>
                  <a:pt x="4560" y="486"/>
                </a:cubicBezTo>
                <a:cubicBezTo>
                  <a:pt x="4556" y="489"/>
                  <a:pt x="4553" y="491"/>
                  <a:pt x="4551" y="493"/>
                </a:cubicBezTo>
                <a:cubicBezTo>
                  <a:pt x="4547" y="496"/>
                  <a:pt x="4537" y="500"/>
                  <a:pt x="4527" y="504"/>
                </a:cubicBezTo>
                <a:cubicBezTo>
                  <a:pt x="4517" y="509"/>
                  <a:pt x="4506" y="515"/>
                  <a:pt x="4499" y="525"/>
                </a:cubicBezTo>
                <a:cubicBezTo>
                  <a:pt x="4489" y="539"/>
                  <a:pt x="4481" y="547"/>
                  <a:pt x="4481" y="564"/>
                </a:cubicBezTo>
                <a:cubicBezTo>
                  <a:pt x="4481" y="566"/>
                  <a:pt x="4481" y="567"/>
                  <a:pt x="4481" y="568"/>
                </a:cubicBezTo>
                <a:cubicBezTo>
                  <a:pt x="4482" y="586"/>
                  <a:pt x="4495" y="604"/>
                  <a:pt x="4495" y="616"/>
                </a:cubicBezTo>
                <a:cubicBezTo>
                  <a:pt x="4495" y="619"/>
                  <a:pt x="4494" y="621"/>
                  <a:pt x="4493" y="623"/>
                </a:cubicBezTo>
                <a:cubicBezTo>
                  <a:pt x="4483" y="641"/>
                  <a:pt x="4480" y="665"/>
                  <a:pt x="4480" y="665"/>
                </a:cubicBezTo>
                <a:cubicBezTo>
                  <a:pt x="4479" y="668"/>
                  <a:pt x="4481" y="671"/>
                  <a:pt x="4484" y="671"/>
                </a:cubicBezTo>
                <a:cubicBezTo>
                  <a:pt x="4487" y="673"/>
                  <a:pt x="4490" y="671"/>
                  <a:pt x="4491" y="669"/>
                </a:cubicBezTo>
                <a:cubicBezTo>
                  <a:pt x="4491" y="669"/>
                  <a:pt x="4494" y="663"/>
                  <a:pt x="4500" y="656"/>
                </a:cubicBezTo>
                <a:cubicBezTo>
                  <a:pt x="4506" y="648"/>
                  <a:pt x="4514" y="639"/>
                  <a:pt x="4523" y="632"/>
                </a:cubicBezTo>
                <a:cubicBezTo>
                  <a:pt x="4544" y="616"/>
                  <a:pt x="4556" y="594"/>
                  <a:pt x="4562" y="587"/>
                </a:cubicBezTo>
                <a:cubicBezTo>
                  <a:pt x="4563" y="585"/>
                  <a:pt x="4570" y="582"/>
                  <a:pt x="4576" y="579"/>
                </a:cubicBezTo>
                <a:cubicBezTo>
                  <a:pt x="4579" y="578"/>
                  <a:pt x="4582" y="577"/>
                  <a:pt x="4585" y="575"/>
                </a:cubicBezTo>
                <a:cubicBezTo>
                  <a:pt x="4588" y="572"/>
                  <a:pt x="4591" y="569"/>
                  <a:pt x="4591" y="564"/>
                </a:cubicBezTo>
                <a:cubicBezTo>
                  <a:pt x="4591" y="556"/>
                  <a:pt x="4596" y="544"/>
                  <a:pt x="4600" y="532"/>
                </a:cubicBezTo>
                <a:cubicBezTo>
                  <a:pt x="4600" y="530"/>
                  <a:pt x="4601" y="528"/>
                  <a:pt x="4601" y="527"/>
                </a:cubicBezTo>
                <a:cubicBezTo>
                  <a:pt x="4601" y="523"/>
                  <a:pt x="4599" y="520"/>
                  <a:pt x="4598" y="518"/>
                </a:cubicBezTo>
                <a:cubicBezTo>
                  <a:pt x="4598" y="517"/>
                  <a:pt x="4598" y="517"/>
                  <a:pt x="4598" y="517"/>
                </a:cubicBezTo>
                <a:close/>
                <a:moveTo>
                  <a:pt x="2891" y="398"/>
                </a:moveTo>
                <a:cubicBezTo>
                  <a:pt x="2900" y="398"/>
                  <a:pt x="2910" y="397"/>
                  <a:pt x="2921" y="393"/>
                </a:cubicBezTo>
                <a:cubicBezTo>
                  <a:pt x="2919" y="397"/>
                  <a:pt x="2919" y="401"/>
                  <a:pt x="2919" y="405"/>
                </a:cubicBezTo>
                <a:cubicBezTo>
                  <a:pt x="2919" y="406"/>
                  <a:pt x="2919" y="407"/>
                  <a:pt x="2919" y="408"/>
                </a:cubicBezTo>
                <a:cubicBezTo>
                  <a:pt x="2919" y="410"/>
                  <a:pt x="2919" y="411"/>
                  <a:pt x="2919" y="412"/>
                </a:cubicBezTo>
                <a:cubicBezTo>
                  <a:pt x="2915" y="413"/>
                  <a:pt x="2914" y="415"/>
                  <a:pt x="2912" y="414"/>
                </a:cubicBezTo>
                <a:cubicBezTo>
                  <a:pt x="2910" y="414"/>
                  <a:pt x="2908" y="414"/>
                  <a:pt x="2903" y="410"/>
                </a:cubicBezTo>
                <a:cubicBezTo>
                  <a:pt x="2897" y="406"/>
                  <a:pt x="2893" y="404"/>
                  <a:pt x="2888" y="403"/>
                </a:cubicBezTo>
                <a:cubicBezTo>
                  <a:pt x="2885" y="403"/>
                  <a:pt x="2882" y="405"/>
                  <a:pt x="2881" y="407"/>
                </a:cubicBezTo>
                <a:cubicBezTo>
                  <a:pt x="2880" y="408"/>
                  <a:pt x="2879" y="409"/>
                  <a:pt x="2879" y="409"/>
                </a:cubicBezTo>
                <a:cubicBezTo>
                  <a:pt x="2878" y="410"/>
                  <a:pt x="2871" y="414"/>
                  <a:pt x="2868" y="415"/>
                </a:cubicBezTo>
                <a:cubicBezTo>
                  <a:pt x="2868" y="415"/>
                  <a:pt x="2868" y="414"/>
                  <a:pt x="2868" y="414"/>
                </a:cubicBezTo>
                <a:cubicBezTo>
                  <a:pt x="2868" y="412"/>
                  <a:pt x="2868" y="410"/>
                  <a:pt x="2868" y="408"/>
                </a:cubicBezTo>
                <a:cubicBezTo>
                  <a:pt x="2868" y="406"/>
                  <a:pt x="2868" y="406"/>
                  <a:pt x="2868" y="406"/>
                </a:cubicBezTo>
                <a:cubicBezTo>
                  <a:pt x="2868" y="403"/>
                  <a:pt x="2868" y="398"/>
                  <a:pt x="2865" y="394"/>
                </a:cubicBezTo>
                <a:cubicBezTo>
                  <a:pt x="2873" y="396"/>
                  <a:pt x="2881" y="398"/>
                  <a:pt x="2891" y="398"/>
                </a:cubicBezTo>
                <a:close/>
                <a:moveTo>
                  <a:pt x="2805" y="472"/>
                </a:moveTo>
                <a:cubicBezTo>
                  <a:pt x="2806" y="469"/>
                  <a:pt x="2806" y="469"/>
                  <a:pt x="2808" y="469"/>
                </a:cubicBezTo>
                <a:cubicBezTo>
                  <a:pt x="2811" y="469"/>
                  <a:pt x="2816" y="471"/>
                  <a:pt x="2820" y="474"/>
                </a:cubicBezTo>
                <a:cubicBezTo>
                  <a:pt x="2822" y="475"/>
                  <a:pt x="2823" y="477"/>
                  <a:pt x="2824" y="479"/>
                </a:cubicBezTo>
                <a:cubicBezTo>
                  <a:pt x="2825" y="480"/>
                  <a:pt x="2825" y="480"/>
                  <a:pt x="2826" y="481"/>
                </a:cubicBezTo>
                <a:cubicBezTo>
                  <a:pt x="2826" y="481"/>
                  <a:pt x="2825" y="481"/>
                  <a:pt x="2825" y="481"/>
                </a:cubicBezTo>
                <a:cubicBezTo>
                  <a:pt x="2825" y="481"/>
                  <a:pt x="2824" y="482"/>
                  <a:pt x="2822" y="482"/>
                </a:cubicBezTo>
                <a:cubicBezTo>
                  <a:pt x="2819" y="482"/>
                  <a:pt x="2813" y="480"/>
                  <a:pt x="2809" y="478"/>
                </a:cubicBezTo>
                <a:cubicBezTo>
                  <a:pt x="2806" y="476"/>
                  <a:pt x="2804" y="473"/>
                  <a:pt x="2804" y="472"/>
                </a:cubicBezTo>
                <a:cubicBezTo>
                  <a:pt x="2804" y="472"/>
                  <a:pt x="2804" y="472"/>
                  <a:pt x="2804" y="472"/>
                </a:cubicBezTo>
                <a:cubicBezTo>
                  <a:pt x="2799" y="470"/>
                  <a:pt x="2799" y="470"/>
                  <a:pt x="2799" y="470"/>
                </a:cubicBezTo>
                <a:lnTo>
                  <a:pt x="2805" y="472"/>
                </a:lnTo>
                <a:close/>
                <a:moveTo>
                  <a:pt x="2773" y="756"/>
                </a:moveTo>
                <a:cubicBezTo>
                  <a:pt x="2781" y="749"/>
                  <a:pt x="2789" y="735"/>
                  <a:pt x="2796" y="721"/>
                </a:cubicBezTo>
                <a:cubicBezTo>
                  <a:pt x="2801" y="711"/>
                  <a:pt x="2806" y="710"/>
                  <a:pt x="2809" y="710"/>
                </a:cubicBezTo>
                <a:cubicBezTo>
                  <a:pt x="2810" y="710"/>
                  <a:pt x="2810" y="710"/>
                  <a:pt x="2811" y="710"/>
                </a:cubicBezTo>
                <a:cubicBezTo>
                  <a:pt x="2812" y="711"/>
                  <a:pt x="2817" y="717"/>
                  <a:pt x="2820" y="723"/>
                </a:cubicBezTo>
                <a:cubicBezTo>
                  <a:pt x="2824" y="730"/>
                  <a:pt x="2828" y="738"/>
                  <a:pt x="2829" y="741"/>
                </a:cubicBezTo>
                <a:cubicBezTo>
                  <a:pt x="2830" y="745"/>
                  <a:pt x="2835" y="748"/>
                  <a:pt x="2839" y="748"/>
                </a:cubicBezTo>
                <a:cubicBezTo>
                  <a:pt x="2844" y="748"/>
                  <a:pt x="2847" y="745"/>
                  <a:pt x="2850" y="743"/>
                </a:cubicBezTo>
                <a:cubicBezTo>
                  <a:pt x="2853" y="741"/>
                  <a:pt x="2856" y="739"/>
                  <a:pt x="2857" y="739"/>
                </a:cubicBezTo>
                <a:cubicBezTo>
                  <a:pt x="2864" y="734"/>
                  <a:pt x="2871" y="726"/>
                  <a:pt x="2873" y="716"/>
                </a:cubicBezTo>
                <a:cubicBezTo>
                  <a:pt x="2873" y="716"/>
                  <a:pt x="2874" y="714"/>
                  <a:pt x="2877" y="713"/>
                </a:cubicBezTo>
                <a:cubicBezTo>
                  <a:pt x="2879" y="712"/>
                  <a:pt x="2881" y="711"/>
                  <a:pt x="2884" y="711"/>
                </a:cubicBezTo>
                <a:cubicBezTo>
                  <a:pt x="2883" y="712"/>
                  <a:pt x="2882" y="712"/>
                  <a:pt x="2881" y="712"/>
                </a:cubicBezTo>
                <a:cubicBezTo>
                  <a:pt x="2879" y="713"/>
                  <a:pt x="2877" y="714"/>
                  <a:pt x="2876" y="715"/>
                </a:cubicBezTo>
                <a:cubicBezTo>
                  <a:pt x="2874" y="717"/>
                  <a:pt x="2873" y="719"/>
                  <a:pt x="2873" y="722"/>
                </a:cubicBezTo>
                <a:cubicBezTo>
                  <a:pt x="2873" y="727"/>
                  <a:pt x="2876" y="729"/>
                  <a:pt x="2879" y="731"/>
                </a:cubicBezTo>
                <a:cubicBezTo>
                  <a:pt x="2882" y="734"/>
                  <a:pt x="2886" y="736"/>
                  <a:pt x="2891" y="738"/>
                </a:cubicBezTo>
                <a:cubicBezTo>
                  <a:pt x="2903" y="742"/>
                  <a:pt x="2915" y="757"/>
                  <a:pt x="2931" y="767"/>
                </a:cubicBezTo>
                <a:cubicBezTo>
                  <a:pt x="2939" y="772"/>
                  <a:pt x="2942" y="780"/>
                  <a:pt x="2942" y="785"/>
                </a:cubicBezTo>
                <a:cubicBezTo>
                  <a:pt x="2942" y="788"/>
                  <a:pt x="2941" y="788"/>
                  <a:pt x="2941" y="788"/>
                </a:cubicBezTo>
                <a:cubicBezTo>
                  <a:pt x="2941" y="788"/>
                  <a:pt x="2941" y="788"/>
                  <a:pt x="2941" y="788"/>
                </a:cubicBezTo>
                <a:cubicBezTo>
                  <a:pt x="2935" y="790"/>
                  <a:pt x="2915" y="793"/>
                  <a:pt x="2903" y="792"/>
                </a:cubicBezTo>
                <a:cubicBezTo>
                  <a:pt x="2900" y="792"/>
                  <a:pt x="2898" y="792"/>
                  <a:pt x="2896" y="792"/>
                </a:cubicBezTo>
                <a:cubicBezTo>
                  <a:pt x="2889" y="792"/>
                  <a:pt x="2876" y="779"/>
                  <a:pt x="2859" y="776"/>
                </a:cubicBezTo>
                <a:cubicBezTo>
                  <a:pt x="2854" y="775"/>
                  <a:pt x="2849" y="774"/>
                  <a:pt x="2844" y="774"/>
                </a:cubicBezTo>
                <a:cubicBezTo>
                  <a:pt x="2832" y="774"/>
                  <a:pt x="2820" y="777"/>
                  <a:pt x="2813" y="787"/>
                </a:cubicBezTo>
                <a:cubicBezTo>
                  <a:pt x="2813" y="788"/>
                  <a:pt x="2808" y="790"/>
                  <a:pt x="2800" y="790"/>
                </a:cubicBezTo>
                <a:cubicBezTo>
                  <a:pt x="2794" y="790"/>
                  <a:pt x="2788" y="789"/>
                  <a:pt x="2783" y="789"/>
                </a:cubicBezTo>
                <a:cubicBezTo>
                  <a:pt x="2776" y="789"/>
                  <a:pt x="2772" y="793"/>
                  <a:pt x="2768" y="795"/>
                </a:cubicBezTo>
                <a:cubicBezTo>
                  <a:pt x="2768" y="792"/>
                  <a:pt x="2769" y="788"/>
                  <a:pt x="2769" y="785"/>
                </a:cubicBezTo>
                <a:cubicBezTo>
                  <a:pt x="2769" y="780"/>
                  <a:pt x="2769" y="775"/>
                  <a:pt x="2763" y="771"/>
                </a:cubicBezTo>
                <a:cubicBezTo>
                  <a:pt x="2764" y="768"/>
                  <a:pt x="2769" y="758"/>
                  <a:pt x="2773" y="756"/>
                </a:cubicBezTo>
                <a:close/>
                <a:moveTo>
                  <a:pt x="2673" y="431"/>
                </a:moveTo>
                <a:cubicBezTo>
                  <a:pt x="2681" y="422"/>
                  <a:pt x="2684" y="414"/>
                  <a:pt x="2684" y="407"/>
                </a:cubicBezTo>
                <a:cubicBezTo>
                  <a:pt x="2684" y="405"/>
                  <a:pt x="2683" y="402"/>
                  <a:pt x="2683" y="401"/>
                </a:cubicBezTo>
                <a:cubicBezTo>
                  <a:pt x="2684" y="400"/>
                  <a:pt x="2685" y="400"/>
                  <a:pt x="2686" y="400"/>
                </a:cubicBezTo>
                <a:cubicBezTo>
                  <a:pt x="2695" y="400"/>
                  <a:pt x="2703" y="399"/>
                  <a:pt x="2710" y="399"/>
                </a:cubicBezTo>
                <a:cubicBezTo>
                  <a:pt x="2713" y="399"/>
                  <a:pt x="2716" y="399"/>
                  <a:pt x="2719" y="400"/>
                </a:cubicBezTo>
                <a:cubicBezTo>
                  <a:pt x="2716" y="403"/>
                  <a:pt x="2710" y="408"/>
                  <a:pt x="2704" y="412"/>
                </a:cubicBezTo>
                <a:cubicBezTo>
                  <a:pt x="2695" y="418"/>
                  <a:pt x="2685" y="425"/>
                  <a:pt x="2677" y="429"/>
                </a:cubicBezTo>
                <a:cubicBezTo>
                  <a:pt x="2676" y="430"/>
                  <a:pt x="2674" y="431"/>
                  <a:pt x="2673" y="432"/>
                </a:cubicBezTo>
                <a:cubicBezTo>
                  <a:pt x="2673" y="432"/>
                  <a:pt x="2673" y="431"/>
                  <a:pt x="2673" y="431"/>
                </a:cubicBezTo>
                <a:close/>
                <a:moveTo>
                  <a:pt x="2518" y="522"/>
                </a:moveTo>
                <a:cubicBezTo>
                  <a:pt x="2518" y="521"/>
                  <a:pt x="2520" y="517"/>
                  <a:pt x="2523" y="514"/>
                </a:cubicBezTo>
                <a:cubicBezTo>
                  <a:pt x="2524" y="513"/>
                  <a:pt x="2525" y="512"/>
                  <a:pt x="2526" y="511"/>
                </a:cubicBezTo>
                <a:cubicBezTo>
                  <a:pt x="2527" y="517"/>
                  <a:pt x="2530" y="523"/>
                  <a:pt x="2532" y="529"/>
                </a:cubicBezTo>
                <a:cubicBezTo>
                  <a:pt x="2534" y="536"/>
                  <a:pt x="2537" y="542"/>
                  <a:pt x="2536" y="545"/>
                </a:cubicBezTo>
                <a:cubicBezTo>
                  <a:pt x="2536" y="545"/>
                  <a:pt x="2536" y="546"/>
                  <a:pt x="2536" y="546"/>
                </a:cubicBezTo>
                <a:cubicBezTo>
                  <a:pt x="2536" y="548"/>
                  <a:pt x="2535" y="551"/>
                  <a:pt x="2535" y="553"/>
                </a:cubicBezTo>
                <a:cubicBezTo>
                  <a:pt x="2535" y="557"/>
                  <a:pt x="2536" y="560"/>
                  <a:pt x="2538" y="563"/>
                </a:cubicBezTo>
                <a:cubicBezTo>
                  <a:pt x="2540" y="566"/>
                  <a:pt x="2544" y="569"/>
                  <a:pt x="2549" y="569"/>
                </a:cubicBezTo>
                <a:cubicBezTo>
                  <a:pt x="2549" y="569"/>
                  <a:pt x="2550" y="569"/>
                  <a:pt x="2551" y="568"/>
                </a:cubicBezTo>
                <a:cubicBezTo>
                  <a:pt x="2560" y="567"/>
                  <a:pt x="2602" y="556"/>
                  <a:pt x="2602" y="556"/>
                </a:cubicBezTo>
                <a:cubicBezTo>
                  <a:pt x="2604" y="555"/>
                  <a:pt x="2604" y="555"/>
                  <a:pt x="2604" y="555"/>
                </a:cubicBezTo>
                <a:cubicBezTo>
                  <a:pt x="2604" y="555"/>
                  <a:pt x="2618" y="549"/>
                  <a:pt x="2619" y="534"/>
                </a:cubicBezTo>
                <a:cubicBezTo>
                  <a:pt x="2619" y="533"/>
                  <a:pt x="2619" y="532"/>
                  <a:pt x="2618" y="531"/>
                </a:cubicBezTo>
                <a:cubicBezTo>
                  <a:pt x="2618" y="531"/>
                  <a:pt x="2618" y="530"/>
                  <a:pt x="2618" y="530"/>
                </a:cubicBezTo>
                <a:cubicBezTo>
                  <a:pt x="2618" y="527"/>
                  <a:pt x="2621" y="522"/>
                  <a:pt x="2625" y="517"/>
                </a:cubicBezTo>
                <a:cubicBezTo>
                  <a:pt x="2629" y="512"/>
                  <a:pt x="2633" y="508"/>
                  <a:pt x="2635" y="506"/>
                </a:cubicBezTo>
                <a:cubicBezTo>
                  <a:pt x="2638" y="502"/>
                  <a:pt x="2645" y="495"/>
                  <a:pt x="2645" y="485"/>
                </a:cubicBezTo>
                <a:cubicBezTo>
                  <a:pt x="2645" y="479"/>
                  <a:pt x="2641" y="472"/>
                  <a:pt x="2634" y="470"/>
                </a:cubicBezTo>
                <a:cubicBezTo>
                  <a:pt x="2629" y="468"/>
                  <a:pt x="2624" y="467"/>
                  <a:pt x="2622" y="465"/>
                </a:cubicBezTo>
                <a:cubicBezTo>
                  <a:pt x="2621" y="465"/>
                  <a:pt x="2620" y="464"/>
                  <a:pt x="2620" y="464"/>
                </a:cubicBezTo>
                <a:cubicBezTo>
                  <a:pt x="2620" y="464"/>
                  <a:pt x="2620" y="463"/>
                  <a:pt x="2621" y="463"/>
                </a:cubicBezTo>
                <a:cubicBezTo>
                  <a:pt x="2622" y="461"/>
                  <a:pt x="2623" y="459"/>
                  <a:pt x="2626" y="456"/>
                </a:cubicBezTo>
                <a:cubicBezTo>
                  <a:pt x="2633" y="449"/>
                  <a:pt x="2636" y="450"/>
                  <a:pt x="2644" y="449"/>
                </a:cubicBezTo>
                <a:cubicBezTo>
                  <a:pt x="2651" y="448"/>
                  <a:pt x="2659" y="446"/>
                  <a:pt x="2667" y="438"/>
                </a:cubicBezTo>
                <a:cubicBezTo>
                  <a:pt x="2664" y="442"/>
                  <a:pt x="2663" y="447"/>
                  <a:pt x="2663" y="452"/>
                </a:cubicBezTo>
                <a:cubicBezTo>
                  <a:pt x="2663" y="459"/>
                  <a:pt x="2665" y="465"/>
                  <a:pt x="2669" y="469"/>
                </a:cubicBezTo>
                <a:cubicBezTo>
                  <a:pt x="2670" y="472"/>
                  <a:pt x="2672" y="478"/>
                  <a:pt x="2675" y="484"/>
                </a:cubicBezTo>
                <a:cubicBezTo>
                  <a:pt x="2676" y="487"/>
                  <a:pt x="2678" y="490"/>
                  <a:pt x="2680" y="492"/>
                </a:cubicBezTo>
                <a:cubicBezTo>
                  <a:pt x="2682" y="495"/>
                  <a:pt x="2686" y="497"/>
                  <a:pt x="2690" y="497"/>
                </a:cubicBezTo>
                <a:cubicBezTo>
                  <a:pt x="2691" y="497"/>
                  <a:pt x="2692" y="497"/>
                  <a:pt x="2693" y="497"/>
                </a:cubicBezTo>
                <a:cubicBezTo>
                  <a:pt x="2705" y="493"/>
                  <a:pt x="2716" y="485"/>
                  <a:pt x="2724" y="486"/>
                </a:cubicBezTo>
                <a:cubicBezTo>
                  <a:pt x="2725" y="486"/>
                  <a:pt x="2725" y="486"/>
                  <a:pt x="2726" y="486"/>
                </a:cubicBezTo>
                <a:cubicBezTo>
                  <a:pt x="2728" y="486"/>
                  <a:pt x="2731" y="486"/>
                  <a:pt x="2734" y="486"/>
                </a:cubicBezTo>
                <a:cubicBezTo>
                  <a:pt x="2745" y="486"/>
                  <a:pt x="2759" y="485"/>
                  <a:pt x="2763" y="484"/>
                </a:cubicBezTo>
                <a:cubicBezTo>
                  <a:pt x="2764" y="485"/>
                  <a:pt x="2766" y="488"/>
                  <a:pt x="2768" y="490"/>
                </a:cubicBezTo>
                <a:cubicBezTo>
                  <a:pt x="2769" y="492"/>
                  <a:pt x="2770" y="494"/>
                  <a:pt x="2771" y="495"/>
                </a:cubicBezTo>
                <a:cubicBezTo>
                  <a:pt x="2764" y="497"/>
                  <a:pt x="2752" y="496"/>
                  <a:pt x="2734" y="497"/>
                </a:cubicBezTo>
                <a:cubicBezTo>
                  <a:pt x="2724" y="498"/>
                  <a:pt x="2714" y="498"/>
                  <a:pt x="2706" y="499"/>
                </a:cubicBezTo>
                <a:cubicBezTo>
                  <a:pt x="2702" y="499"/>
                  <a:pt x="2698" y="500"/>
                  <a:pt x="2695" y="500"/>
                </a:cubicBezTo>
                <a:cubicBezTo>
                  <a:pt x="2694" y="501"/>
                  <a:pt x="2692" y="501"/>
                  <a:pt x="2691" y="502"/>
                </a:cubicBezTo>
                <a:cubicBezTo>
                  <a:pt x="2689" y="503"/>
                  <a:pt x="2687" y="505"/>
                  <a:pt x="2687" y="509"/>
                </a:cubicBezTo>
                <a:cubicBezTo>
                  <a:pt x="2687" y="512"/>
                  <a:pt x="2689" y="513"/>
                  <a:pt x="2689" y="514"/>
                </a:cubicBezTo>
                <a:cubicBezTo>
                  <a:pt x="2693" y="518"/>
                  <a:pt x="2697" y="520"/>
                  <a:pt x="2701" y="523"/>
                </a:cubicBezTo>
                <a:cubicBezTo>
                  <a:pt x="2703" y="524"/>
                  <a:pt x="2704" y="525"/>
                  <a:pt x="2705" y="525"/>
                </a:cubicBezTo>
                <a:cubicBezTo>
                  <a:pt x="2704" y="526"/>
                  <a:pt x="2703" y="526"/>
                  <a:pt x="2702" y="526"/>
                </a:cubicBezTo>
                <a:cubicBezTo>
                  <a:pt x="2698" y="526"/>
                  <a:pt x="2691" y="522"/>
                  <a:pt x="2681" y="521"/>
                </a:cubicBezTo>
                <a:cubicBezTo>
                  <a:pt x="2680" y="520"/>
                  <a:pt x="2680" y="520"/>
                  <a:pt x="2679" y="520"/>
                </a:cubicBezTo>
                <a:cubicBezTo>
                  <a:pt x="2670" y="521"/>
                  <a:pt x="2665" y="528"/>
                  <a:pt x="2661" y="534"/>
                </a:cubicBezTo>
                <a:cubicBezTo>
                  <a:pt x="2657" y="541"/>
                  <a:pt x="2654" y="548"/>
                  <a:pt x="2653" y="554"/>
                </a:cubicBezTo>
                <a:cubicBezTo>
                  <a:pt x="2652" y="557"/>
                  <a:pt x="2652" y="560"/>
                  <a:pt x="2652" y="563"/>
                </a:cubicBezTo>
                <a:cubicBezTo>
                  <a:pt x="2652" y="566"/>
                  <a:pt x="2652" y="570"/>
                  <a:pt x="2652" y="572"/>
                </a:cubicBezTo>
                <a:cubicBezTo>
                  <a:pt x="2652" y="573"/>
                  <a:pt x="2652" y="574"/>
                  <a:pt x="2652" y="574"/>
                </a:cubicBezTo>
                <a:cubicBezTo>
                  <a:pt x="2651" y="574"/>
                  <a:pt x="2650" y="574"/>
                  <a:pt x="2649" y="573"/>
                </a:cubicBezTo>
                <a:cubicBezTo>
                  <a:pt x="2638" y="569"/>
                  <a:pt x="2629" y="567"/>
                  <a:pt x="2621" y="567"/>
                </a:cubicBezTo>
                <a:cubicBezTo>
                  <a:pt x="2617" y="567"/>
                  <a:pt x="2613" y="568"/>
                  <a:pt x="2609" y="570"/>
                </a:cubicBezTo>
                <a:cubicBezTo>
                  <a:pt x="2606" y="572"/>
                  <a:pt x="2592" y="577"/>
                  <a:pt x="2580" y="581"/>
                </a:cubicBezTo>
                <a:cubicBezTo>
                  <a:pt x="2579" y="582"/>
                  <a:pt x="2578" y="582"/>
                  <a:pt x="2578" y="582"/>
                </a:cubicBezTo>
                <a:cubicBezTo>
                  <a:pt x="2577" y="581"/>
                  <a:pt x="2572" y="574"/>
                  <a:pt x="2562" y="574"/>
                </a:cubicBezTo>
                <a:cubicBezTo>
                  <a:pt x="2561" y="574"/>
                  <a:pt x="2561" y="574"/>
                  <a:pt x="2561" y="574"/>
                </a:cubicBezTo>
                <a:cubicBezTo>
                  <a:pt x="2546" y="574"/>
                  <a:pt x="2546" y="574"/>
                  <a:pt x="2546" y="574"/>
                </a:cubicBezTo>
                <a:cubicBezTo>
                  <a:pt x="2545" y="574"/>
                  <a:pt x="2545" y="574"/>
                  <a:pt x="2545" y="574"/>
                </a:cubicBezTo>
                <a:cubicBezTo>
                  <a:pt x="2538" y="575"/>
                  <a:pt x="2538" y="575"/>
                  <a:pt x="2538" y="575"/>
                </a:cubicBezTo>
                <a:cubicBezTo>
                  <a:pt x="2536" y="573"/>
                  <a:pt x="2533" y="568"/>
                  <a:pt x="2532" y="563"/>
                </a:cubicBezTo>
                <a:cubicBezTo>
                  <a:pt x="2532" y="562"/>
                  <a:pt x="2532" y="562"/>
                  <a:pt x="2532" y="561"/>
                </a:cubicBezTo>
                <a:cubicBezTo>
                  <a:pt x="2532" y="555"/>
                  <a:pt x="2534" y="549"/>
                  <a:pt x="2534" y="543"/>
                </a:cubicBezTo>
                <a:cubicBezTo>
                  <a:pt x="2534" y="540"/>
                  <a:pt x="2533" y="535"/>
                  <a:pt x="2528" y="532"/>
                </a:cubicBezTo>
                <a:cubicBezTo>
                  <a:pt x="2525" y="531"/>
                  <a:pt x="2522" y="531"/>
                  <a:pt x="2520" y="531"/>
                </a:cubicBezTo>
                <a:cubicBezTo>
                  <a:pt x="2516" y="531"/>
                  <a:pt x="2513" y="531"/>
                  <a:pt x="2510" y="532"/>
                </a:cubicBezTo>
                <a:cubicBezTo>
                  <a:pt x="2513" y="530"/>
                  <a:pt x="2517" y="527"/>
                  <a:pt x="2518" y="522"/>
                </a:cubicBezTo>
                <a:close/>
                <a:moveTo>
                  <a:pt x="2636" y="804"/>
                </a:moveTo>
                <a:cubicBezTo>
                  <a:pt x="2635" y="803"/>
                  <a:pt x="2614" y="787"/>
                  <a:pt x="2605" y="782"/>
                </a:cubicBezTo>
                <a:cubicBezTo>
                  <a:pt x="2597" y="778"/>
                  <a:pt x="2583" y="770"/>
                  <a:pt x="2578" y="758"/>
                </a:cubicBezTo>
                <a:cubicBezTo>
                  <a:pt x="2573" y="750"/>
                  <a:pt x="2567" y="745"/>
                  <a:pt x="2562" y="741"/>
                </a:cubicBezTo>
                <a:cubicBezTo>
                  <a:pt x="2557" y="737"/>
                  <a:pt x="2555" y="735"/>
                  <a:pt x="2555" y="732"/>
                </a:cubicBezTo>
                <a:cubicBezTo>
                  <a:pt x="2555" y="732"/>
                  <a:pt x="2555" y="731"/>
                  <a:pt x="2555" y="731"/>
                </a:cubicBezTo>
                <a:cubicBezTo>
                  <a:pt x="2555" y="730"/>
                  <a:pt x="2555" y="730"/>
                  <a:pt x="2555" y="729"/>
                </a:cubicBezTo>
                <a:cubicBezTo>
                  <a:pt x="2555" y="729"/>
                  <a:pt x="2555" y="729"/>
                  <a:pt x="2555" y="729"/>
                </a:cubicBezTo>
                <a:cubicBezTo>
                  <a:pt x="2556" y="729"/>
                  <a:pt x="2556" y="729"/>
                  <a:pt x="2556" y="729"/>
                </a:cubicBezTo>
                <a:cubicBezTo>
                  <a:pt x="2558" y="729"/>
                  <a:pt x="2566" y="734"/>
                  <a:pt x="2571" y="740"/>
                </a:cubicBezTo>
                <a:cubicBezTo>
                  <a:pt x="2581" y="752"/>
                  <a:pt x="2604" y="767"/>
                  <a:pt x="2611" y="776"/>
                </a:cubicBezTo>
                <a:cubicBezTo>
                  <a:pt x="2621" y="787"/>
                  <a:pt x="2632" y="791"/>
                  <a:pt x="2634" y="800"/>
                </a:cubicBezTo>
                <a:cubicBezTo>
                  <a:pt x="2635" y="801"/>
                  <a:pt x="2635" y="803"/>
                  <a:pt x="2636" y="804"/>
                </a:cubicBezTo>
                <a:close/>
                <a:moveTo>
                  <a:pt x="2400" y="645"/>
                </a:moveTo>
                <a:cubicBezTo>
                  <a:pt x="2399" y="645"/>
                  <a:pt x="2399" y="645"/>
                  <a:pt x="2399" y="645"/>
                </a:cubicBezTo>
                <a:cubicBezTo>
                  <a:pt x="2398" y="648"/>
                  <a:pt x="2398" y="648"/>
                  <a:pt x="2395" y="649"/>
                </a:cubicBezTo>
                <a:cubicBezTo>
                  <a:pt x="2395" y="649"/>
                  <a:pt x="2394" y="649"/>
                  <a:pt x="2393" y="649"/>
                </a:cubicBezTo>
                <a:cubicBezTo>
                  <a:pt x="2395" y="648"/>
                  <a:pt x="2397" y="647"/>
                  <a:pt x="2400" y="645"/>
                </a:cubicBezTo>
                <a:close/>
                <a:moveTo>
                  <a:pt x="2831" y="1487"/>
                </a:moveTo>
                <a:cubicBezTo>
                  <a:pt x="2829" y="1490"/>
                  <a:pt x="2827" y="1494"/>
                  <a:pt x="2825" y="1496"/>
                </a:cubicBezTo>
                <a:cubicBezTo>
                  <a:pt x="2824" y="1497"/>
                  <a:pt x="2823" y="1497"/>
                  <a:pt x="2822" y="1498"/>
                </a:cubicBezTo>
                <a:cubicBezTo>
                  <a:pt x="2822" y="1498"/>
                  <a:pt x="2822" y="1498"/>
                  <a:pt x="2822" y="1498"/>
                </a:cubicBezTo>
                <a:cubicBezTo>
                  <a:pt x="2822" y="1497"/>
                  <a:pt x="2821" y="1496"/>
                  <a:pt x="2821" y="1494"/>
                </a:cubicBezTo>
                <a:cubicBezTo>
                  <a:pt x="2820" y="1492"/>
                  <a:pt x="2820" y="1488"/>
                  <a:pt x="2820" y="1485"/>
                </a:cubicBezTo>
                <a:cubicBezTo>
                  <a:pt x="2820" y="1477"/>
                  <a:pt x="2822" y="1467"/>
                  <a:pt x="2823" y="1465"/>
                </a:cubicBezTo>
                <a:cubicBezTo>
                  <a:pt x="2823" y="1465"/>
                  <a:pt x="2823" y="1466"/>
                  <a:pt x="2823" y="1466"/>
                </a:cubicBezTo>
                <a:cubicBezTo>
                  <a:pt x="2825" y="1464"/>
                  <a:pt x="2829" y="1464"/>
                  <a:pt x="2833" y="1464"/>
                </a:cubicBezTo>
                <a:cubicBezTo>
                  <a:pt x="2833" y="1464"/>
                  <a:pt x="2834" y="1464"/>
                  <a:pt x="2834" y="1464"/>
                </a:cubicBezTo>
                <a:cubicBezTo>
                  <a:pt x="2836" y="1464"/>
                  <a:pt x="2837" y="1463"/>
                  <a:pt x="2838" y="1464"/>
                </a:cubicBezTo>
                <a:cubicBezTo>
                  <a:pt x="2838" y="1464"/>
                  <a:pt x="2838" y="1463"/>
                  <a:pt x="2839" y="1464"/>
                </a:cubicBezTo>
                <a:cubicBezTo>
                  <a:pt x="2839" y="1464"/>
                  <a:pt x="2839" y="1464"/>
                  <a:pt x="2839" y="1465"/>
                </a:cubicBezTo>
                <a:cubicBezTo>
                  <a:pt x="2839" y="1470"/>
                  <a:pt x="2836" y="1480"/>
                  <a:pt x="2831" y="1487"/>
                </a:cubicBezTo>
                <a:close/>
                <a:moveTo>
                  <a:pt x="2836" y="953"/>
                </a:moveTo>
                <a:cubicBezTo>
                  <a:pt x="2835" y="954"/>
                  <a:pt x="2835" y="954"/>
                  <a:pt x="2835" y="954"/>
                </a:cubicBezTo>
                <a:cubicBezTo>
                  <a:pt x="2835" y="954"/>
                  <a:pt x="2835" y="955"/>
                  <a:pt x="2832" y="955"/>
                </a:cubicBezTo>
                <a:cubicBezTo>
                  <a:pt x="2829" y="955"/>
                  <a:pt x="2825" y="955"/>
                  <a:pt x="2821" y="956"/>
                </a:cubicBezTo>
                <a:cubicBezTo>
                  <a:pt x="2817" y="951"/>
                  <a:pt x="2813" y="946"/>
                  <a:pt x="2805" y="946"/>
                </a:cubicBezTo>
                <a:cubicBezTo>
                  <a:pt x="2804" y="946"/>
                  <a:pt x="2802" y="946"/>
                  <a:pt x="2801" y="947"/>
                </a:cubicBezTo>
                <a:cubicBezTo>
                  <a:pt x="2794" y="949"/>
                  <a:pt x="2785" y="950"/>
                  <a:pt x="2776" y="953"/>
                </a:cubicBezTo>
                <a:cubicBezTo>
                  <a:pt x="2776" y="953"/>
                  <a:pt x="2776" y="952"/>
                  <a:pt x="2776" y="951"/>
                </a:cubicBezTo>
                <a:cubicBezTo>
                  <a:pt x="2776" y="950"/>
                  <a:pt x="2776" y="948"/>
                  <a:pt x="2775" y="947"/>
                </a:cubicBezTo>
                <a:cubicBezTo>
                  <a:pt x="2772" y="942"/>
                  <a:pt x="2767" y="941"/>
                  <a:pt x="2763" y="940"/>
                </a:cubicBezTo>
                <a:cubicBezTo>
                  <a:pt x="2758" y="939"/>
                  <a:pt x="2753" y="939"/>
                  <a:pt x="2747" y="939"/>
                </a:cubicBezTo>
                <a:cubicBezTo>
                  <a:pt x="2738" y="939"/>
                  <a:pt x="2729" y="940"/>
                  <a:pt x="2723" y="940"/>
                </a:cubicBezTo>
                <a:cubicBezTo>
                  <a:pt x="2711" y="940"/>
                  <a:pt x="2699" y="930"/>
                  <a:pt x="2685" y="926"/>
                </a:cubicBezTo>
                <a:cubicBezTo>
                  <a:pt x="2684" y="926"/>
                  <a:pt x="2682" y="925"/>
                  <a:pt x="2681" y="925"/>
                </a:cubicBezTo>
                <a:cubicBezTo>
                  <a:pt x="2673" y="926"/>
                  <a:pt x="2666" y="930"/>
                  <a:pt x="2659" y="936"/>
                </a:cubicBezTo>
                <a:cubicBezTo>
                  <a:pt x="2653" y="942"/>
                  <a:pt x="2647" y="949"/>
                  <a:pt x="2641" y="956"/>
                </a:cubicBezTo>
                <a:cubicBezTo>
                  <a:pt x="2637" y="960"/>
                  <a:pt x="2635" y="961"/>
                  <a:pt x="2633" y="961"/>
                </a:cubicBezTo>
                <a:cubicBezTo>
                  <a:pt x="2630" y="961"/>
                  <a:pt x="2624" y="958"/>
                  <a:pt x="2616" y="957"/>
                </a:cubicBezTo>
                <a:cubicBezTo>
                  <a:pt x="2614" y="958"/>
                  <a:pt x="2606" y="954"/>
                  <a:pt x="2601" y="950"/>
                </a:cubicBezTo>
                <a:cubicBezTo>
                  <a:pt x="2595" y="945"/>
                  <a:pt x="2590" y="941"/>
                  <a:pt x="2590" y="941"/>
                </a:cubicBezTo>
                <a:cubicBezTo>
                  <a:pt x="2589" y="940"/>
                  <a:pt x="2589" y="940"/>
                  <a:pt x="2589" y="940"/>
                </a:cubicBezTo>
                <a:cubicBezTo>
                  <a:pt x="2589" y="940"/>
                  <a:pt x="2584" y="938"/>
                  <a:pt x="2577" y="935"/>
                </a:cubicBezTo>
                <a:cubicBezTo>
                  <a:pt x="2571" y="933"/>
                  <a:pt x="2564" y="930"/>
                  <a:pt x="2558" y="930"/>
                </a:cubicBezTo>
                <a:cubicBezTo>
                  <a:pt x="2558" y="930"/>
                  <a:pt x="2557" y="929"/>
                  <a:pt x="2554" y="928"/>
                </a:cubicBezTo>
                <a:cubicBezTo>
                  <a:pt x="2551" y="926"/>
                  <a:pt x="2546" y="922"/>
                  <a:pt x="2542" y="919"/>
                </a:cubicBezTo>
                <a:cubicBezTo>
                  <a:pt x="2540" y="917"/>
                  <a:pt x="2538" y="916"/>
                  <a:pt x="2537" y="915"/>
                </a:cubicBezTo>
                <a:cubicBezTo>
                  <a:pt x="2535" y="914"/>
                  <a:pt x="2533" y="912"/>
                  <a:pt x="2530" y="912"/>
                </a:cubicBezTo>
                <a:cubicBezTo>
                  <a:pt x="2530" y="912"/>
                  <a:pt x="2528" y="910"/>
                  <a:pt x="2526" y="909"/>
                </a:cubicBezTo>
                <a:cubicBezTo>
                  <a:pt x="2525" y="908"/>
                  <a:pt x="2524" y="906"/>
                  <a:pt x="2524" y="906"/>
                </a:cubicBezTo>
                <a:cubicBezTo>
                  <a:pt x="2524" y="906"/>
                  <a:pt x="2524" y="905"/>
                  <a:pt x="2525" y="905"/>
                </a:cubicBezTo>
                <a:cubicBezTo>
                  <a:pt x="2526" y="904"/>
                  <a:pt x="2528" y="904"/>
                  <a:pt x="2531" y="904"/>
                </a:cubicBezTo>
                <a:cubicBezTo>
                  <a:pt x="2533" y="904"/>
                  <a:pt x="2536" y="903"/>
                  <a:pt x="2538" y="901"/>
                </a:cubicBezTo>
                <a:cubicBezTo>
                  <a:pt x="2540" y="898"/>
                  <a:pt x="2541" y="895"/>
                  <a:pt x="2541" y="893"/>
                </a:cubicBezTo>
                <a:cubicBezTo>
                  <a:pt x="2540" y="888"/>
                  <a:pt x="2539" y="883"/>
                  <a:pt x="2537" y="874"/>
                </a:cubicBezTo>
                <a:cubicBezTo>
                  <a:pt x="2531" y="854"/>
                  <a:pt x="2518" y="846"/>
                  <a:pt x="2507" y="846"/>
                </a:cubicBezTo>
                <a:cubicBezTo>
                  <a:pt x="2500" y="846"/>
                  <a:pt x="2494" y="849"/>
                  <a:pt x="2490" y="851"/>
                </a:cubicBezTo>
                <a:cubicBezTo>
                  <a:pt x="2490" y="851"/>
                  <a:pt x="2490" y="851"/>
                  <a:pt x="2489" y="851"/>
                </a:cubicBezTo>
                <a:cubicBezTo>
                  <a:pt x="2482" y="852"/>
                  <a:pt x="2463" y="853"/>
                  <a:pt x="2447" y="853"/>
                </a:cubicBezTo>
                <a:cubicBezTo>
                  <a:pt x="2435" y="853"/>
                  <a:pt x="2425" y="853"/>
                  <a:pt x="2423" y="853"/>
                </a:cubicBezTo>
                <a:cubicBezTo>
                  <a:pt x="2419" y="853"/>
                  <a:pt x="2417" y="854"/>
                  <a:pt x="2413" y="855"/>
                </a:cubicBezTo>
                <a:cubicBezTo>
                  <a:pt x="2400" y="860"/>
                  <a:pt x="2380" y="868"/>
                  <a:pt x="2371" y="873"/>
                </a:cubicBezTo>
                <a:cubicBezTo>
                  <a:pt x="2362" y="878"/>
                  <a:pt x="2345" y="884"/>
                  <a:pt x="2338" y="888"/>
                </a:cubicBezTo>
                <a:cubicBezTo>
                  <a:pt x="2338" y="888"/>
                  <a:pt x="2338" y="888"/>
                  <a:pt x="2337" y="888"/>
                </a:cubicBezTo>
                <a:cubicBezTo>
                  <a:pt x="2334" y="888"/>
                  <a:pt x="2324" y="886"/>
                  <a:pt x="2315" y="886"/>
                </a:cubicBezTo>
                <a:cubicBezTo>
                  <a:pt x="2316" y="883"/>
                  <a:pt x="2317" y="881"/>
                  <a:pt x="2318" y="878"/>
                </a:cubicBezTo>
                <a:cubicBezTo>
                  <a:pt x="2319" y="877"/>
                  <a:pt x="2320" y="876"/>
                  <a:pt x="2320" y="875"/>
                </a:cubicBezTo>
                <a:cubicBezTo>
                  <a:pt x="2323" y="876"/>
                  <a:pt x="2325" y="876"/>
                  <a:pt x="2327" y="876"/>
                </a:cubicBezTo>
                <a:cubicBezTo>
                  <a:pt x="2336" y="876"/>
                  <a:pt x="2345" y="873"/>
                  <a:pt x="2352" y="872"/>
                </a:cubicBezTo>
                <a:cubicBezTo>
                  <a:pt x="2360" y="871"/>
                  <a:pt x="2365" y="865"/>
                  <a:pt x="2369" y="861"/>
                </a:cubicBezTo>
                <a:cubicBezTo>
                  <a:pt x="2373" y="856"/>
                  <a:pt x="2377" y="851"/>
                  <a:pt x="2381" y="849"/>
                </a:cubicBezTo>
                <a:cubicBezTo>
                  <a:pt x="2383" y="847"/>
                  <a:pt x="2385" y="846"/>
                  <a:pt x="2387" y="844"/>
                </a:cubicBezTo>
                <a:cubicBezTo>
                  <a:pt x="2388" y="843"/>
                  <a:pt x="2390" y="840"/>
                  <a:pt x="2390" y="837"/>
                </a:cubicBezTo>
                <a:cubicBezTo>
                  <a:pt x="2390" y="834"/>
                  <a:pt x="2388" y="832"/>
                  <a:pt x="2387" y="831"/>
                </a:cubicBezTo>
                <a:cubicBezTo>
                  <a:pt x="2386" y="829"/>
                  <a:pt x="2385" y="828"/>
                  <a:pt x="2384" y="826"/>
                </a:cubicBezTo>
                <a:cubicBezTo>
                  <a:pt x="2384" y="826"/>
                  <a:pt x="2384" y="826"/>
                  <a:pt x="2384" y="826"/>
                </a:cubicBezTo>
                <a:cubicBezTo>
                  <a:pt x="2384" y="825"/>
                  <a:pt x="2386" y="822"/>
                  <a:pt x="2390" y="818"/>
                </a:cubicBezTo>
                <a:cubicBezTo>
                  <a:pt x="2393" y="814"/>
                  <a:pt x="2398" y="809"/>
                  <a:pt x="2402" y="805"/>
                </a:cubicBezTo>
                <a:cubicBezTo>
                  <a:pt x="2404" y="802"/>
                  <a:pt x="2407" y="802"/>
                  <a:pt x="2413" y="801"/>
                </a:cubicBezTo>
                <a:cubicBezTo>
                  <a:pt x="2416" y="801"/>
                  <a:pt x="2419" y="801"/>
                  <a:pt x="2422" y="799"/>
                </a:cubicBezTo>
                <a:cubicBezTo>
                  <a:pt x="2425" y="798"/>
                  <a:pt x="2428" y="794"/>
                  <a:pt x="2429" y="790"/>
                </a:cubicBezTo>
                <a:cubicBezTo>
                  <a:pt x="2431" y="784"/>
                  <a:pt x="2432" y="777"/>
                  <a:pt x="2434" y="772"/>
                </a:cubicBezTo>
                <a:cubicBezTo>
                  <a:pt x="2435" y="769"/>
                  <a:pt x="2436" y="767"/>
                  <a:pt x="2436" y="766"/>
                </a:cubicBezTo>
                <a:cubicBezTo>
                  <a:pt x="2437" y="766"/>
                  <a:pt x="2437" y="766"/>
                  <a:pt x="2437" y="766"/>
                </a:cubicBezTo>
                <a:cubicBezTo>
                  <a:pt x="2445" y="767"/>
                  <a:pt x="2457" y="774"/>
                  <a:pt x="2467" y="774"/>
                </a:cubicBezTo>
                <a:cubicBezTo>
                  <a:pt x="2475" y="773"/>
                  <a:pt x="2481" y="769"/>
                  <a:pt x="2487" y="765"/>
                </a:cubicBezTo>
                <a:cubicBezTo>
                  <a:pt x="2493" y="761"/>
                  <a:pt x="2500" y="756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1" y="755"/>
                  <a:pt x="2502" y="755"/>
                  <a:pt x="2503" y="755"/>
                </a:cubicBezTo>
                <a:cubicBezTo>
                  <a:pt x="2506" y="755"/>
                  <a:pt x="2509" y="755"/>
                  <a:pt x="2511" y="757"/>
                </a:cubicBezTo>
                <a:cubicBezTo>
                  <a:pt x="2514" y="758"/>
                  <a:pt x="2515" y="760"/>
                  <a:pt x="2516" y="762"/>
                </a:cubicBezTo>
                <a:cubicBezTo>
                  <a:pt x="2517" y="771"/>
                  <a:pt x="2524" y="778"/>
                  <a:pt x="2530" y="784"/>
                </a:cubicBezTo>
                <a:cubicBezTo>
                  <a:pt x="2536" y="790"/>
                  <a:pt x="2542" y="795"/>
                  <a:pt x="2545" y="796"/>
                </a:cubicBezTo>
                <a:cubicBezTo>
                  <a:pt x="2548" y="798"/>
                  <a:pt x="2556" y="802"/>
                  <a:pt x="2565" y="805"/>
                </a:cubicBezTo>
                <a:cubicBezTo>
                  <a:pt x="2570" y="807"/>
                  <a:pt x="2574" y="809"/>
                  <a:pt x="2577" y="810"/>
                </a:cubicBezTo>
                <a:cubicBezTo>
                  <a:pt x="2580" y="812"/>
                  <a:pt x="2583" y="814"/>
                  <a:pt x="2583" y="814"/>
                </a:cubicBezTo>
                <a:cubicBezTo>
                  <a:pt x="2586" y="816"/>
                  <a:pt x="2593" y="828"/>
                  <a:pt x="2595" y="838"/>
                </a:cubicBezTo>
                <a:cubicBezTo>
                  <a:pt x="2597" y="845"/>
                  <a:pt x="2600" y="851"/>
                  <a:pt x="2607" y="851"/>
                </a:cubicBezTo>
                <a:cubicBezTo>
                  <a:pt x="2614" y="851"/>
                  <a:pt x="2618" y="845"/>
                  <a:pt x="2618" y="839"/>
                </a:cubicBezTo>
                <a:cubicBezTo>
                  <a:pt x="2619" y="838"/>
                  <a:pt x="2619" y="837"/>
                  <a:pt x="2619" y="836"/>
                </a:cubicBezTo>
                <a:cubicBezTo>
                  <a:pt x="2619" y="829"/>
                  <a:pt x="2617" y="822"/>
                  <a:pt x="2617" y="818"/>
                </a:cubicBezTo>
                <a:cubicBezTo>
                  <a:pt x="2617" y="818"/>
                  <a:pt x="2618" y="818"/>
                  <a:pt x="2618" y="818"/>
                </a:cubicBezTo>
                <a:cubicBezTo>
                  <a:pt x="2627" y="818"/>
                  <a:pt x="2635" y="815"/>
                  <a:pt x="2636" y="815"/>
                </a:cubicBezTo>
                <a:cubicBezTo>
                  <a:pt x="2637" y="814"/>
                  <a:pt x="2636" y="812"/>
                  <a:pt x="2640" y="810"/>
                </a:cubicBezTo>
                <a:cubicBezTo>
                  <a:pt x="2640" y="810"/>
                  <a:pt x="2640" y="810"/>
                  <a:pt x="2640" y="810"/>
                </a:cubicBezTo>
                <a:cubicBezTo>
                  <a:pt x="2644" y="820"/>
                  <a:pt x="2651" y="829"/>
                  <a:pt x="2653" y="833"/>
                </a:cubicBezTo>
                <a:cubicBezTo>
                  <a:pt x="2654" y="835"/>
                  <a:pt x="2658" y="844"/>
                  <a:pt x="2661" y="853"/>
                </a:cubicBezTo>
                <a:cubicBezTo>
                  <a:pt x="2665" y="862"/>
                  <a:pt x="2669" y="871"/>
                  <a:pt x="2671" y="875"/>
                </a:cubicBezTo>
                <a:cubicBezTo>
                  <a:pt x="2672" y="879"/>
                  <a:pt x="2677" y="881"/>
                  <a:pt x="2680" y="881"/>
                </a:cubicBezTo>
                <a:cubicBezTo>
                  <a:pt x="2689" y="881"/>
                  <a:pt x="2696" y="874"/>
                  <a:pt x="2701" y="870"/>
                </a:cubicBezTo>
                <a:cubicBezTo>
                  <a:pt x="2703" y="868"/>
                  <a:pt x="2706" y="866"/>
                  <a:pt x="2711" y="863"/>
                </a:cubicBezTo>
                <a:cubicBezTo>
                  <a:pt x="2715" y="860"/>
                  <a:pt x="2719" y="854"/>
                  <a:pt x="2720" y="847"/>
                </a:cubicBezTo>
                <a:cubicBezTo>
                  <a:pt x="2720" y="846"/>
                  <a:pt x="2720" y="846"/>
                  <a:pt x="2720" y="845"/>
                </a:cubicBezTo>
                <a:cubicBezTo>
                  <a:pt x="2720" y="837"/>
                  <a:pt x="2715" y="831"/>
                  <a:pt x="2710" y="827"/>
                </a:cubicBezTo>
                <a:cubicBezTo>
                  <a:pt x="2708" y="825"/>
                  <a:pt x="2705" y="823"/>
                  <a:pt x="2703" y="822"/>
                </a:cubicBezTo>
                <a:cubicBezTo>
                  <a:pt x="2704" y="821"/>
                  <a:pt x="2705" y="821"/>
                  <a:pt x="2707" y="820"/>
                </a:cubicBezTo>
                <a:cubicBezTo>
                  <a:pt x="2710" y="818"/>
                  <a:pt x="2714" y="816"/>
                  <a:pt x="2717" y="814"/>
                </a:cubicBezTo>
                <a:cubicBezTo>
                  <a:pt x="2720" y="810"/>
                  <a:pt x="2726" y="806"/>
                  <a:pt x="2728" y="805"/>
                </a:cubicBezTo>
                <a:cubicBezTo>
                  <a:pt x="2728" y="805"/>
                  <a:pt x="2728" y="805"/>
                  <a:pt x="2728" y="805"/>
                </a:cubicBezTo>
                <a:cubicBezTo>
                  <a:pt x="2729" y="806"/>
                  <a:pt x="2730" y="817"/>
                  <a:pt x="2730" y="827"/>
                </a:cubicBezTo>
                <a:cubicBezTo>
                  <a:pt x="2731" y="832"/>
                  <a:pt x="2731" y="837"/>
                  <a:pt x="2731" y="841"/>
                </a:cubicBezTo>
                <a:cubicBezTo>
                  <a:pt x="2731" y="845"/>
                  <a:pt x="2731" y="848"/>
                  <a:pt x="2732" y="851"/>
                </a:cubicBezTo>
                <a:cubicBezTo>
                  <a:pt x="2734" y="855"/>
                  <a:pt x="2737" y="857"/>
                  <a:pt x="2740" y="859"/>
                </a:cubicBezTo>
                <a:cubicBezTo>
                  <a:pt x="2744" y="862"/>
                  <a:pt x="2749" y="864"/>
                  <a:pt x="2754" y="867"/>
                </a:cubicBezTo>
                <a:cubicBezTo>
                  <a:pt x="2759" y="869"/>
                  <a:pt x="2763" y="873"/>
                  <a:pt x="2763" y="873"/>
                </a:cubicBezTo>
                <a:cubicBezTo>
                  <a:pt x="2769" y="881"/>
                  <a:pt x="2779" y="883"/>
                  <a:pt x="2788" y="883"/>
                </a:cubicBezTo>
                <a:cubicBezTo>
                  <a:pt x="2792" y="883"/>
                  <a:pt x="2795" y="884"/>
                  <a:pt x="2799" y="880"/>
                </a:cubicBezTo>
                <a:cubicBezTo>
                  <a:pt x="2799" y="880"/>
                  <a:pt x="2799" y="880"/>
                  <a:pt x="2800" y="880"/>
                </a:cubicBezTo>
                <a:cubicBezTo>
                  <a:pt x="2804" y="880"/>
                  <a:pt x="2816" y="884"/>
                  <a:pt x="2820" y="885"/>
                </a:cubicBezTo>
                <a:cubicBezTo>
                  <a:pt x="2822" y="886"/>
                  <a:pt x="2823" y="886"/>
                  <a:pt x="2824" y="886"/>
                </a:cubicBezTo>
                <a:cubicBezTo>
                  <a:pt x="2832" y="886"/>
                  <a:pt x="2843" y="882"/>
                  <a:pt x="2851" y="880"/>
                </a:cubicBezTo>
                <a:cubicBezTo>
                  <a:pt x="2855" y="878"/>
                  <a:pt x="2859" y="877"/>
                  <a:pt x="2861" y="876"/>
                </a:cubicBezTo>
                <a:cubicBezTo>
                  <a:pt x="2861" y="877"/>
                  <a:pt x="2861" y="877"/>
                  <a:pt x="2861" y="878"/>
                </a:cubicBezTo>
                <a:cubicBezTo>
                  <a:pt x="2861" y="879"/>
                  <a:pt x="2861" y="880"/>
                  <a:pt x="2861" y="881"/>
                </a:cubicBezTo>
                <a:cubicBezTo>
                  <a:pt x="2860" y="898"/>
                  <a:pt x="2856" y="925"/>
                  <a:pt x="2846" y="936"/>
                </a:cubicBezTo>
                <a:cubicBezTo>
                  <a:pt x="2840" y="944"/>
                  <a:pt x="2837" y="950"/>
                  <a:pt x="2836" y="953"/>
                </a:cubicBezTo>
                <a:close/>
                <a:moveTo>
                  <a:pt x="2953" y="1233"/>
                </a:moveTo>
                <a:cubicBezTo>
                  <a:pt x="2950" y="1230"/>
                  <a:pt x="2948" y="1227"/>
                  <a:pt x="2944" y="1225"/>
                </a:cubicBezTo>
                <a:cubicBezTo>
                  <a:pt x="2944" y="1225"/>
                  <a:pt x="2944" y="1225"/>
                  <a:pt x="2944" y="1225"/>
                </a:cubicBezTo>
                <a:cubicBezTo>
                  <a:pt x="2944" y="1225"/>
                  <a:pt x="2939" y="1220"/>
                  <a:pt x="2935" y="1215"/>
                </a:cubicBezTo>
                <a:cubicBezTo>
                  <a:pt x="2931" y="1209"/>
                  <a:pt x="2926" y="1202"/>
                  <a:pt x="2924" y="1195"/>
                </a:cubicBezTo>
                <a:cubicBezTo>
                  <a:pt x="2918" y="1178"/>
                  <a:pt x="2910" y="1157"/>
                  <a:pt x="2900" y="1143"/>
                </a:cubicBezTo>
                <a:cubicBezTo>
                  <a:pt x="2892" y="1133"/>
                  <a:pt x="2886" y="1104"/>
                  <a:pt x="2877" y="1084"/>
                </a:cubicBezTo>
                <a:cubicBezTo>
                  <a:pt x="2868" y="1065"/>
                  <a:pt x="2860" y="1040"/>
                  <a:pt x="2852" y="1022"/>
                </a:cubicBezTo>
                <a:cubicBezTo>
                  <a:pt x="2851" y="1019"/>
                  <a:pt x="2850" y="1017"/>
                  <a:pt x="2848" y="1015"/>
                </a:cubicBezTo>
                <a:cubicBezTo>
                  <a:pt x="2853" y="1014"/>
                  <a:pt x="2858" y="1012"/>
                  <a:pt x="2861" y="1013"/>
                </a:cubicBezTo>
                <a:cubicBezTo>
                  <a:pt x="2862" y="1013"/>
                  <a:pt x="2862" y="1013"/>
                  <a:pt x="2862" y="1013"/>
                </a:cubicBezTo>
                <a:cubicBezTo>
                  <a:pt x="2866" y="1024"/>
                  <a:pt x="2877" y="1044"/>
                  <a:pt x="2879" y="1057"/>
                </a:cubicBezTo>
                <a:cubicBezTo>
                  <a:pt x="2880" y="1066"/>
                  <a:pt x="2887" y="1071"/>
                  <a:pt x="2890" y="1073"/>
                </a:cubicBezTo>
                <a:cubicBezTo>
                  <a:pt x="2894" y="1076"/>
                  <a:pt x="2894" y="1075"/>
                  <a:pt x="2895" y="1080"/>
                </a:cubicBezTo>
                <a:cubicBezTo>
                  <a:pt x="2896" y="1088"/>
                  <a:pt x="2899" y="1100"/>
                  <a:pt x="2903" y="1110"/>
                </a:cubicBezTo>
                <a:cubicBezTo>
                  <a:pt x="2905" y="1116"/>
                  <a:pt x="2907" y="1121"/>
                  <a:pt x="2909" y="1125"/>
                </a:cubicBezTo>
                <a:cubicBezTo>
                  <a:pt x="2911" y="1129"/>
                  <a:pt x="2912" y="1132"/>
                  <a:pt x="2915" y="1135"/>
                </a:cubicBezTo>
                <a:cubicBezTo>
                  <a:pt x="2916" y="1137"/>
                  <a:pt x="2923" y="1143"/>
                  <a:pt x="2929" y="1150"/>
                </a:cubicBezTo>
                <a:cubicBezTo>
                  <a:pt x="2935" y="1157"/>
                  <a:pt x="2941" y="1165"/>
                  <a:pt x="2942" y="1167"/>
                </a:cubicBezTo>
                <a:cubicBezTo>
                  <a:pt x="2945" y="1175"/>
                  <a:pt x="2949" y="1186"/>
                  <a:pt x="2953" y="1206"/>
                </a:cubicBezTo>
                <a:cubicBezTo>
                  <a:pt x="2955" y="1216"/>
                  <a:pt x="2956" y="1228"/>
                  <a:pt x="2959" y="1239"/>
                </a:cubicBezTo>
                <a:cubicBezTo>
                  <a:pt x="2959" y="1240"/>
                  <a:pt x="2959" y="1242"/>
                  <a:pt x="2960" y="1243"/>
                </a:cubicBezTo>
                <a:cubicBezTo>
                  <a:pt x="2958" y="1239"/>
                  <a:pt x="2955" y="1236"/>
                  <a:pt x="2953" y="1233"/>
                </a:cubicBezTo>
                <a:close/>
                <a:moveTo>
                  <a:pt x="3061" y="753"/>
                </a:moveTo>
                <a:cubicBezTo>
                  <a:pt x="3062" y="756"/>
                  <a:pt x="3066" y="758"/>
                  <a:pt x="3068" y="758"/>
                </a:cubicBezTo>
                <a:cubicBezTo>
                  <a:pt x="3071" y="757"/>
                  <a:pt x="3072" y="757"/>
                  <a:pt x="3073" y="757"/>
                </a:cubicBezTo>
                <a:cubicBezTo>
                  <a:pt x="3073" y="757"/>
                  <a:pt x="3073" y="757"/>
                  <a:pt x="3074" y="757"/>
                </a:cubicBezTo>
                <a:cubicBezTo>
                  <a:pt x="3079" y="761"/>
                  <a:pt x="3081" y="768"/>
                  <a:pt x="3086" y="778"/>
                </a:cubicBezTo>
                <a:cubicBezTo>
                  <a:pt x="3089" y="784"/>
                  <a:pt x="3094" y="786"/>
                  <a:pt x="3098" y="787"/>
                </a:cubicBezTo>
                <a:cubicBezTo>
                  <a:pt x="3101" y="788"/>
                  <a:pt x="3103" y="789"/>
                  <a:pt x="3104" y="790"/>
                </a:cubicBezTo>
                <a:cubicBezTo>
                  <a:pt x="3103" y="791"/>
                  <a:pt x="3102" y="793"/>
                  <a:pt x="3100" y="795"/>
                </a:cubicBezTo>
                <a:cubicBezTo>
                  <a:pt x="3098" y="797"/>
                  <a:pt x="3095" y="800"/>
                  <a:pt x="3094" y="806"/>
                </a:cubicBezTo>
                <a:cubicBezTo>
                  <a:pt x="3094" y="809"/>
                  <a:pt x="3096" y="813"/>
                  <a:pt x="3099" y="815"/>
                </a:cubicBezTo>
                <a:cubicBezTo>
                  <a:pt x="3101" y="817"/>
                  <a:pt x="3105" y="827"/>
                  <a:pt x="3107" y="837"/>
                </a:cubicBezTo>
                <a:cubicBezTo>
                  <a:pt x="3109" y="846"/>
                  <a:pt x="3111" y="855"/>
                  <a:pt x="3111" y="860"/>
                </a:cubicBezTo>
                <a:cubicBezTo>
                  <a:pt x="3110" y="861"/>
                  <a:pt x="3107" y="863"/>
                  <a:pt x="3103" y="863"/>
                </a:cubicBezTo>
                <a:cubicBezTo>
                  <a:pt x="3098" y="865"/>
                  <a:pt x="3092" y="865"/>
                  <a:pt x="3088" y="865"/>
                </a:cubicBezTo>
                <a:cubicBezTo>
                  <a:pt x="3087" y="865"/>
                  <a:pt x="3086" y="865"/>
                  <a:pt x="3085" y="865"/>
                </a:cubicBezTo>
                <a:cubicBezTo>
                  <a:pt x="3079" y="864"/>
                  <a:pt x="3055" y="855"/>
                  <a:pt x="3046" y="852"/>
                </a:cubicBezTo>
                <a:cubicBezTo>
                  <a:pt x="3045" y="851"/>
                  <a:pt x="3041" y="840"/>
                  <a:pt x="3042" y="833"/>
                </a:cubicBezTo>
                <a:cubicBezTo>
                  <a:pt x="3042" y="831"/>
                  <a:pt x="3042" y="829"/>
                  <a:pt x="3042" y="828"/>
                </a:cubicBezTo>
                <a:cubicBezTo>
                  <a:pt x="3043" y="828"/>
                  <a:pt x="3044" y="828"/>
                  <a:pt x="3045" y="828"/>
                </a:cubicBezTo>
                <a:cubicBezTo>
                  <a:pt x="3050" y="828"/>
                  <a:pt x="3055" y="826"/>
                  <a:pt x="3058" y="823"/>
                </a:cubicBezTo>
                <a:cubicBezTo>
                  <a:pt x="3062" y="820"/>
                  <a:pt x="3065" y="816"/>
                  <a:pt x="3070" y="811"/>
                </a:cubicBezTo>
                <a:cubicBezTo>
                  <a:pt x="3073" y="808"/>
                  <a:pt x="3075" y="805"/>
                  <a:pt x="3075" y="801"/>
                </a:cubicBezTo>
                <a:cubicBezTo>
                  <a:pt x="3074" y="796"/>
                  <a:pt x="3072" y="793"/>
                  <a:pt x="3069" y="790"/>
                </a:cubicBezTo>
                <a:cubicBezTo>
                  <a:pt x="3060" y="784"/>
                  <a:pt x="3047" y="782"/>
                  <a:pt x="3042" y="780"/>
                </a:cubicBezTo>
                <a:cubicBezTo>
                  <a:pt x="3042" y="780"/>
                  <a:pt x="3042" y="780"/>
                  <a:pt x="3042" y="780"/>
                </a:cubicBezTo>
                <a:cubicBezTo>
                  <a:pt x="3040" y="779"/>
                  <a:pt x="3034" y="770"/>
                  <a:pt x="3029" y="762"/>
                </a:cubicBezTo>
                <a:cubicBezTo>
                  <a:pt x="3023" y="754"/>
                  <a:pt x="3019" y="745"/>
                  <a:pt x="3016" y="740"/>
                </a:cubicBezTo>
                <a:cubicBezTo>
                  <a:pt x="3015" y="738"/>
                  <a:pt x="3014" y="736"/>
                  <a:pt x="3014" y="734"/>
                </a:cubicBezTo>
                <a:cubicBezTo>
                  <a:pt x="3014" y="728"/>
                  <a:pt x="3018" y="719"/>
                  <a:pt x="3027" y="712"/>
                </a:cubicBezTo>
                <a:cubicBezTo>
                  <a:pt x="3027" y="712"/>
                  <a:pt x="3027" y="712"/>
                  <a:pt x="3027" y="712"/>
                </a:cubicBezTo>
                <a:cubicBezTo>
                  <a:pt x="3027" y="712"/>
                  <a:pt x="3028" y="712"/>
                  <a:pt x="3028" y="712"/>
                </a:cubicBezTo>
                <a:cubicBezTo>
                  <a:pt x="3032" y="712"/>
                  <a:pt x="3041" y="715"/>
                  <a:pt x="3050" y="715"/>
                </a:cubicBezTo>
                <a:cubicBezTo>
                  <a:pt x="3054" y="715"/>
                  <a:pt x="3058" y="715"/>
                  <a:pt x="3061" y="712"/>
                </a:cubicBezTo>
                <a:cubicBezTo>
                  <a:pt x="3070" y="705"/>
                  <a:pt x="3079" y="698"/>
                  <a:pt x="3083" y="695"/>
                </a:cubicBezTo>
                <a:cubicBezTo>
                  <a:pt x="3085" y="695"/>
                  <a:pt x="3090" y="696"/>
                  <a:pt x="3095" y="698"/>
                </a:cubicBezTo>
                <a:cubicBezTo>
                  <a:pt x="3100" y="700"/>
                  <a:pt x="3104" y="703"/>
                  <a:pt x="3104" y="704"/>
                </a:cubicBezTo>
                <a:cubicBezTo>
                  <a:pt x="3106" y="709"/>
                  <a:pt x="3110" y="713"/>
                  <a:pt x="3113" y="717"/>
                </a:cubicBezTo>
                <a:cubicBezTo>
                  <a:pt x="3114" y="719"/>
                  <a:pt x="3115" y="721"/>
                  <a:pt x="3116" y="722"/>
                </a:cubicBezTo>
                <a:cubicBezTo>
                  <a:pt x="3116" y="723"/>
                  <a:pt x="3116" y="723"/>
                  <a:pt x="3116" y="723"/>
                </a:cubicBezTo>
                <a:cubicBezTo>
                  <a:pt x="3114" y="724"/>
                  <a:pt x="3108" y="725"/>
                  <a:pt x="3104" y="725"/>
                </a:cubicBezTo>
                <a:cubicBezTo>
                  <a:pt x="3099" y="725"/>
                  <a:pt x="3095" y="724"/>
                  <a:pt x="3095" y="723"/>
                </a:cubicBezTo>
                <a:cubicBezTo>
                  <a:pt x="3092" y="719"/>
                  <a:pt x="3087" y="717"/>
                  <a:pt x="3083" y="717"/>
                </a:cubicBezTo>
                <a:cubicBezTo>
                  <a:pt x="3072" y="718"/>
                  <a:pt x="3061" y="728"/>
                  <a:pt x="3060" y="743"/>
                </a:cubicBezTo>
                <a:cubicBezTo>
                  <a:pt x="3060" y="744"/>
                  <a:pt x="3060" y="745"/>
                  <a:pt x="3060" y="746"/>
                </a:cubicBezTo>
                <a:cubicBezTo>
                  <a:pt x="3060" y="749"/>
                  <a:pt x="3060" y="751"/>
                  <a:pt x="3061" y="753"/>
                </a:cubicBezTo>
                <a:close/>
                <a:moveTo>
                  <a:pt x="3441" y="353"/>
                </a:moveTo>
                <a:cubicBezTo>
                  <a:pt x="3437" y="354"/>
                  <a:pt x="3434" y="355"/>
                  <a:pt x="3431" y="355"/>
                </a:cubicBezTo>
                <a:cubicBezTo>
                  <a:pt x="3426" y="355"/>
                  <a:pt x="3423" y="353"/>
                  <a:pt x="3423" y="351"/>
                </a:cubicBezTo>
                <a:cubicBezTo>
                  <a:pt x="3421" y="346"/>
                  <a:pt x="3416" y="341"/>
                  <a:pt x="3411" y="340"/>
                </a:cubicBezTo>
                <a:cubicBezTo>
                  <a:pt x="3412" y="340"/>
                  <a:pt x="3413" y="340"/>
                  <a:pt x="3414" y="339"/>
                </a:cubicBezTo>
                <a:cubicBezTo>
                  <a:pt x="3420" y="338"/>
                  <a:pt x="3428" y="335"/>
                  <a:pt x="3433" y="335"/>
                </a:cubicBezTo>
                <a:cubicBezTo>
                  <a:pt x="3435" y="335"/>
                  <a:pt x="3436" y="336"/>
                  <a:pt x="3436" y="336"/>
                </a:cubicBezTo>
                <a:cubicBezTo>
                  <a:pt x="3436" y="336"/>
                  <a:pt x="3436" y="335"/>
                  <a:pt x="3436" y="337"/>
                </a:cubicBezTo>
                <a:cubicBezTo>
                  <a:pt x="3437" y="342"/>
                  <a:pt x="3439" y="346"/>
                  <a:pt x="3440" y="349"/>
                </a:cubicBezTo>
                <a:cubicBezTo>
                  <a:pt x="3441" y="350"/>
                  <a:pt x="3441" y="352"/>
                  <a:pt x="3442" y="352"/>
                </a:cubicBezTo>
                <a:cubicBezTo>
                  <a:pt x="3441" y="353"/>
                  <a:pt x="3441" y="353"/>
                  <a:pt x="3441" y="353"/>
                </a:cubicBezTo>
                <a:close/>
                <a:moveTo>
                  <a:pt x="3513" y="323"/>
                </a:moveTo>
                <a:cubicBezTo>
                  <a:pt x="3513" y="323"/>
                  <a:pt x="3513" y="323"/>
                  <a:pt x="3513" y="323"/>
                </a:cubicBezTo>
                <a:cubicBezTo>
                  <a:pt x="3512" y="324"/>
                  <a:pt x="3511" y="324"/>
                  <a:pt x="3511" y="324"/>
                </a:cubicBezTo>
                <a:cubicBezTo>
                  <a:pt x="3509" y="324"/>
                  <a:pt x="3508" y="324"/>
                  <a:pt x="3507" y="318"/>
                </a:cubicBezTo>
                <a:cubicBezTo>
                  <a:pt x="3506" y="312"/>
                  <a:pt x="3506" y="307"/>
                  <a:pt x="3502" y="302"/>
                </a:cubicBezTo>
                <a:cubicBezTo>
                  <a:pt x="3500" y="300"/>
                  <a:pt x="3498" y="299"/>
                  <a:pt x="3496" y="297"/>
                </a:cubicBezTo>
                <a:cubicBezTo>
                  <a:pt x="3499" y="299"/>
                  <a:pt x="3503" y="301"/>
                  <a:pt x="3505" y="302"/>
                </a:cubicBezTo>
                <a:cubicBezTo>
                  <a:pt x="3507" y="303"/>
                  <a:pt x="3507" y="304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12" y="307"/>
                  <a:pt x="3513" y="316"/>
                  <a:pt x="3513" y="320"/>
                </a:cubicBezTo>
                <a:cubicBezTo>
                  <a:pt x="3513" y="322"/>
                  <a:pt x="3513" y="323"/>
                  <a:pt x="3513" y="323"/>
                </a:cubicBezTo>
                <a:close/>
                <a:moveTo>
                  <a:pt x="2502" y="789"/>
                </a:moveTo>
                <a:cubicBezTo>
                  <a:pt x="2495" y="789"/>
                  <a:pt x="2491" y="794"/>
                  <a:pt x="2488" y="798"/>
                </a:cubicBezTo>
                <a:cubicBezTo>
                  <a:pt x="2485" y="803"/>
                  <a:pt x="2484" y="808"/>
                  <a:pt x="2484" y="814"/>
                </a:cubicBezTo>
                <a:cubicBezTo>
                  <a:pt x="2484" y="818"/>
                  <a:pt x="2485" y="823"/>
                  <a:pt x="2488" y="827"/>
                </a:cubicBezTo>
                <a:cubicBezTo>
                  <a:pt x="2492" y="831"/>
                  <a:pt x="2496" y="833"/>
                  <a:pt x="2501" y="833"/>
                </a:cubicBezTo>
                <a:cubicBezTo>
                  <a:pt x="2508" y="833"/>
                  <a:pt x="2514" y="828"/>
                  <a:pt x="2517" y="822"/>
                </a:cubicBezTo>
                <a:cubicBezTo>
                  <a:pt x="2512" y="819"/>
                  <a:pt x="2512" y="819"/>
                  <a:pt x="2512" y="819"/>
                </a:cubicBezTo>
                <a:cubicBezTo>
                  <a:pt x="2517" y="822"/>
                  <a:pt x="2517" y="822"/>
                  <a:pt x="2517" y="822"/>
                </a:cubicBezTo>
                <a:cubicBezTo>
                  <a:pt x="2519" y="819"/>
                  <a:pt x="2520" y="816"/>
                  <a:pt x="2520" y="812"/>
                </a:cubicBezTo>
                <a:cubicBezTo>
                  <a:pt x="2520" y="806"/>
                  <a:pt x="2518" y="801"/>
                  <a:pt x="2515" y="797"/>
                </a:cubicBezTo>
                <a:cubicBezTo>
                  <a:pt x="2511" y="793"/>
                  <a:pt x="2508" y="790"/>
                  <a:pt x="2502" y="789"/>
                </a:cubicBezTo>
                <a:close/>
                <a:moveTo>
                  <a:pt x="2028" y="279"/>
                </a:moveTo>
                <a:cubicBezTo>
                  <a:pt x="2029" y="279"/>
                  <a:pt x="2030" y="279"/>
                  <a:pt x="2031" y="279"/>
                </a:cubicBezTo>
                <a:cubicBezTo>
                  <a:pt x="2037" y="279"/>
                  <a:pt x="2045" y="280"/>
                  <a:pt x="2051" y="280"/>
                </a:cubicBezTo>
                <a:cubicBezTo>
                  <a:pt x="2055" y="280"/>
                  <a:pt x="2058" y="280"/>
                  <a:pt x="2062" y="278"/>
                </a:cubicBezTo>
                <a:cubicBezTo>
                  <a:pt x="2065" y="275"/>
                  <a:pt x="2067" y="271"/>
                  <a:pt x="2067" y="266"/>
                </a:cubicBezTo>
                <a:cubicBezTo>
                  <a:pt x="2067" y="266"/>
                  <a:pt x="2067" y="266"/>
                  <a:pt x="2067" y="265"/>
                </a:cubicBezTo>
                <a:cubicBezTo>
                  <a:pt x="2061" y="266"/>
                  <a:pt x="2061" y="266"/>
                  <a:pt x="2061" y="266"/>
                </a:cubicBezTo>
                <a:cubicBezTo>
                  <a:pt x="2067" y="265"/>
                  <a:pt x="2067" y="265"/>
                  <a:pt x="2067" y="265"/>
                </a:cubicBezTo>
                <a:cubicBezTo>
                  <a:pt x="2067" y="262"/>
                  <a:pt x="2067" y="259"/>
                  <a:pt x="2067" y="256"/>
                </a:cubicBezTo>
                <a:cubicBezTo>
                  <a:pt x="2067" y="245"/>
                  <a:pt x="2068" y="234"/>
                  <a:pt x="2071" y="230"/>
                </a:cubicBezTo>
                <a:cubicBezTo>
                  <a:pt x="2072" y="227"/>
                  <a:pt x="2074" y="225"/>
                  <a:pt x="2076" y="222"/>
                </a:cubicBezTo>
                <a:cubicBezTo>
                  <a:pt x="2078" y="220"/>
                  <a:pt x="2081" y="218"/>
                  <a:pt x="2081" y="212"/>
                </a:cubicBezTo>
                <a:cubicBezTo>
                  <a:pt x="2082" y="209"/>
                  <a:pt x="2079" y="206"/>
                  <a:pt x="2077" y="205"/>
                </a:cubicBezTo>
                <a:cubicBezTo>
                  <a:pt x="2074" y="204"/>
                  <a:pt x="2072" y="204"/>
                  <a:pt x="2070" y="204"/>
                </a:cubicBezTo>
                <a:cubicBezTo>
                  <a:pt x="2069" y="204"/>
                  <a:pt x="2068" y="204"/>
                  <a:pt x="2068" y="204"/>
                </a:cubicBezTo>
                <a:cubicBezTo>
                  <a:pt x="2066" y="204"/>
                  <a:pt x="2067" y="204"/>
                  <a:pt x="2066" y="204"/>
                </a:cubicBezTo>
                <a:cubicBezTo>
                  <a:pt x="2066" y="203"/>
                  <a:pt x="2065" y="202"/>
                  <a:pt x="2063" y="198"/>
                </a:cubicBezTo>
                <a:cubicBezTo>
                  <a:pt x="2063" y="196"/>
                  <a:pt x="2062" y="194"/>
                  <a:pt x="2062" y="193"/>
                </a:cubicBezTo>
                <a:cubicBezTo>
                  <a:pt x="2062" y="186"/>
                  <a:pt x="2067" y="179"/>
                  <a:pt x="2072" y="175"/>
                </a:cubicBezTo>
                <a:cubicBezTo>
                  <a:pt x="2075" y="172"/>
                  <a:pt x="2084" y="162"/>
                  <a:pt x="2094" y="152"/>
                </a:cubicBezTo>
                <a:cubicBezTo>
                  <a:pt x="2103" y="142"/>
                  <a:pt x="2115" y="132"/>
                  <a:pt x="2121" y="130"/>
                </a:cubicBezTo>
                <a:cubicBezTo>
                  <a:pt x="2135" y="125"/>
                  <a:pt x="2145" y="112"/>
                  <a:pt x="2146" y="100"/>
                </a:cubicBezTo>
                <a:cubicBezTo>
                  <a:pt x="2146" y="95"/>
                  <a:pt x="2143" y="89"/>
                  <a:pt x="2137" y="87"/>
                </a:cubicBezTo>
                <a:cubicBezTo>
                  <a:pt x="2131" y="84"/>
                  <a:pt x="2120" y="80"/>
                  <a:pt x="2108" y="80"/>
                </a:cubicBezTo>
                <a:cubicBezTo>
                  <a:pt x="2099" y="80"/>
                  <a:pt x="2090" y="83"/>
                  <a:pt x="2082" y="90"/>
                </a:cubicBezTo>
                <a:cubicBezTo>
                  <a:pt x="2076" y="97"/>
                  <a:pt x="2070" y="103"/>
                  <a:pt x="2066" y="107"/>
                </a:cubicBezTo>
                <a:cubicBezTo>
                  <a:pt x="2061" y="111"/>
                  <a:pt x="2057" y="113"/>
                  <a:pt x="2053" y="113"/>
                </a:cubicBezTo>
                <a:cubicBezTo>
                  <a:pt x="2051" y="113"/>
                  <a:pt x="2050" y="113"/>
                  <a:pt x="2048" y="113"/>
                </a:cubicBezTo>
                <a:cubicBezTo>
                  <a:pt x="2042" y="111"/>
                  <a:pt x="2039" y="106"/>
                  <a:pt x="2035" y="98"/>
                </a:cubicBezTo>
                <a:cubicBezTo>
                  <a:pt x="2031" y="90"/>
                  <a:pt x="2028" y="81"/>
                  <a:pt x="2022" y="73"/>
                </a:cubicBezTo>
                <a:cubicBezTo>
                  <a:pt x="2017" y="67"/>
                  <a:pt x="2015" y="55"/>
                  <a:pt x="2014" y="44"/>
                </a:cubicBezTo>
                <a:cubicBezTo>
                  <a:pt x="2013" y="39"/>
                  <a:pt x="2013" y="33"/>
                  <a:pt x="2011" y="29"/>
                </a:cubicBezTo>
                <a:cubicBezTo>
                  <a:pt x="2010" y="25"/>
                  <a:pt x="2005" y="19"/>
                  <a:pt x="1999" y="19"/>
                </a:cubicBezTo>
                <a:cubicBezTo>
                  <a:pt x="1998" y="19"/>
                  <a:pt x="1997" y="20"/>
                  <a:pt x="1996" y="20"/>
                </a:cubicBezTo>
                <a:cubicBezTo>
                  <a:pt x="1988" y="21"/>
                  <a:pt x="1984" y="22"/>
                  <a:pt x="1983" y="22"/>
                </a:cubicBezTo>
                <a:cubicBezTo>
                  <a:pt x="1980" y="22"/>
                  <a:pt x="1972" y="20"/>
                  <a:pt x="1964" y="20"/>
                </a:cubicBezTo>
                <a:cubicBezTo>
                  <a:pt x="1961" y="20"/>
                  <a:pt x="1957" y="21"/>
                  <a:pt x="1953" y="22"/>
                </a:cubicBezTo>
                <a:cubicBezTo>
                  <a:pt x="1948" y="23"/>
                  <a:pt x="1943" y="25"/>
                  <a:pt x="1940" y="27"/>
                </a:cubicBezTo>
                <a:cubicBezTo>
                  <a:pt x="1940" y="26"/>
                  <a:pt x="1940" y="26"/>
                  <a:pt x="1940" y="25"/>
                </a:cubicBezTo>
                <a:cubicBezTo>
                  <a:pt x="1939" y="19"/>
                  <a:pt x="1936" y="18"/>
                  <a:pt x="1934" y="16"/>
                </a:cubicBezTo>
                <a:cubicBezTo>
                  <a:pt x="1931" y="14"/>
                  <a:pt x="1928" y="13"/>
                  <a:pt x="1926" y="13"/>
                </a:cubicBezTo>
                <a:cubicBezTo>
                  <a:pt x="1909" y="11"/>
                  <a:pt x="1882" y="2"/>
                  <a:pt x="1859" y="1"/>
                </a:cubicBezTo>
                <a:cubicBezTo>
                  <a:pt x="1858" y="0"/>
                  <a:pt x="1857" y="0"/>
                  <a:pt x="1855" y="0"/>
                </a:cubicBezTo>
                <a:cubicBezTo>
                  <a:pt x="1839" y="1"/>
                  <a:pt x="1829" y="6"/>
                  <a:pt x="1815" y="6"/>
                </a:cubicBezTo>
                <a:cubicBezTo>
                  <a:pt x="1794" y="7"/>
                  <a:pt x="1767" y="5"/>
                  <a:pt x="1748" y="19"/>
                </a:cubicBezTo>
                <a:cubicBezTo>
                  <a:pt x="1741" y="24"/>
                  <a:pt x="1734" y="26"/>
                  <a:pt x="1727" y="28"/>
                </a:cubicBezTo>
                <a:cubicBezTo>
                  <a:pt x="1724" y="29"/>
                  <a:pt x="1721" y="30"/>
                  <a:pt x="1719" y="30"/>
                </a:cubicBezTo>
                <a:cubicBezTo>
                  <a:pt x="1718" y="31"/>
                  <a:pt x="1717" y="31"/>
                  <a:pt x="1715" y="31"/>
                </a:cubicBezTo>
                <a:cubicBezTo>
                  <a:pt x="1714" y="32"/>
                  <a:pt x="1713" y="32"/>
                  <a:pt x="1711" y="34"/>
                </a:cubicBezTo>
                <a:cubicBezTo>
                  <a:pt x="1707" y="40"/>
                  <a:pt x="1703" y="48"/>
                  <a:pt x="1700" y="55"/>
                </a:cubicBezTo>
                <a:cubicBezTo>
                  <a:pt x="1698" y="58"/>
                  <a:pt x="1697" y="61"/>
                  <a:pt x="1695" y="63"/>
                </a:cubicBezTo>
                <a:cubicBezTo>
                  <a:pt x="1695" y="63"/>
                  <a:pt x="1695" y="63"/>
                  <a:pt x="1695" y="63"/>
                </a:cubicBezTo>
                <a:cubicBezTo>
                  <a:pt x="1694" y="61"/>
                  <a:pt x="1692" y="57"/>
                  <a:pt x="1690" y="54"/>
                </a:cubicBezTo>
                <a:cubicBezTo>
                  <a:pt x="1689" y="52"/>
                  <a:pt x="1688" y="49"/>
                  <a:pt x="1686" y="47"/>
                </a:cubicBezTo>
                <a:cubicBezTo>
                  <a:pt x="1685" y="45"/>
                  <a:pt x="1682" y="43"/>
                  <a:pt x="1678" y="43"/>
                </a:cubicBezTo>
                <a:cubicBezTo>
                  <a:pt x="1675" y="43"/>
                  <a:pt x="1673" y="44"/>
                  <a:pt x="1671" y="46"/>
                </a:cubicBezTo>
                <a:cubicBezTo>
                  <a:pt x="1663" y="52"/>
                  <a:pt x="1664" y="61"/>
                  <a:pt x="1664" y="68"/>
                </a:cubicBezTo>
                <a:cubicBezTo>
                  <a:pt x="1664" y="69"/>
                  <a:pt x="1664" y="69"/>
                  <a:pt x="1664" y="69"/>
                </a:cubicBezTo>
                <a:cubicBezTo>
                  <a:pt x="1664" y="76"/>
                  <a:pt x="1663" y="82"/>
                  <a:pt x="1660" y="86"/>
                </a:cubicBezTo>
                <a:cubicBezTo>
                  <a:pt x="1657" y="90"/>
                  <a:pt x="1649" y="93"/>
                  <a:pt x="1641" y="93"/>
                </a:cubicBezTo>
                <a:cubicBezTo>
                  <a:pt x="1635" y="93"/>
                  <a:pt x="1630" y="91"/>
                  <a:pt x="1629" y="90"/>
                </a:cubicBezTo>
                <a:cubicBezTo>
                  <a:pt x="1622" y="86"/>
                  <a:pt x="1614" y="82"/>
                  <a:pt x="1596" y="83"/>
                </a:cubicBezTo>
                <a:cubicBezTo>
                  <a:pt x="1592" y="83"/>
                  <a:pt x="1588" y="83"/>
                  <a:pt x="1583" y="83"/>
                </a:cubicBezTo>
                <a:cubicBezTo>
                  <a:pt x="1569" y="84"/>
                  <a:pt x="1555" y="87"/>
                  <a:pt x="1545" y="91"/>
                </a:cubicBezTo>
                <a:cubicBezTo>
                  <a:pt x="1539" y="93"/>
                  <a:pt x="1534" y="95"/>
                  <a:pt x="1531" y="98"/>
                </a:cubicBezTo>
                <a:cubicBezTo>
                  <a:pt x="1527" y="101"/>
                  <a:pt x="1523" y="105"/>
                  <a:pt x="1523" y="110"/>
                </a:cubicBezTo>
                <a:cubicBezTo>
                  <a:pt x="1523" y="112"/>
                  <a:pt x="1524" y="114"/>
                  <a:pt x="1525" y="116"/>
                </a:cubicBezTo>
                <a:cubicBezTo>
                  <a:pt x="1525" y="117"/>
                  <a:pt x="1525" y="117"/>
                  <a:pt x="1525" y="117"/>
                </a:cubicBezTo>
                <a:cubicBezTo>
                  <a:pt x="1525" y="118"/>
                  <a:pt x="1525" y="118"/>
                  <a:pt x="1524" y="119"/>
                </a:cubicBezTo>
                <a:cubicBezTo>
                  <a:pt x="1522" y="120"/>
                  <a:pt x="1520" y="121"/>
                  <a:pt x="1518" y="121"/>
                </a:cubicBezTo>
                <a:cubicBezTo>
                  <a:pt x="1518" y="121"/>
                  <a:pt x="1517" y="121"/>
                  <a:pt x="1517" y="121"/>
                </a:cubicBezTo>
                <a:cubicBezTo>
                  <a:pt x="1517" y="121"/>
                  <a:pt x="1517" y="121"/>
                  <a:pt x="1517" y="121"/>
                </a:cubicBezTo>
                <a:cubicBezTo>
                  <a:pt x="1515" y="118"/>
                  <a:pt x="1511" y="118"/>
                  <a:pt x="1509" y="118"/>
                </a:cubicBezTo>
                <a:cubicBezTo>
                  <a:pt x="1503" y="118"/>
                  <a:pt x="1497" y="120"/>
                  <a:pt x="1491" y="124"/>
                </a:cubicBezTo>
                <a:cubicBezTo>
                  <a:pt x="1486" y="128"/>
                  <a:pt x="1481" y="134"/>
                  <a:pt x="1481" y="141"/>
                </a:cubicBezTo>
                <a:cubicBezTo>
                  <a:pt x="1481" y="142"/>
                  <a:pt x="1481" y="143"/>
                  <a:pt x="1481" y="143"/>
                </a:cubicBezTo>
                <a:cubicBezTo>
                  <a:pt x="1481" y="144"/>
                  <a:pt x="1481" y="145"/>
                  <a:pt x="1481" y="146"/>
                </a:cubicBezTo>
                <a:cubicBezTo>
                  <a:pt x="1481" y="150"/>
                  <a:pt x="1480" y="153"/>
                  <a:pt x="1479" y="155"/>
                </a:cubicBezTo>
                <a:cubicBezTo>
                  <a:pt x="1477" y="157"/>
                  <a:pt x="1476" y="158"/>
                  <a:pt x="1475" y="158"/>
                </a:cubicBezTo>
                <a:cubicBezTo>
                  <a:pt x="1474" y="158"/>
                  <a:pt x="1473" y="158"/>
                  <a:pt x="1473" y="158"/>
                </a:cubicBezTo>
                <a:cubicBezTo>
                  <a:pt x="1471" y="157"/>
                  <a:pt x="1469" y="157"/>
                  <a:pt x="1467" y="157"/>
                </a:cubicBezTo>
                <a:cubicBezTo>
                  <a:pt x="1454" y="157"/>
                  <a:pt x="1445" y="168"/>
                  <a:pt x="1444" y="179"/>
                </a:cubicBezTo>
                <a:cubicBezTo>
                  <a:pt x="1444" y="180"/>
                  <a:pt x="1438" y="183"/>
                  <a:pt x="1433" y="185"/>
                </a:cubicBezTo>
                <a:cubicBezTo>
                  <a:pt x="1430" y="186"/>
                  <a:pt x="1427" y="187"/>
                  <a:pt x="1424" y="188"/>
                </a:cubicBezTo>
                <a:cubicBezTo>
                  <a:pt x="1423" y="188"/>
                  <a:pt x="1422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0" y="188"/>
                  <a:pt x="1419" y="188"/>
                  <a:pt x="1418" y="188"/>
                </a:cubicBezTo>
                <a:cubicBezTo>
                  <a:pt x="1415" y="188"/>
                  <a:pt x="1409" y="188"/>
                  <a:pt x="1403" y="189"/>
                </a:cubicBezTo>
                <a:cubicBezTo>
                  <a:pt x="1400" y="190"/>
                  <a:pt x="1397" y="191"/>
                  <a:pt x="1394" y="192"/>
                </a:cubicBezTo>
                <a:cubicBezTo>
                  <a:pt x="1392" y="193"/>
                  <a:pt x="1388" y="195"/>
                  <a:pt x="1388" y="201"/>
                </a:cubicBezTo>
                <a:cubicBezTo>
                  <a:pt x="1388" y="205"/>
                  <a:pt x="1391" y="207"/>
                  <a:pt x="1393" y="209"/>
                </a:cubicBezTo>
                <a:cubicBezTo>
                  <a:pt x="1399" y="215"/>
                  <a:pt x="1405" y="216"/>
                  <a:pt x="1410" y="215"/>
                </a:cubicBezTo>
                <a:cubicBezTo>
                  <a:pt x="1411" y="215"/>
                  <a:pt x="1411" y="215"/>
                  <a:pt x="1412" y="215"/>
                </a:cubicBezTo>
                <a:cubicBezTo>
                  <a:pt x="1414" y="215"/>
                  <a:pt x="1416" y="216"/>
                  <a:pt x="1419" y="216"/>
                </a:cubicBezTo>
                <a:cubicBezTo>
                  <a:pt x="1421" y="217"/>
                  <a:pt x="1426" y="221"/>
                  <a:pt x="1430" y="227"/>
                </a:cubicBezTo>
                <a:cubicBezTo>
                  <a:pt x="1434" y="232"/>
                  <a:pt x="1437" y="238"/>
                  <a:pt x="1443" y="242"/>
                </a:cubicBezTo>
                <a:cubicBezTo>
                  <a:pt x="1445" y="243"/>
                  <a:pt x="1448" y="243"/>
                  <a:pt x="1450" y="243"/>
                </a:cubicBezTo>
                <a:cubicBezTo>
                  <a:pt x="1457" y="243"/>
                  <a:pt x="1464" y="240"/>
                  <a:pt x="1467" y="234"/>
                </a:cubicBezTo>
                <a:cubicBezTo>
                  <a:pt x="1468" y="232"/>
                  <a:pt x="1469" y="230"/>
                  <a:pt x="1470" y="228"/>
                </a:cubicBezTo>
                <a:cubicBezTo>
                  <a:pt x="1472" y="230"/>
                  <a:pt x="1474" y="232"/>
                  <a:pt x="1477" y="233"/>
                </a:cubicBezTo>
                <a:cubicBezTo>
                  <a:pt x="1480" y="235"/>
                  <a:pt x="1483" y="235"/>
                  <a:pt x="1486" y="235"/>
                </a:cubicBezTo>
                <a:cubicBezTo>
                  <a:pt x="1496" y="235"/>
                  <a:pt x="1509" y="232"/>
                  <a:pt x="1513" y="232"/>
                </a:cubicBezTo>
                <a:cubicBezTo>
                  <a:pt x="1513" y="232"/>
                  <a:pt x="1513" y="232"/>
                  <a:pt x="1513" y="232"/>
                </a:cubicBezTo>
                <a:cubicBezTo>
                  <a:pt x="1516" y="232"/>
                  <a:pt x="1525" y="234"/>
                  <a:pt x="1535" y="236"/>
                </a:cubicBezTo>
                <a:cubicBezTo>
                  <a:pt x="1545" y="238"/>
                  <a:pt x="1556" y="241"/>
                  <a:pt x="1559" y="243"/>
                </a:cubicBezTo>
                <a:cubicBezTo>
                  <a:pt x="1565" y="247"/>
                  <a:pt x="1572" y="249"/>
                  <a:pt x="1580" y="252"/>
                </a:cubicBezTo>
                <a:cubicBezTo>
                  <a:pt x="1587" y="255"/>
                  <a:pt x="1593" y="258"/>
                  <a:pt x="1594" y="262"/>
                </a:cubicBezTo>
                <a:cubicBezTo>
                  <a:pt x="1597" y="266"/>
                  <a:pt x="1599" y="279"/>
                  <a:pt x="1600" y="292"/>
                </a:cubicBezTo>
                <a:cubicBezTo>
                  <a:pt x="1601" y="298"/>
                  <a:pt x="1601" y="304"/>
                  <a:pt x="1602" y="309"/>
                </a:cubicBezTo>
                <a:cubicBezTo>
                  <a:pt x="1603" y="314"/>
                  <a:pt x="1603" y="317"/>
                  <a:pt x="1605" y="321"/>
                </a:cubicBezTo>
                <a:cubicBezTo>
                  <a:pt x="1607" y="322"/>
                  <a:pt x="1609" y="324"/>
                  <a:pt x="1612" y="324"/>
                </a:cubicBezTo>
                <a:cubicBezTo>
                  <a:pt x="1612" y="324"/>
                  <a:pt x="1613" y="324"/>
                  <a:pt x="1614" y="323"/>
                </a:cubicBezTo>
                <a:cubicBezTo>
                  <a:pt x="1613" y="327"/>
                  <a:pt x="1612" y="331"/>
                  <a:pt x="1612" y="334"/>
                </a:cubicBezTo>
                <a:cubicBezTo>
                  <a:pt x="1612" y="339"/>
                  <a:pt x="1613" y="343"/>
                  <a:pt x="1615" y="347"/>
                </a:cubicBezTo>
                <a:cubicBezTo>
                  <a:pt x="1617" y="350"/>
                  <a:pt x="1619" y="354"/>
                  <a:pt x="1625" y="354"/>
                </a:cubicBezTo>
                <a:cubicBezTo>
                  <a:pt x="1627" y="354"/>
                  <a:pt x="1630" y="354"/>
                  <a:pt x="1633" y="355"/>
                </a:cubicBezTo>
                <a:cubicBezTo>
                  <a:pt x="1632" y="356"/>
                  <a:pt x="1630" y="358"/>
                  <a:pt x="1629" y="360"/>
                </a:cubicBezTo>
                <a:cubicBezTo>
                  <a:pt x="1627" y="364"/>
                  <a:pt x="1624" y="367"/>
                  <a:pt x="1624" y="373"/>
                </a:cubicBezTo>
                <a:cubicBezTo>
                  <a:pt x="1624" y="373"/>
                  <a:pt x="1624" y="373"/>
                  <a:pt x="1624" y="374"/>
                </a:cubicBezTo>
                <a:cubicBezTo>
                  <a:pt x="1625" y="383"/>
                  <a:pt x="1634" y="403"/>
                  <a:pt x="1637" y="409"/>
                </a:cubicBezTo>
                <a:cubicBezTo>
                  <a:pt x="1641" y="414"/>
                  <a:pt x="1646" y="416"/>
                  <a:pt x="1651" y="418"/>
                </a:cubicBezTo>
                <a:cubicBezTo>
                  <a:pt x="1651" y="418"/>
                  <a:pt x="1652" y="419"/>
                  <a:pt x="1652" y="419"/>
                </a:cubicBezTo>
                <a:cubicBezTo>
                  <a:pt x="1652" y="420"/>
                  <a:pt x="1651" y="421"/>
                  <a:pt x="1651" y="423"/>
                </a:cubicBezTo>
                <a:cubicBezTo>
                  <a:pt x="1651" y="424"/>
                  <a:pt x="1652" y="426"/>
                  <a:pt x="1653" y="427"/>
                </a:cubicBezTo>
                <a:cubicBezTo>
                  <a:pt x="1654" y="430"/>
                  <a:pt x="1657" y="436"/>
                  <a:pt x="1659" y="441"/>
                </a:cubicBezTo>
                <a:cubicBezTo>
                  <a:pt x="1663" y="447"/>
                  <a:pt x="1666" y="453"/>
                  <a:pt x="1672" y="456"/>
                </a:cubicBezTo>
                <a:cubicBezTo>
                  <a:pt x="1675" y="457"/>
                  <a:pt x="1682" y="462"/>
                  <a:pt x="1689" y="467"/>
                </a:cubicBezTo>
                <a:cubicBezTo>
                  <a:pt x="1695" y="472"/>
                  <a:pt x="1701" y="479"/>
                  <a:pt x="1701" y="480"/>
                </a:cubicBezTo>
                <a:cubicBezTo>
                  <a:pt x="1703" y="484"/>
                  <a:pt x="1708" y="486"/>
                  <a:pt x="1711" y="486"/>
                </a:cubicBezTo>
                <a:cubicBezTo>
                  <a:pt x="1716" y="486"/>
                  <a:pt x="1720" y="483"/>
                  <a:pt x="1724" y="481"/>
                </a:cubicBezTo>
                <a:cubicBezTo>
                  <a:pt x="1726" y="481"/>
                  <a:pt x="1727" y="480"/>
                  <a:pt x="1727" y="480"/>
                </a:cubicBezTo>
                <a:cubicBezTo>
                  <a:pt x="1728" y="482"/>
                  <a:pt x="1729" y="484"/>
                  <a:pt x="1729" y="486"/>
                </a:cubicBezTo>
                <a:cubicBezTo>
                  <a:pt x="1731" y="490"/>
                  <a:pt x="1734" y="496"/>
                  <a:pt x="1742" y="497"/>
                </a:cubicBezTo>
                <a:cubicBezTo>
                  <a:pt x="1744" y="497"/>
                  <a:pt x="1745" y="496"/>
                  <a:pt x="1746" y="496"/>
                </a:cubicBezTo>
                <a:cubicBezTo>
                  <a:pt x="1746" y="496"/>
                  <a:pt x="1746" y="496"/>
                  <a:pt x="1747" y="496"/>
                </a:cubicBezTo>
                <a:cubicBezTo>
                  <a:pt x="1756" y="496"/>
                  <a:pt x="1762" y="492"/>
                  <a:pt x="1769" y="485"/>
                </a:cubicBezTo>
                <a:cubicBezTo>
                  <a:pt x="1780" y="474"/>
                  <a:pt x="1777" y="461"/>
                  <a:pt x="1778" y="454"/>
                </a:cubicBezTo>
                <a:cubicBezTo>
                  <a:pt x="1778" y="451"/>
                  <a:pt x="1778" y="449"/>
                  <a:pt x="1778" y="447"/>
                </a:cubicBezTo>
                <a:cubicBezTo>
                  <a:pt x="1778" y="447"/>
                  <a:pt x="1779" y="448"/>
                  <a:pt x="1779" y="448"/>
                </a:cubicBezTo>
                <a:cubicBezTo>
                  <a:pt x="1781" y="448"/>
                  <a:pt x="1783" y="449"/>
                  <a:pt x="1786" y="449"/>
                </a:cubicBezTo>
                <a:cubicBezTo>
                  <a:pt x="1790" y="449"/>
                  <a:pt x="1794" y="447"/>
                  <a:pt x="1797" y="444"/>
                </a:cubicBezTo>
                <a:cubicBezTo>
                  <a:pt x="1799" y="441"/>
                  <a:pt x="1800" y="437"/>
                  <a:pt x="1800" y="433"/>
                </a:cubicBezTo>
                <a:cubicBezTo>
                  <a:pt x="1800" y="432"/>
                  <a:pt x="1800" y="431"/>
                  <a:pt x="1800" y="431"/>
                </a:cubicBezTo>
                <a:cubicBezTo>
                  <a:pt x="1799" y="424"/>
                  <a:pt x="1797" y="419"/>
                  <a:pt x="1797" y="416"/>
                </a:cubicBezTo>
                <a:cubicBezTo>
                  <a:pt x="1797" y="415"/>
                  <a:pt x="1798" y="415"/>
                  <a:pt x="1798" y="415"/>
                </a:cubicBezTo>
                <a:cubicBezTo>
                  <a:pt x="1798" y="415"/>
                  <a:pt x="1799" y="414"/>
                  <a:pt x="1801" y="414"/>
                </a:cubicBezTo>
                <a:cubicBezTo>
                  <a:pt x="1810" y="412"/>
                  <a:pt x="1817" y="408"/>
                  <a:pt x="1822" y="405"/>
                </a:cubicBezTo>
                <a:cubicBezTo>
                  <a:pt x="1827" y="401"/>
                  <a:pt x="1830" y="399"/>
                  <a:pt x="1832" y="399"/>
                </a:cubicBezTo>
                <a:cubicBezTo>
                  <a:pt x="1837" y="399"/>
                  <a:pt x="1850" y="401"/>
                  <a:pt x="1860" y="401"/>
                </a:cubicBezTo>
                <a:cubicBezTo>
                  <a:pt x="1863" y="401"/>
                  <a:pt x="1865" y="401"/>
                  <a:pt x="1867" y="401"/>
                </a:cubicBezTo>
                <a:cubicBezTo>
                  <a:pt x="1869" y="400"/>
                  <a:pt x="1872" y="400"/>
                  <a:pt x="1874" y="397"/>
                </a:cubicBezTo>
                <a:cubicBezTo>
                  <a:pt x="1876" y="394"/>
                  <a:pt x="1879" y="388"/>
                  <a:pt x="1883" y="382"/>
                </a:cubicBezTo>
                <a:cubicBezTo>
                  <a:pt x="1885" y="379"/>
                  <a:pt x="1888" y="377"/>
                  <a:pt x="1889" y="375"/>
                </a:cubicBezTo>
                <a:cubicBezTo>
                  <a:pt x="1890" y="374"/>
                  <a:pt x="1891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900" y="372"/>
                  <a:pt x="1920" y="370"/>
                  <a:pt x="1939" y="366"/>
                </a:cubicBezTo>
                <a:cubicBezTo>
                  <a:pt x="1949" y="364"/>
                  <a:pt x="1958" y="359"/>
                  <a:pt x="1966" y="355"/>
                </a:cubicBezTo>
                <a:cubicBezTo>
                  <a:pt x="1973" y="352"/>
                  <a:pt x="1980" y="348"/>
                  <a:pt x="1981" y="348"/>
                </a:cubicBezTo>
                <a:cubicBezTo>
                  <a:pt x="1981" y="348"/>
                  <a:pt x="1981" y="348"/>
                  <a:pt x="1981" y="348"/>
                </a:cubicBezTo>
                <a:cubicBezTo>
                  <a:pt x="1984" y="348"/>
                  <a:pt x="1986" y="349"/>
                  <a:pt x="1989" y="349"/>
                </a:cubicBezTo>
                <a:cubicBezTo>
                  <a:pt x="1992" y="349"/>
                  <a:pt x="1995" y="350"/>
                  <a:pt x="1998" y="349"/>
                </a:cubicBezTo>
                <a:cubicBezTo>
                  <a:pt x="1999" y="349"/>
                  <a:pt x="2001" y="348"/>
                  <a:pt x="2002" y="347"/>
                </a:cubicBezTo>
                <a:cubicBezTo>
                  <a:pt x="2004" y="346"/>
                  <a:pt x="2006" y="344"/>
                  <a:pt x="2006" y="341"/>
                </a:cubicBezTo>
                <a:cubicBezTo>
                  <a:pt x="2006" y="339"/>
                  <a:pt x="2005" y="337"/>
                  <a:pt x="2004" y="336"/>
                </a:cubicBezTo>
                <a:cubicBezTo>
                  <a:pt x="2006" y="336"/>
                  <a:pt x="2007" y="337"/>
                  <a:pt x="2008" y="337"/>
                </a:cubicBezTo>
                <a:cubicBezTo>
                  <a:pt x="2010" y="337"/>
                  <a:pt x="2012" y="336"/>
                  <a:pt x="2014" y="336"/>
                </a:cubicBezTo>
                <a:cubicBezTo>
                  <a:pt x="2026" y="333"/>
                  <a:pt x="2030" y="323"/>
                  <a:pt x="2030" y="316"/>
                </a:cubicBezTo>
                <a:cubicBezTo>
                  <a:pt x="2030" y="312"/>
                  <a:pt x="2029" y="308"/>
                  <a:pt x="2027" y="305"/>
                </a:cubicBezTo>
                <a:cubicBezTo>
                  <a:pt x="2025" y="304"/>
                  <a:pt x="2023" y="294"/>
                  <a:pt x="2020" y="287"/>
                </a:cubicBezTo>
                <a:cubicBezTo>
                  <a:pt x="2019" y="286"/>
                  <a:pt x="2019" y="285"/>
                  <a:pt x="2019" y="284"/>
                </a:cubicBezTo>
                <a:cubicBezTo>
                  <a:pt x="2019" y="283"/>
                  <a:pt x="2019" y="282"/>
                  <a:pt x="2020" y="281"/>
                </a:cubicBezTo>
                <a:cubicBezTo>
                  <a:pt x="2021" y="281"/>
                  <a:pt x="2023" y="279"/>
                  <a:pt x="2028" y="279"/>
                </a:cubicBezTo>
                <a:close/>
                <a:moveTo>
                  <a:pt x="1640" y="304"/>
                </a:moveTo>
                <a:cubicBezTo>
                  <a:pt x="1639" y="304"/>
                  <a:pt x="1637" y="304"/>
                  <a:pt x="1636" y="304"/>
                </a:cubicBezTo>
                <a:cubicBezTo>
                  <a:pt x="1634" y="304"/>
                  <a:pt x="1633" y="304"/>
                  <a:pt x="1631" y="304"/>
                </a:cubicBezTo>
                <a:cubicBezTo>
                  <a:pt x="1632" y="303"/>
                  <a:pt x="1633" y="302"/>
                  <a:pt x="1633" y="302"/>
                </a:cubicBezTo>
                <a:cubicBezTo>
                  <a:pt x="1633" y="301"/>
                  <a:pt x="1634" y="301"/>
                  <a:pt x="1635" y="301"/>
                </a:cubicBezTo>
                <a:cubicBezTo>
                  <a:pt x="1637" y="301"/>
                  <a:pt x="1642" y="304"/>
                  <a:pt x="1645" y="304"/>
                </a:cubicBezTo>
                <a:cubicBezTo>
                  <a:pt x="1642" y="304"/>
                  <a:pt x="1641" y="304"/>
                  <a:pt x="1640" y="304"/>
                </a:cubicBezTo>
                <a:close/>
                <a:moveTo>
                  <a:pt x="1660" y="330"/>
                </a:moveTo>
                <a:cubicBezTo>
                  <a:pt x="1660" y="332"/>
                  <a:pt x="1660" y="335"/>
                  <a:pt x="1659" y="336"/>
                </a:cubicBezTo>
                <a:cubicBezTo>
                  <a:pt x="1658" y="336"/>
                  <a:pt x="1657" y="336"/>
                  <a:pt x="1657" y="335"/>
                </a:cubicBezTo>
                <a:cubicBezTo>
                  <a:pt x="1658" y="333"/>
                  <a:pt x="1658" y="329"/>
                  <a:pt x="1659" y="326"/>
                </a:cubicBezTo>
                <a:cubicBezTo>
                  <a:pt x="1660" y="328"/>
                  <a:pt x="1660" y="330"/>
                  <a:pt x="1660" y="330"/>
                </a:cubicBezTo>
                <a:close/>
                <a:moveTo>
                  <a:pt x="1978" y="315"/>
                </a:moveTo>
                <a:cubicBezTo>
                  <a:pt x="1978" y="313"/>
                  <a:pt x="1979" y="310"/>
                  <a:pt x="1980" y="308"/>
                </a:cubicBezTo>
                <a:cubicBezTo>
                  <a:pt x="1980" y="308"/>
                  <a:pt x="1980" y="307"/>
                  <a:pt x="1981" y="307"/>
                </a:cubicBezTo>
                <a:cubicBezTo>
                  <a:pt x="1982" y="307"/>
                  <a:pt x="1984" y="308"/>
                  <a:pt x="1985" y="308"/>
                </a:cubicBezTo>
                <a:cubicBezTo>
                  <a:pt x="1988" y="310"/>
                  <a:pt x="1989" y="311"/>
                  <a:pt x="1989" y="312"/>
                </a:cubicBezTo>
                <a:cubicBezTo>
                  <a:pt x="1989" y="312"/>
                  <a:pt x="1989" y="312"/>
                  <a:pt x="1989" y="312"/>
                </a:cubicBezTo>
                <a:cubicBezTo>
                  <a:pt x="1989" y="313"/>
                  <a:pt x="1989" y="313"/>
                  <a:pt x="1989" y="314"/>
                </a:cubicBezTo>
                <a:cubicBezTo>
                  <a:pt x="1989" y="316"/>
                  <a:pt x="1989" y="317"/>
                  <a:pt x="1989" y="319"/>
                </a:cubicBezTo>
                <a:cubicBezTo>
                  <a:pt x="1986" y="317"/>
                  <a:pt x="1982" y="315"/>
                  <a:pt x="1978" y="315"/>
                </a:cubicBezTo>
                <a:close/>
                <a:moveTo>
                  <a:pt x="2143" y="431"/>
                </a:moveTo>
                <a:cubicBezTo>
                  <a:pt x="2144" y="430"/>
                  <a:pt x="2149" y="428"/>
                  <a:pt x="2153" y="428"/>
                </a:cubicBezTo>
                <a:cubicBezTo>
                  <a:pt x="2158" y="427"/>
                  <a:pt x="2162" y="427"/>
                  <a:pt x="2162" y="427"/>
                </a:cubicBezTo>
                <a:cubicBezTo>
                  <a:pt x="2164" y="427"/>
                  <a:pt x="2165" y="426"/>
                  <a:pt x="2166" y="425"/>
                </a:cubicBezTo>
                <a:cubicBezTo>
                  <a:pt x="2166" y="425"/>
                  <a:pt x="2169" y="422"/>
                  <a:pt x="2173" y="418"/>
                </a:cubicBezTo>
                <a:cubicBezTo>
                  <a:pt x="2176" y="414"/>
                  <a:pt x="2180" y="409"/>
                  <a:pt x="2180" y="402"/>
                </a:cubicBezTo>
                <a:cubicBezTo>
                  <a:pt x="2180" y="400"/>
                  <a:pt x="2179" y="397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69" y="386"/>
                  <a:pt x="2154" y="382"/>
                  <a:pt x="2146" y="381"/>
                </a:cubicBezTo>
                <a:cubicBezTo>
                  <a:pt x="2145" y="381"/>
                  <a:pt x="2144" y="381"/>
                  <a:pt x="2144" y="381"/>
                </a:cubicBezTo>
                <a:cubicBezTo>
                  <a:pt x="2133" y="381"/>
                  <a:pt x="2129" y="387"/>
                  <a:pt x="2116" y="387"/>
                </a:cubicBezTo>
                <a:cubicBezTo>
                  <a:pt x="2104" y="387"/>
                  <a:pt x="2096" y="391"/>
                  <a:pt x="2092" y="391"/>
                </a:cubicBezTo>
                <a:cubicBezTo>
                  <a:pt x="2090" y="390"/>
                  <a:pt x="2090" y="390"/>
                  <a:pt x="2089" y="389"/>
                </a:cubicBezTo>
                <a:cubicBezTo>
                  <a:pt x="2082" y="381"/>
                  <a:pt x="2068" y="379"/>
                  <a:pt x="2058" y="379"/>
                </a:cubicBezTo>
                <a:cubicBezTo>
                  <a:pt x="2056" y="379"/>
                  <a:pt x="2054" y="379"/>
                  <a:pt x="2052" y="379"/>
                </a:cubicBezTo>
                <a:cubicBezTo>
                  <a:pt x="2050" y="380"/>
                  <a:pt x="2047" y="381"/>
                  <a:pt x="2045" y="384"/>
                </a:cubicBezTo>
                <a:cubicBezTo>
                  <a:pt x="2045" y="385"/>
                  <a:pt x="2044" y="386"/>
                  <a:pt x="2042" y="388"/>
                </a:cubicBezTo>
                <a:cubicBezTo>
                  <a:pt x="2041" y="390"/>
                  <a:pt x="2039" y="393"/>
                  <a:pt x="2039" y="397"/>
                </a:cubicBezTo>
                <a:cubicBezTo>
                  <a:pt x="2039" y="401"/>
                  <a:pt x="2040" y="404"/>
                  <a:pt x="2042" y="409"/>
                </a:cubicBezTo>
                <a:cubicBezTo>
                  <a:pt x="2045" y="415"/>
                  <a:pt x="2048" y="420"/>
                  <a:pt x="2051" y="424"/>
                </a:cubicBezTo>
                <a:cubicBezTo>
                  <a:pt x="2054" y="428"/>
                  <a:pt x="2057" y="431"/>
                  <a:pt x="2063" y="432"/>
                </a:cubicBezTo>
                <a:cubicBezTo>
                  <a:pt x="2063" y="432"/>
                  <a:pt x="2064" y="432"/>
                  <a:pt x="2065" y="431"/>
                </a:cubicBezTo>
                <a:cubicBezTo>
                  <a:pt x="2066" y="431"/>
                  <a:pt x="2069" y="431"/>
                  <a:pt x="2072" y="431"/>
                </a:cubicBezTo>
                <a:cubicBezTo>
                  <a:pt x="2076" y="431"/>
                  <a:pt x="2079" y="431"/>
                  <a:pt x="2082" y="432"/>
                </a:cubicBezTo>
                <a:cubicBezTo>
                  <a:pt x="2083" y="432"/>
                  <a:pt x="2084" y="433"/>
                  <a:pt x="2084" y="433"/>
                </a:cubicBezTo>
                <a:cubicBezTo>
                  <a:pt x="2084" y="433"/>
                  <a:pt x="2084" y="433"/>
                  <a:pt x="2084" y="433"/>
                </a:cubicBezTo>
                <a:cubicBezTo>
                  <a:pt x="2086" y="440"/>
                  <a:pt x="2092" y="448"/>
                  <a:pt x="2103" y="448"/>
                </a:cubicBezTo>
                <a:cubicBezTo>
                  <a:pt x="2103" y="448"/>
                  <a:pt x="2103" y="448"/>
                  <a:pt x="2103" y="448"/>
                </a:cubicBezTo>
                <a:cubicBezTo>
                  <a:pt x="2106" y="448"/>
                  <a:pt x="2110" y="447"/>
                  <a:pt x="2113" y="446"/>
                </a:cubicBezTo>
                <a:cubicBezTo>
                  <a:pt x="2120" y="444"/>
                  <a:pt x="2126" y="442"/>
                  <a:pt x="2131" y="440"/>
                </a:cubicBezTo>
                <a:cubicBezTo>
                  <a:pt x="2136" y="438"/>
                  <a:pt x="2140" y="435"/>
                  <a:pt x="2143" y="431"/>
                </a:cubicBezTo>
                <a:close/>
                <a:moveTo>
                  <a:pt x="3068" y="1676"/>
                </a:moveTo>
                <a:cubicBezTo>
                  <a:pt x="3066" y="1668"/>
                  <a:pt x="3063" y="1661"/>
                  <a:pt x="3055" y="1658"/>
                </a:cubicBezTo>
                <a:cubicBezTo>
                  <a:pt x="3053" y="1664"/>
                  <a:pt x="3053" y="1664"/>
                  <a:pt x="3053" y="1664"/>
                </a:cubicBezTo>
                <a:cubicBezTo>
                  <a:pt x="3055" y="1658"/>
                  <a:pt x="3055" y="1658"/>
                  <a:pt x="3055" y="1658"/>
                </a:cubicBezTo>
                <a:cubicBezTo>
                  <a:pt x="3053" y="1657"/>
                  <a:pt x="3051" y="1657"/>
                  <a:pt x="3049" y="1657"/>
                </a:cubicBezTo>
                <a:cubicBezTo>
                  <a:pt x="3045" y="1657"/>
                  <a:pt x="3041" y="1659"/>
                  <a:pt x="3038" y="1662"/>
                </a:cubicBezTo>
                <a:cubicBezTo>
                  <a:pt x="3031" y="1671"/>
                  <a:pt x="3028" y="1684"/>
                  <a:pt x="3021" y="1693"/>
                </a:cubicBezTo>
                <a:cubicBezTo>
                  <a:pt x="3015" y="1700"/>
                  <a:pt x="3010" y="1707"/>
                  <a:pt x="3005" y="1711"/>
                </a:cubicBezTo>
                <a:cubicBezTo>
                  <a:pt x="3003" y="1713"/>
                  <a:pt x="3001" y="1715"/>
                  <a:pt x="2999" y="1716"/>
                </a:cubicBezTo>
                <a:cubicBezTo>
                  <a:pt x="2998" y="1717"/>
                  <a:pt x="2998" y="1717"/>
                  <a:pt x="2997" y="1717"/>
                </a:cubicBezTo>
                <a:cubicBezTo>
                  <a:pt x="2997" y="1717"/>
                  <a:pt x="2996" y="1717"/>
                  <a:pt x="2996" y="1717"/>
                </a:cubicBezTo>
                <a:cubicBezTo>
                  <a:pt x="2991" y="1717"/>
                  <a:pt x="2985" y="1720"/>
                  <a:pt x="2979" y="1724"/>
                </a:cubicBezTo>
                <a:cubicBezTo>
                  <a:pt x="2973" y="1728"/>
                  <a:pt x="2967" y="1736"/>
                  <a:pt x="2967" y="1746"/>
                </a:cubicBezTo>
                <a:cubicBezTo>
                  <a:pt x="2967" y="1749"/>
                  <a:pt x="2968" y="1752"/>
                  <a:pt x="2969" y="1756"/>
                </a:cubicBezTo>
                <a:cubicBezTo>
                  <a:pt x="2973" y="1765"/>
                  <a:pt x="2974" y="1773"/>
                  <a:pt x="2974" y="1781"/>
                </a:cubicBezTo>
                <a:cubicBezTo>
                  <a:pt x="2974" y="1790"/>
                  <a:pt x="2972" y="1797"/>
                  <a:pt x="2969" y="1801"/>
                </a:cubicBezTo>
                <a:cubicBezTo>
                  <a:pt x="2966" y="1804"/>
                  <a:pt x="2965" y="1809"/>
                  <a:pt x="2965" y="1813"/>
                </a:cubicBezTo>
                <a:cubicBezTo>
                  <a:pt x="2966" y="1826"/>
                  <a:pt x="2973" y="1843"/>
                  <a:pt x="2973" y="1853"/>
                </a:cubicBezTo>
                <a:cubicBezTo>
                  <a:pt x="2973" y="1854"/>
                  <a:pt x="2972" y="1855"/>
                  <a:pt x="2972" y="1856"/>
                </a:cubicBezTo>
                <a:cubicBezTo>
                  <a:pt x="2972" y="1858"/>
                  <a:pt x="2972" y="1861"/>
                  <a:pt x="2972" y="1863"/>
                </a:cubicBezTo>
                <a:cubicBezTo>
                  <a:pt x="2972" y="1870"/>
                  <a:pt x="2974" y="1876"/>
                  <a:pt x="2978" y="1881"/>
                </a:cubicBezTo>
                <a:cubicBezTo>
                  <a:pt x="2983" y="1886"/>
                  <a:pt x="2990" y="1888"/>
                  <a:pt x="2998" y="1888"/>
                </a:cubicBezTo>
                <a:cubicBezTo>
                  <a:pt x="2998" y="1888"/>
                  <a:pt x="2998" y="1888"/>
                  <a:pt x="2998" y="1888"/>
                </a:cubicBezTo>
                <a:cubicBezTo>
                  <a:pt x="3007" y="1888"/>
                  <a:pt x="3014" y="1886"/>
                  <a:pt x="3020" y="1881"/>
                </a:cubicBezTo>
                <a:cubicBezTo>
                  <a:pt x="3025" y="1875"/>
                  <a:pt x="3029" y="1868"/>
                  <a:pt x="3032" y="1859"/>
                </a:cubicBezTo>
                <a:cubicBezTo>
                  <a:pt x="3040" y="1840"/>
                  <a:pt x="3041" y="1822"/>
                  <a:pt x="3047" y="1808"/>
                </a:cubicBezTo>
                <a:cubicBezTo>
                  <a:pt x="3051" y="1800"/>
                  <a:pt x="3054" y="1788"/>
                  <a:pt x="3057" y="1777"/>
                </a:cubicBezTo>
                <a:cubicBezTo>
                  <a:pt x="3060" y="1766"/>
                  <a:pt x="3062" y="1756"/>
                  <a:pt x="3063" y="1753"/>
                </a:cubicBezTo>
                <a:cubicBezTo>
                  <a:pt x="3067" y="1744"/>
                  <a:pt x="3073" y="1722"/>
                  <a:pt x="3073" y="1705"/>
                </a:cubicBezTo>
                <a:cubicBezTo>
                  <a:pt x="3073" y="1703"/>
                  <a:pt x="3073" y="1702"/>
                  <a:pt x="3073" y="1701"/>
                </a:cubicBezTo>
                <a:cubicBezTo>
                  <a:pt x="3072" y="1693"/>
                  <a:pt x="3071" y="1684"/>
                  <a:pt x="3068" y="1676"/>
                </a:cubicBezTo>
                <a:close/>
                <a:moveTo>
                  <a:pt x="4007" y="1637"/>
                </a:moveTo>
                <a:cubicBezTo>
                  <a:pt x="4007" y="1637"/>
                  <a:pt x="4008" y="1637"/>
                  <a:pt x="4008" y="1637"/>
                </a:cubicBezTo>
                <a:cubicBezTo>
                  <a:pt x="4014" y="1637"/>
                  <a:pt x="4021" y="1631"/>
                  <a:pt x="4021" y="1623"/>
                </a:cubicBezTo>
                <a:cubicBezTo>
                  <a:pt x="4021" y="1622"/>
                  <a:pt x="4021" y="1622"/>
                  <a:pt x="4021" y="1621"/>
                </a:cubicBezTo>
                <a:cubicBezTo>
                  <a:pt x="4021" y="1616"/>
                  <a:pt x="4019" y="1612"/>
                  <a:pt x="4016" y="1609"/>
                </a:cubicBezTo>
                <a:cubicBezTo>
                  <a:pt x="4013" y="1606"/>
                  <a:pt x="4010" y="1605"/>
                  <a:pt x="4006" y="1605"/>
                </a:cubicBezTo>
                <a:cubicBezTo>
                  <a:pt x="3999" y="1605"/>
                  <a:pt x="3992" y="1609"/>
                  <a:pt x="3991" y="1617"/>
                </a:cubicBezTo>
                <a:cubicBezTo>
                  <a:pt x="3991" y="1617"/>
                  <a:pt x="3991" y="1617"/>
                  <a:pt x="3991" y="1617"/>
                </a:cubicBezTo>
                <a:cubicBezTo>
                  <a:pt x="3991" y="1618"/>
                  <a:pt x="3990" y="1619"/>
                  <a:pt x="3990" y="1621"/>
                </a:cubicBezTo>
                <a:cubicBezTo>
                  <a:pt x="3991" y="1631"/>
                  <a:pt x="3999" y="1637"/>
                  <a:pt x="4007" y="1637"/>
                </a:cubicBezTo>
                <a:close/>
                <a:moveTo>
                  <a:pt x="1369" y="1135"/>
                </a:moveTo>
                <a:cubicBezTo>
                  <a:pt x="1368" y="1129"/>
                  <a:pt x="1365" y="1124"/>
                  <a:pt x="1360" y="1119"/>
                </a:cubicBezTo>
                <a:cubicBezTo>
                  <a:pt x="1355" y="1115"/>
                  <a:pt x="1350" y="1111"/>
                  <a:pt x="1343" y="1111"/>
                </a:cubicBezTo>
                <a:cubicBezTo>
                  <a:pt x="1342" y="1111"/>
                  <a:pt x="1342" y="1112"/>
                  <a:pt x="1341" y="1112"/>
                </a:cubicBezTo>
                <a:cubicBezTo>
                  <a:pt x="1341" y="1112"/>
                  <a:pt x="1341" y="1112"/>
                  <a:pt x="1341" y="1112"/>
                </a:cubicBezTo>
                <a:cubicBezTo>
                  <a:pt x="1339" y="1112"/>
                  <a:pt x="1333" y="1109"/>
                  <a:pt x="1327" y="1106"/>
                </a:cubicBezTo>
                <a:cubicBezTo>
                  <a:pt x="1322" y="1102"/>
                  <a:pt x="1316" y="1097"/>
                  <a:pt x="1312" y="1093"/>
                </a:cubicBezTo>
                <a:cubicBezTo>
                  <a:pt x="1300" y="1081"/>
                  <a:pt x="1281" y="1082"/>
                  <a:pt x="1274" y="1082"/>
                </a:cubicBezTo>
                <a:cubicBezTo>
                  <a:pt x="1269" y="1082"/>
                  <a:pt x="1261" y="1084"/>
                  <a:pt x="1253" y="1087"/>
                </a:cubicBezTo>
                <a:cubicBezTo>
                  <a:pt x="1245" y="1089"/>
                  <a:pt x="1238" y="1092"/>
                  <a:pt x="1238" y="1092"/>
                </a:cubicBezTo>
                <a:cubicBezTo>
                  <a:pt x="1235" y="1092"/>
                  <a:pt x="1234" y="1094"/>
                  <a:pt x="1234" y="1097"/>
                </a:cubicBezTo>
                <a:cubicBezTo>
                  <a:pt x="1233" y="1098"/>
                  <a:pt x="1233" y="1098"/>
                  <a:pt x="1233" y="1099"/>
                </a:cubicBezTo>
                <a:cubicBezTo>
                  <a:pt x="1233" y="1104"/>
                  <a:pt x="1235" y="1108"/>
                  <a:pt x="1239" y="1111"/>
                </a:cubicBezTo>
                <a:cubicBezTo>
                  <a:pt x="1243" y="1113"/>
                  <a:pt x="1246" y="1113"/>
                  <a:pt x="1250" y="1114"/>
                </a:cubicBezTo>
                <a:cubicBezTo>
                  <a:pt x="1254" y="1114"/>
                  <a:pt x="1259" y="1113"/>
                  <a:pt x="1264" y="1113"/>
                </a:cubicBezTo>
                <a:cubicBezTo>
                  <a:pt x="1270" y="1113"/>
                  <a:pt x="1278" y="1112"/>
                  <a:pt x="1286" y="1112"/>
                </a:cubicBezTo>
                <a:cubicBezTo>
                  <a:pt x="1290" y="1112"/>
                  <a:pt x="1294" y="1113"/>
                  <a:pt x="1298" y="1113"/>
                </a:cubicBezTo>
                <a:cubicBezTo>
                  <a:pt x="1299" y="1113"/>
                  <a:pt x="1300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5" y="1120"/>
                  <a:pt x="1312" y="1124"/>
                  <a:pt x="1318" y="1128"/>
                </a:cubicBezTo>
                <a:cubicBezTo>
                  <a:pt x="1325" y="1133"/>
                  <a:pt x="1331" y="1137"/>
                  <a:pt x="1333" y="1139"/>
                </a:cubicBezTo>
                <a:cubicBezTo>
                  <a:pt x="1339" y="1144"/>
                  <a:pt x="1347" y="1145"/>
                  <a:pt x="1354" y="1145"/>
                </a:cubicBezTo>
                <a:cubicBezTo>
                  <a:pt x="1357" y="1145"/>
                  <a:pt x="1359" y="1145"/>
                  <a:pt x="1362" y="1144"/>
                </a:cubicBezTo>
                <a:cubicBezTo>
                  <a:pt x="1364" y="1143"/>
                  <a:pt x="1368" y="1141"/>
                  <a:pt x="1369" y="1137"/>
                </a:cubicBezTo>
                <a:cubicBezTo>
                  <a:pt x="1363" y="1136"/>
                  <a:pt x="1363" y="1136"/>
                  <a:pt x="1363" y="1136"/>
                </a:cubicBezTo>
                <a:cubicBezTo>
                  <a:pt x="1369" y="1137"/>
                  <a:pt x="1369" y="1137"/>
                  <a:pt x="1369" y="1137"/>
                </a:cubicBezTo>
                <a:cubicBezTo>
                  <a:pt x="1369" y="1136"/>
                  <a:pt x="1369" y="1136"/>
                  <a:pt x="1369" y="1135"/>
                </a:cubicBezTo>
                <a:close/>
                <a:moveTo>
                  <a:pt x="1328" y="1167"/>
                </a:moveTo>
                <a:cubicBezTo>
                  <a:pt x="1328" y="1167"/>
                  <a:pt x="1328" y="1167"/>
                  <a:pt x="1328" y="1167"/>
                </a:cubicBezTo>
                <a:cubicBezTo>
                  <a:pt x="1319" y="1169"/>
                  <a:pt x="1317" y="1178"/>
                  <a:pt x="1317" y="1184"/>
                </a:cubicBezTo>
                <a:cubicBezTo>
                  <a:pt x="1317" y="1188"/>
                  <a:pt x="1318" y="1191"/>
                  <a:pt x="1320" y="1194"/>
                </a:cubicBezTo>
                <a:cubicBezTo>
                  <a:pt x="1322" y="1198"/>
                  <a:pt x="1326" y="1200"/>
                  <a:pt x="1331" y="1200"/>
                </a:cubicBezTo>
                <a:cubicBezTo>
                  <a:pt x="1331" y="1200"/>
                  <a:pt x="1331" y="1200"/>
                  <a:pt x="1331" y="1200"/>
                </a:cubicBezTo>
                <a:cubicBezTo>
                  <a:pt x="1333" y="1200"/>
                  <a:pt x="1334" y="1201"/>
                  <a:pt x="1336" y="1200"/>
                </a:cubicBezTo>
                <a:cubicBezTo>
                  <a:pt x="1343" y="1198"/>
                  <a:pt x="1347" y="1191"/>
                  <a:pt x="1347" y="1185"/>
                </a:cubicBezTo>
                <a:cubicBezTo>
                  <a:pt x="1347" y="1176"/>
                  <a:pt x="1342" y="1167"/>
                  <a:pt x="1331" y="1166"/>
                </a:cubicBezTo>
                <a:cubicBezTo>
                  <a:pt x="1330" y="1166"/>
                  <a:pt x="1329" y="1167"/>
                  <a:pt x="1328" y="1167"/>
                </a:cubicBezTo>
                <a:close/>
                <a:moveTo>
                  <a:pt x="1341" y="1066"/>
                </a:moveTo>
                <a:cubicBezTo>
                  <a:pt x="1341" y="1058"/>
                  <a:pt x="1334" y="1053"/>
                  <a:pt x="1325" y="1053"/>
                </a:cubicBezTo>
                <a:cubicBezTo>
                  <a:pt x="1324" y="1053"/>
                  <a:pt x="1324" y="1053"/>
                  <a:pt x="1323" y="1053"/>
                </a:cubicBezTo>
                <a:cubicBezTo>
                  <a:pt x="1316" y="1053"/>
                  <a:pt x="1311" y="1060"/>
                  <a:pt x="1311" y="1065"/>
                </a:cubicBezTo>
                <a:cubicBezTo>
                  <a:pt x="1311" y="1069"/>
                  <a:pt x="1312" y="1073"/>
                  <a:pt x="1315" y="1075"/>
                </a:cubicBezTo>
                <a:cubicBezTo>
                  <a:pt x="1317" y="1078"/>
                  <a:pt x="1321" y="1080"/>
                  <a:pt x="1325" y="1080"/>
                </a:cubicBezTo>
                <a:cubicBezTo>
                  <a:pt x="1325" y="1080"/>
                  <a:pt x="1325" y="1080"/>
                  <a:pt x="1325" y="1080"/>
                </a:cubicBezTo>
                <a:cubicBezTo>
                  <a:pt x="1327" y="1080"/>
                  <a:pt x="1328" y="1079"/>
                  <a:pt x="1329" y="1079"/>
                </a:cubicBezTo>
                <a:cubicBezTo>
                  <a:pt x="1328" y="1073"/>
                  <a:pt x="1328" y="1073"/>
                  <a:pt x="1328" y="1073"/>
                </a:cubicBezTo>
                <a:cubicBezTo>
                  <a:pt x="1329" y="1079"/>
                  <a:pt x="1329" y="1079"/>
                  <a:pt x="1329" y="1079"/>
                </a:cubicBezTo>
                <a:cubicBezTo>
                  <a:pt x="1336" y="1077"/>
                  <a:pt x="1341" y="1072"/>
                  <a:pt x="1341" y="1066"/>
                </a:cubicBezTo>
                <a:close/>
                <a:moveTo>
                  <a:pt x="3938" y="1610"/>
                </a:moveTo>
                <a:cubicBezTo>
                  <a:pt x="3940" y="1609"/>
                  <a:pt x="3943" y="1606"/>
                  <a:pt x="3943" y="1603"/>
                </a:cubicBezTo>
                <a:cubicBezTo>
                  <a:pt x="3937" y="1602"/>
                  <a:pt x="3937" y="1602"/>
                  <a:pt x="3937" y="1602"/>
                </a:cubicBezTo>
                <a:cubicBezTo>
                  <a:pt x="3943" y="1603"/>
                  <a:pt x="3943" y="1603"/>
                  <a:pt x="3943" y="1603"/>
                </a:cubicBezTo>
                <a:cubicBezTo>
                  <a:pt x="3943" y="1602"/>
                  <a:pt x="3943" y="1601"/>
                  <a:pt x="3943" y="1601"/>
                </a:cubicBezTo>
                <a:cubicBezTo>
                  <a:pt x="3943" y="1594"/>
                  <a:pt x="3938" y="1588"/>
                  <a:pt x="3934" y="1584"/>
                </a:cubicBezTo>
                <a:cubicBezTo>
                  <a:pt x="3929" y="1579"/>
                  <a:pt x="3925" y="1575"/>
                  <a:pt x="3919" y="1575"/>
                </a:cubicBezTo>
                <a:cubicBezTo>
                  <a:pt x="3917" y="1575"/>
                  <a:pt x="3908" y="1573"/>
                  <a:pt x="3901" y="1571"/>
                </a:cubicBezTo>
                <a:cubicBezTo>
                  <a:pt x="3893" y="1569"/>
                  <a:pt x="3886" y="1567"/>
                  <a:pt x="3886" y="1567"/>
                </a:cubicBezTo>
                <a:cubicBezTo>
                  <a:pt x="3884" y="1567"/>
                  <a:pt x="3883" y="1567"/>
                  <a:pt x="3881" y="1567"/>
                </a:cubicBezTo>
                <a:cubicBezTo>
                  <a:pt x="3878" y="1569"/>
                  <a:pt x="3874" y="1570"/>
                  <a:pt x="3870" y="1573"/>
                </a:cubicBezTo>
                <a:cubicBezTo>
                  <a:pt x="3870" y="1573"/>
                  <a:pt x="3869" y="1572"/>
                  <a:pt x="3869" y="1572"/>
                </a:cubicBezTo>
                <a:cubicBezTo>
                  <a:pt x="3861" y="1567"/>
                  <a:pt x="3852" y="1567"/>
                  <a:pt x="3847" y="1566"/>
                </a:cubicBezTo>
                <a:cubicBezTo>
                  <a:pt x="3844" y="1566"/>
                  <a:pt x="3842" y="1566"/>
                  <a:pt x="3841" y="1566"/>
                </a:cubicBezTo>
                <a:cubicBezTo>
                  <a:pt x="3840" y="1565"/>
                  <a:pt x="3840" y="1565"/>
                  <a:pt x="3839" y="1564"/>
                </a:cubicBezTo>
                <a:cubicBezTo>
                  <a:pt x="3836" y="1557"/>
                  <a:pt x="3831" y="1551"/>
                  <a:pt x="3824" y="1551"/>
                </a:cubicBezTo>
                <a:cubicBezTo>
                  <a:pt x="3823" y="1551"/>
                  <a:pt x="3822" y="1551"/>
                  <a:pt x="3821" y="1552"/>
                </a:cubicBezTo>
                <a:cubicBezTo>
                  <a:pt x="3821" y="1538"/>
                  <a:pt x="3824" y="1522"/>
                  <a:pt x="3828" y="1517"/>
                </a:cubicBezTo>
                <a:cubicBezTo>
                  <a:pt x="3828" y="1517"/>
                  <a:pt x="3828" y="1517"/>
                  <a:pt x="3828" y="1517"/>
                </a:cubicBezTo>
                <a:cubicBezTo>
                  <a:pt x="3831" y="1513"/>
                  <a:pt x="3832" y="1508"/>
                  <a:pt x="3832" y="1504"/>
                </a:cubicBezTo>
                <a:cubicBezTo>
                  <a:pt x="3832" y="1500"/>
                  <a:pt x="3831" y="1496"/>
                  <a:pt x="3829" y="1493"/>
                </a:cubicBezTo>
                <a:cubicBezTo>
                  <a:pt x="3827" y="1490"/>
                  <a:pt x="3823" y="1488"/>
                  <a:pt x="3819" y="1488"/>
                </a:cubicBezTo>
                <a:cubicBezTo>
                  <a:pt x="3818" y="1488"/>
                  <a:pt x="3817" y="1488"/>
                  <a:pt x="3816" y="1488"/>
                </a:cubicBezTo>
                <a:cubicBezTo>
                  <a:pt x="3816" y="1488"/>
                  <a:pt x="3816" y="1488"/>
                  <a:pt x="3816" y="1488"/>
                </a:cubicBezTo>
                <a:cubicBezTo>
                  <a:pt x="3816" y="1488"/>
                  <a:pt x="3815" y="1488"/>
                  <a:pt x="3814" y="1487"/>
                </a:cubicBezTo>
                <a:cubicBezTo>
                  <a:pt x="3808" y="1482"/>
                  <a:pt x="3801" y="1469"/>
                  <a:pt x="3789" y="1459"/>
                </a:cubicBezTo>
                <a:cubicBezTo>
                  <a:pt x="3774" y="1447"/>
                  <a:pt x="3763" y="1439"/>
                  <a:pt x="3750" y="1422"/>
                </a:cubicBezTo>
                <a:cubicBezTo>
                  <a:pt x="3735" y="1403"/>
                  <a:pt x="3717" y="1391"/>
                  <a:pt x="3709" y="1383"/>
                </a:cubicBezTo>
                <a:cubicBezTo>
                  <a:pt x="3699" y="1373"/>
                  <a:pt x="3687" y="1368"/>
                  <a:pt x="3678" y="1368"/>
                </a:cubicBezTo>
                <a:cubicBezTo>
                  <a:pt x="3677" y="1368"/>
                  <a:pt x="3676" y="1368"/>
                  <a:pt x="3674" y="1368"/>
                </a:cubicBezTo>
                <a:cubicBezTo>
                  <a:pt x="3670" y="1369"/>
                  <a:pt x="3666" y="1374"/>
                  <a:pt x="3666" y="1378"/>
                </a:cubicBezTo>
                <a:cubicBezTo>
                  <a:pt x="3666" y="1383"/>
                  <a:pt x="3669" y="1386"/>
                  <a:pt x="3671" y="1390"/>
                </a:cubicBezTo>
                <a:cubicBezTo>
                  <a:pt x="3675" y="1396"/>
                  <a:pt x="3681" y="1401"/>
                  <a:pt x="3686" y="1406"/>
                </a:cubicBezTo>
                <a:cubicBezTo>
                  <a:pt x="3690" y="1411"/>
                  <a:pt x="3695" y="1415"/>
                  <a:pt x="3695" y="1415"/>
                </a:cubicBezTo>
                <a:cubicBezTo>
                  <a:pt x="3697" y="1418"/>
                  <a:pt x="3706" y="1427"/>
                  <a:pt x="3714" y="1437"/>
                </a:cubicBezTo>
                <a:cubicBezTo>
                  <a:pt x="3722" y="1446"/>
                  <a:pt x="3729" y="1459"/>
                  <a:pt x="3728" y="1463"/>
                </a:cubicBezTo>
                <a:cubicBezTo>
                  <a:pt x="3729" y="1473"/>
                  <a:pt x="3734" y="1485"/>
                  <a:pt x="3740" y="1497"/>
                </a:cubicBezTo>
                <a:cubicBezTo>
                  <a:pt x="3746" y="1509"/>
                  <a:pt x="3752" y="1519"/>
                  <a:pt x="3757" y="1523"/>
                </a:cubicBezTo>
                <a:cubicBezTo>
                  <a:pt x="3760" y="1527"/>
                  <a:pt x="3769" y="1533"/>
                  <a:pt x="3777" y="1540"/>
                </a:cubicBezTo>
                <a:cubicBezTo>
                  <a:pt x="3785" y="1547"/>
                  <a:pt x="3793" y="1556"/>
                  <a:pt x="3794" y="1559"/>
                </a:cubicBezTo>
                <a:cubicBezTo>
                  <a:pt x="3797" y="1565"/>
                  <a:pt x="3801" y="1570"/>
                  <a:pt x="3808" y="1571"/>
                </a:cubicBezTo>
                <a:cubicBezTo>
                  <a:pt x="3808" y="1583"/>
                  <a:pt x="3816" y="1589"/>
                  <a:pt x="3819" y="1591"/>
                </a:cubicBezTo>
                <a:cubicBezTo>
                  <a:pt x="3825" y="1595"/>
                  <a:pt x="3834" y="1597"/>
                  <a:pt x="3844" y="1597"/>
                </a:cubicBezTo>
                <a:cubicBezTo>
                  <a:pt x="3847" y="1597"/>
                  <a:pt x="3849" y="1597"/>
                  <a:pt x="3851" y="1597"/>
                </a:cubicBezTo>
                <a:cubicBezTo>
                  <a:pt x="3855" y="1596"/>
                  <a:pt x="3859" y="1596"/>
                  <a:pt x="3863" y="1594"/>
                </a:cubicBezTo>
                <a:cubicBezTo>
                  <a:pt x="3865" y="1594"/>
                  <a:pt x="3866" y="1594"/>
                  <a:pt x="3868" y="1593"/>
                </a:cubicBezTo>
                <a:cubicBezTo>
                  <a:pt x="3868" y="1593"/>
                  <a:pt x="3868" y="1593"/>
                  <a:pt x="3868" y="1594"/>
                </a:cubicBezTo>
                <a:cubicBezTo>
                  <a:pt x="3876" y="1602"/>
                  <a:pt x="3884" y="1608"/>
                  <a:pt x="3896" y="1608"/>
                </a:cubicBezTo>
                <a:cubicBezTo>
                  <a:pt x="3898" y="1608"/>
                  <a:pt x="3900" y="1608"/>
                  <a:pt x="3902" y="1608"/>
                </a:cubicBezTo>
                <a:cubicBezTo>
                  <a:pt x="3903" y="1608"/>
                  <a:pt x="3903" y="1608"/>
                  <a:pt x="3904" y="1608"/>
                </a:cubicBezTo>
                <a:cubicBezTo>
                  <a:pt x="3912" y="1608"/>
                  <a:pt x="3923" y="1611"/>
                  <a:pt x="3931" y="1611"/>
                </a:cubicBezTo>
                <a:cubicBezTo>
                  <a:pt x="3933" y="1611"/>
                  <a:pt x="3936" y="1611"/>
                  <a:pt x="3938" y="1610"/>
                </a:cubicBezTo>
                <a:close/>
                <a:moveTo>
                  <a:pt x="4119" y="1427"/>
                </a:moveTo>
                <a:cubicBezTo>
                  <a:pt x="4111" y="1436"/>
                  <a:pt x="4105" y="1453"/>
                  <a:pt x="4104" y="1466"/>
                </a:cubicBezTo>
                <a:cubicBezTo>
                  <a:pt x="4104" y="1469"/>
                  <a:pt x="4105" y="1472"/>
                  <a:pt x="4106" y="1475"/>
                </a:cubicBezTo>
                <a:cubicBezTo>
                  <a:pt x="4107" y="1478"/>
                  <a:pt x="4110" y="1481"/>
                  <a:pt x="4114" y="1482"/>
                </a:cubicBezTo>
                <a:cubicBezTo>
                  <a:pt x="4115" y="1483"/>
                  <a:pt x="4116" y="1483"/>
                  <a:pt x="4117" y="1483"/>
                </a:cubicBezTo>
                <a:cubicBezTo>
                  <a:pt x="4128" y="1482"/>
                  <a:pt x="4131" y="1473"/>
                  <a:pt x="4135" y="1464"/>
                </a:cubicBezTo>
                <a:cubicBezTo>
                  <a:pt x="4138" y="1455"/>
                  <a:pt x="4140" y="1445"/>
                  <a:pt x="4140" y="1436"/>
                </a:cubicBezTo>
                <a:cubicBezTo>
                  <a:pt x="4140" y="1434"/>
                  <a:pt x="4140" y="1431"/>
                  <a:pt x="4139" y="1429"/>
                </a:cubicBezTo>
                <a:cubicBezTo>
                  <a:pt x="4139" y="1426"/>
                  <a:pt x="4138" y="1423"/>
                  <a:pt x="4134" y="1421"/>
                </a:cubicBezTo>
                <a:cubicBezTo>
                  <a:pt x="4134" y="1421"/>
                  <a:pt x="4134" y="1421"/>
                  <a:pt x="4134" y="1421"/>
                </a:cubicBezTo>
                <a:cubicBezTo>
                  <a:pt x="4133" y="1421"/>
                  <a:pt x="4131" y="1420"/>
                  <a:pt x="4130" y="1420"/>
                </a:cubicBezTo>
                <a:cubicBezTo>
                  <a:pt x="4124" y="1420"/>
                  <a:pt x="4121" y="1423"/>
                  <a:pt x="4119" y="1427"/>
                </a:cubicBezTo>
                <a:close/>
                <a:moveTo>
                  <a:pt x="4266" y="830"/>
                </a:moveTo>
                <a:cubicBezTo>
                  <a:pt x="4263" y="839"/>
                  <a:pt x="4260" y="846"/>
                  <a:pt x="4257" y="852"/>
                </a:cubicBezTo>
                <a:cubicBezTo>
                  <a:pt x="4256" y="855"/>
                  <a:pt x="4254" y="857"/>
                  <a:pt x="4253" y="858"/>
                </a:cubicBezTo>
                <a:cubicBezTo>
                  <a:pt x="4253" y="858"/>
                  <a:pt x="4253" y="858"/>
                  <a:pt x="4253" y="858"/>
                </a:cubicBezTo>
                <a:cubicBezTo>
                  <a:pt x="4251" y="859"/>
                  <a:pt x="4249" y="859"/>
                  <a:pt x="4246" y="860"/>
                </a:cubicBezTo>
                <a:cubicBezTo>
                  <a:pt x="4236" y="864"/>
                  <a:pt x="4221" y="872"/>
                  <a:pt x="4214" y="880"/>
                </a:cubicBezTo>
                <a:cubicBezTo>
                  <a:pt x="4214" y="880"/>
                  <a:pt x="4213" y="880"/>
                  <a:pt x="4211" y="880"/>
                </a:cubicBezTo>
                <a:cubicBezTo>
                  <a:pt x="4203" y="880"/>
                  <a:pt x="4189" y="876"/>
                  <a:pt x="4180" y="876"/>
                </a:cubicBezTo>
                <a:cubicBezTo>
                  <a:pt x="4176" y="876"/>
                  <a:pt x="4172" y="876"/>
                  <a:pt x="4169" y="880"/>
                </a:cubicBezTo>
                <a:cubicBezTo>
                  <a:pt x="4165" y="886"/>
                  <a:pt x="4156" y="894"/>
                  <a:pt x="4150" y="900"/>
                </a:cubicBezTo>
                <a:cubicBezTo>
                  <a:pt x="4150" y="900"/>
                  <a:pt x="4146" y="901"/>
                  <a:pt x="4141" y="903"/>
                </a:cubicBezTo>
                <a:cubicBezTo>
                  <a:pt x="4136" y="904"/>
                  <a:pt x="4129" y="909"/>
                  <a:pt x="4130" y="918"/>
                </a:cubicBezTo>
                <a:cubicBezTo>
                  <a:pt x="4130" y="920"/>
                  <a:pt x="4130" y="922"/>
                  <a:pt x="4130" y="924"/>
                </a:cubicBezTo>
                <a:cubicBezTo>
                  <a:pt x="4132" y="932"/>
                  <a:pt x="4135" y="941"/>
                  <a:pt x="4139" y="947"/>
                </a:cubicBezTo>
                <a:cubicBezTo>
                  <a:pt x="4142" y="954"/>
                  <a:pt x="4146" y="959"/>
                  <a:pt x="4154" y="960"/>
                </a:cubicBezTo>
                <a:cubicBezTo>
                  <a:pt x="4159" y="960"/>
                  <a:pt x="4165" y="958"/>
                  <a:pt x="4169" y="953"/>
                </a:cubicBezTo>
                <a:cubicBezTo>
                  <a:pt x="4173" y="949"/>
                  <a:pt x="4176" y="942"/>
                  <a:pt x="4176" y="933"/>
                </a:cubicBezTo>
                <a:cubicBezTo>
                  <a:pt x="4176" y="933"/>
                  <a:pt x="4176" y="933"/>
                  <a:pt x="4176" y="933"/>
                </a:cubicBezTo>
                <a:cubicBezTo>
                  <a:pt x="4176" y="933"/>
                  <a:pt x="4180" y="934"/>
                  <a:pt x="4182" y="935"/>
                </a:cubicBezTo>
                <a:cubicBezTo>
                  <a:pt x="4185" y="936"/>
                  <a:pt x="4189" y="938"/>
                  <a:pt x="4193" y="938"/>
                </a:cubicBezTo>
                <a:cubicBezTo>
                  <a:pt x="4194" y="938"/>
                  <a:pt x="4195" y="938"/>
                  <a:pt x="4195" y="938"/>
                </a:cubicBezTo>
                <a:cubicBezTo>
                  <a:pt x="4204" y="936"/>
                  <a:pt x="4209" y="930"/>
                  <a:pt x="4212" y="922"/>
                </a:cubicBezTo>
                <a:cubicBezTo>
                  <a:pt x="4214" y="924"/>
                  <a:pt x="4216" y="925"/>
                  <a:pt x="4218" y="925"/>
                </a:cubicBezTo>
                <a:cubicBezTo>
                  <a:pt x="4221" y="926"/>
                  <a:pt x="4223" y="926"/>
                  <a:pt x="4226" y="926"/>
                </a:cubicBezTo>
                <a:cubicBezTo>
                  <a:pt x="4232" y="926"/>
                  <a:pt x="4238" y="923"/>
                  <a:pt x="4240" y="919"/>
                </a:cubicBezTo>
                <a:cubicBezTo>
                  <a:pt x="4243" y="916"/>
                  <a:pt x="4244" y="914"/>
                  <a:pt x="4244" y="911"/>
                </a:cubicBezTo>
                <a:cubicBezTo>
                  <a:pt x="4246" y="910"/>
                  <a:pt x="4251" y="907"/>
                  <a:pt x="4256" y="905"/>
                </a:cubicBezTo>
                <a:cubicBezTo>
                  <a:pt x="4263" y="903"/>
                  <a:pt x="4268" y="901"/>
                  <a:pt x="4272" y="898"/>
                </a:cubicBezTo>
                <a:cubicBezTo>
                  <a:pt x="4273" y="897"/>
                  <a:pt x="4279" y="894"/>
                  <a:pt x="4285" y="891"/>
                </a:cubicBezTo>
                <a:cubicBezTo>
                  <a:pt x="4287" y="889"/>
                  <a:pt x="4290" y="888"/>
                  <a:pt x="4293" y="886"/>
                </a:cubicBezTo>
                <a:cubicBezTo>
                  <a:pt x="4295" y="884"/>
                  <a:pt x="4297" y="882"/>
                  <a:pt x="4298" y="878"/>
                </a:cubicBezTo>
                <a:cubicBezTo>
                  <a:pt x="4299" y="874"/>
                  <a:pt x="4299" y="865"/>
                  <a:pt x="4300" y="856"/>
                </a:cubicBezTo>
                <a:cubicBezTo>
                  <a:pt x="4300" y="852"/>
                  <a:pt x="4300" y="848"/>
                  <a:pt x="4301" y="845"/>
                </a:cubicBezTo>
                <a:cubicBezTo>
                  <a:pt x="4301" y="843"/>
                  <a:pt x="4302" y="842"/>
                  <a:pt x="4302" y="842"/>
                </a:cubicBezTo>
                <a:cubicBezTo>
                  <a:pt x="4303" y="841"/>
                  <a:pt x="4305" y="841"/>
                  <a:pt x="4308" y="839"/>
                </a:cubicBezTo>
                <a:cubicBezTo>
                  <a:pt x="4310" y="837"/>
                  <a:pt x="4313" y="833"/>
                  <a:pt x="4313" y="828"/>
                </a:cubicBezTo>
                <a:cubicBezTo>
                  <a:pt x="4313" y="824"/>
                  <a:pt x="4312" y="819"/>
                  <a:pt x="4308" y="812"/>
                </a:cubicBezTo>
                <a:cubicBezTo>
                  <a:pt x="4305" y="805"/>
                  <a:pt x="4303" y="797"/>
                  <a:pt x="4300" y="791"/>
                </a:cubicBezTo>
                <a:cubicBezTo>
                  <a:pt x="4300" y="789"/>
                  <a:pt x="4299" y="788"/>
                  <a:pt x="4298" y="786"/>
                </a:cubicBezTo>
                <a:cubicBezTo>
                  <a:pt x="4303" y="785"/>
                  <a:pt x="4308" y="783"/>
                  <a:pt x="4313" y="783"/>
                </a:cubicBezTo>
                <a:cubicBezTo>
                  <a:pt x="4327" y="782"/>
                  <a:pt x="4340" y="780"/>
                  <a:pt x="4344" y="776"/>
                </a:cubicBezTo>
                <a:cubicBezTo>
                  <a:pt x="4344" y="776"/>
                  <a:pt x="4345" y="776"/>
                  <a:pt x="4345" y="776"/>
                </a:cubicBezTo>
                <a:cubicBezTo>
                  <a:pt x="4348" y="776"/>
                  <a:pt x="4353" y="776"/>
                  <a:pt x="4358" y="775"/>
                </a:cubicBezTo>
                <a:cubicBezTo>
                  <a:pt x="4363" y="773"/>
                  <a:pt x="4370" y="769"/>
                  <a:pt x="4370" y="761"/>
                </a:cubicBezTo>
                <a:cubicBezTo>
                  <a:pt x="4370" y="759"/>
                  <a:pt x="4370" y="758"/>
                  <a:pt x="4370" y="757"/>
                </a:cubicBezTo>
                <a:cubicBezTo>
                  <a:pt x="4367" y="748"/>
                  <a:pt x="4360" y="744"/>
                  <a:pt x="4354" y="741"/>
                </a:cubicBezTo>
                <a:cubicBezTo>
                  <a:pt x="4347" y="739"/>
                  <a:pt x="4340" y="738"/>
                  <a:pt x="4335" y="738"/>
                </a:cubicBezTo>
                <a:cubicBezTo>
                  <a:pt x="4333" y="738"/>
                  <a:pt x="4332" y="738"/>
                  <a:pt x="4330" y="738"/>
                </a:cubicBezTo>
                <a:cubicBezTo>
                  <a:pt x="4329" y="737"/>
                  <a:pt x="4327" y="735"/>
                  <a:pt x="4325" y="732"/>
                </a:cubicBezTo>
                <a:cubicBezTo>
                  <a:pt x="4321" y="729"/>
                  <a:pt x="4317" y="726"/>
                  <a:pt x="4311" y="726"/>
                </a:cubicBezTo>
                <a:cubicBezTo>
                  <a:pt x="4309" y="726"/>
                  <a:pt x="4308" y="726"/>
                  <a:pt x="4307" y="726"/>
                </a:cubicBezTo>
                <a:cubicBezTo>
                  <a:pt x="4300" y="728"/>
                  <a:pt x="4296" y="734"/>
                  <a:pt x="4294" y="739"/>
                </a:cubicBezTo>
                <a:cubicBezTo>
                  <a:pt x="4292" y="743"/>
                  <a:pt x="4292" y="747"/>
                  <a:pt x="4291" y="750"/>
                </a:cubicBezTo>
                <a:cubicBezTo>
                  <a:pt x="4289" y="751"/>
                  <a:pt x="4284" y="754"/>
                  <a:pt x="4280" y="756"/>
                </a:cubicBezTo>
                <a:cubicBezTo>
                  <a:pt x="4275" y="760"/>
                  <a:pt x="4268" y="763"/>
                  <a:pt x="4267" y="772"/>
                </a:cubicBezTo>
                <a:cubicBezTo>
                  <a:pt x="4267" y="775"/>
                  <a:pt x="4269" y="778"/>
                  <a:pt x="4271" y="780"/>
                </a:cubicBezTo>
                <a:cubicBezTo>
                  <a:pt x="4272" y="782"/>
                  <a:pt x="4274" y="783"/>
                  <a:pt x="4275" y="784"/>
                </a:cubicBezTo>
                <a:cubicBezTo>
                  <a:pt x="4271" y="790"/>
                  <a:pt x="4271" y="797"/>
                  <a:pt x="4270" y="805"/>
                </a:cubicBezTo>
                <a:cubicBezTo>
                  <a:pt x="4270" y="814"/>
                  <a:pt x="4269" y="824"/>
                  <a:pt x="4266" y="830"/>
                </a:cubicBezTo>
                <a:close/>
                <a:moveTo>
                  <a:pt x="3920" y="1392"/>
                </a:moveTo>
                <a:cubicBezTo>
                  <a:pt x="3917" y="1395"/>
                  <a:pt x="3916" y="1398"/>
                  <a:pt x="3915" y="1401"/>
                </a:cubicBezTo>
                <a:cubicBezTo>
                  <a:pt x="3914" y="1402"/>
                  <a:pt x="3914" y="1403"/>
                  <a:pt x="3914" y="1404"/>
                </a:cubicBezTo>
                <a:cubicBezTo>
                  <a:pt x="3914" y="1404"/>
                  <a:pt x="3913" y="1404"/>
                  <a:pt x="3913" y="1404"/>
                </a:cubicBezTo>
                <a:cubicBezTo>
                  <a:pt x="3910" y="1407"/>
                  <a:pt x="3907" y="1408"/>
                  <a:pt x="3897" y="1411"/>
                </a:cubicBezTo>
                <a:cubicBezTo>
                  <a:pt x="3886" y="1415"/>
                  <a:pt x="3883" y="1425"/>
                  <a:pt x="3881" y="1432"/>
                </a:cubicBezTo>
                <a:cubicBezTo>
                  <a:pt x="3880" y="1431"/>
                  <a:pt x="3878" y="1430"/>
                  <a:pt x="3877" y="1429"/>
                </a:cubicBezTo>
                <a:cubicBezTo>
                  <a:pt x="3873" y="1427"/>
                  <a:pt x="3870" y="1424"/>
                  <a:pt x="3864" y="1424"/>
                </a:cubicBezTo>
                <a:cubicBezTo>
                  <a:pt x="3862" y="1424"/>
                  <a:pt x="3859" y="1425"/>
                  <a:pt x="3857" y="1427"/>
                </a:cubicBezTo>
                <a:cubicBezTo>
                  <a:pt x="3854" y="1431"/>
                  <a:pt x="3854" y="1436"/>
                  <a:pt x="3854" y="1441"/>
                </a:cubicBezTo>
                <a:cubicBezTo>
                  <a:pt x="3854" y="1453"/>
                  <a:pt x="3857" y="1471"/>
                  <a:pt x="3863" y="1487"/>
                </a:cubicBezTo>
                <a:cubicBezTo>
                  <a:pt x="3868" y="1499"/>
                  <a:pt x="3876" y="1509"/>
                  <a:pt x="3883" y="1515"/>
                </a:cubicBezTo>
                <a:cubicBezTo>
                  <a:pt x="3891" y="1522"/>
                  <a:pt x="3897" y="1526"/>
                  <a:pt x="3903" y="1527"/>
                </a:cubicBezTo>
                <a:cubicBezTo>
                  <a:pt x="3909" y="1526"/>
                  <a:pt x="3920" y="1527"/>
                  <a:pt x="3927" y="1529"/>
                </a:cubicBezTo>
                <a:cubicBezTo>
                  <a:pt x="3931" y="1530"/>
                  <a:pt x="3938" y="1532"/>
                  <a:pt x="3946" y="1532"/>
                </a:cubicBezTo>
                <a:cubicBezTo>
                  <a:pt x="3950" y="1532"/>
                  <a:pt x="3955" y="1531"/>
                  <a:pt x="3959" y="1529"/>
                </a:cubicBezTo>
                <a:cubicBezTo>
                  <a:pt x="3964" y="1528"/>
                  <a:pt x="3968" y="1523"/>
                  <a:pt x="3968" y="1517"/>
                </a:cubicBezTo>
                <a:cubicBezTo>
                  <a:pt x="3968" y="1517"/>
                  <a:pt x="3968" y="1516"/>
                  <a:pt x="3968" y="1516"/>
                </a:cubicBezTo>
                <a:cubicBezTo>
                  <a:pt x="3968" y="1511"/>
                  <a:pt x="3967" y="1506"/>
                  <a:pt x="3967" y="1501"/>
                </a:cubicBezTo>
                <a:cubicBezTo>
                  <a:pt x="3967" y="1491"/>
                  <a:pt x="3969" y="1482"/>
                  <a:pt x="3975" y="1476"/>
                </a:cubicBezTo>
                <a:cubicBezTo>
                  <a:pt x="3979" y="1472"/>
                  <a:pt x="3984" y="1467"/>
                  <a:pt x="3988" y="1462"/>
                </a:cubicBezTo>
                <a:cubicBezTo>
                  <a:pt x="3992" y="1458"/>
                  <a:pt x="3995" y="1451"/>
                  <a:pt x="3995" y="1444"/>
                </a:cubicBezTo>
                <a:cubicBezTo>
                  <a:pt x="3995" y="1440"/>
                  <a:pt x="3995" y="1437"/>
                  <a:pt x="3993" y="1433"/>
                </a:cubicBezTo>
                <a:cubicBezTo>
                  <a:pt x="3988" y="1419"/>
                  <a:pt x="3981" y="1408"/>
                  <a:pt x="3982" y="1404"/>
                </a:cubicBezTo>
                <a:cubicBezTo>
                  <a:pt x="3982" y="1403"/>
                  <a:pt x="3982" y="1403"/>
                  <a:pt x="3983" y="1402"/>
                </a:cubicBezTo>
                <a:cubicBezTo>
                  <a:pt x="3986" y="1398"/>
                  <a:pt x="3990" y="1396"/>
                  <a:pt x="3994" y="1393"/>
                </a:cubicBezTo>
                <a:cubicBezTo>
                  <a:pt x="3997" y="1390"/>
                  <a:pt x="4002" y="1386"/>
                  <a:pt x="4002" y="1380"/>
                </a:cubicBezTo>
                <a:cubicBezTo>
                  <a:pt x="4002" y="1379"/>
                  <a:pt x="4002" y="1377"/>
                  <a:pt x="4000" y="1375"/>
                </a:cubicBezTo>
                <a:cubicBezTo>
                  <a:pt x="3999" y="1373"/>
                  <a:pt x="3996" y="1373"/>
                  <a:pt x="3995" y="1373"/>
                </a:cubicBezTo>
                <a:cubicBezTo>
                  <a:pt x="3991" y="1373"/>
                  <a:pt x="3990" y="1374"/>
                  <a:pt x="3989" y="1374"/>
                </a:cubicBezTo>
                <a:cubicBezTo>
                  <a:pt x="3987" y="1375"/>
                  <a:pt x="3986" y="1375"/>
                  <a:pt x="3985" y="1375"/>
                </a:cubicBezTo>
                <a:cubicBezTo>
                  <a:pt x="3985" y="1375"/>
                  <a:pt x="3985" y="1375"/>
                  <a:pt x="3985" y="1375"/>
                </a:cubicBezTo>
                <a:cubicBezTo>
                  <a:pt x="3985" y="1375"/>
                  <a:pt x="3985" y="1375"/>
                  <a:pt x="3983" y="1373"/>
                </a:cubicBezTo>
                <a:cubicBezTo>
                  <a:pt x="3982" y="1370"/>
                  <a:pt x="3980" y="1364"/>
                  <a:pt x="3980" y="1353"/>
                </a:cubicBezTo>
                <a:cubicBezTo>
                  <a:pt x="3980" y="1351"/>
                  <a:pt x="3979" y="1349"/>
                  <a:pt x="3977" y="1347"/>
                </a:cubicBezTo>
                <a:cubicBezTo>
                  <a:pt x="3975" y="1345"/>
                  <a:pt x="3973" y="1344"/>
                  <a:pt x="3971" y="1344"/>
                </a:cubicBezTo>
                <a:cubicBezTo>
                  <a:pt x="3965" y="1344"/>
                  <a:pt x="3961" y="1347"/>
                  <a:pt x="3957" y="1351"/>
                </a:cubicBezTo>
                <a:cubicBezTo>
                  <a:pt x="3953" y="1355"/>
                  <a:pt x="3949" y="1359"/>
                  <a:pt x="3948" y="1365"/>
                </a:cubicBezTo>
                <a:cubicBezTo>
                  <a:pt x="3948" y="1366"/>
                  <a:pt x="3948" y="1367"/>
                  <a:pt x="3948" y="1367"/>
                </a:cubicBezTo>
                <a:cubicBezTo>
                  <a:pt x="3948" y="1371"/>
                  <a:pt x="3949" y="1374"/>
                  <a:pt x="3950" y="1376"/>
                </a:cubicBezTo>
                <a:cubicBezTo>
                  <a:pt x="3950" y="1377"/>
                  <a:pt x="3950" y="1377"/>
                  <a:pt x="3951" y="1378"/>
                </a:cubicBezTo>
                <a:cubicBezTo>
                  <a:pt x="3949" y="1378"/>
                  <a:pt x="3947" y="1378"/>
                  <a:pt x="3945" y="1378"/>
                </a:cubicBezTo>
                <a:cubicBezTo>
                  <a:pt x="3932" y="1378"/>
                  <a:pt x="3924" y="1385"/>
                  <a:pt x="3920" y="1392"/>
                </a:cubicBezTo>
                <a:close/>
                <a:moveTo>
                  <a:pt x="4009" y="1068"/>
                </a:moveTo>
                <a:cubicBezTo>
                  <a:pt x="4005" y="1076"/>
                  <a:pt x="4003" y="1085"/>
                  <a:pt x="4003" y="1093"/>
                </a:cubicBezTo>
                <a:cubicBezTo>
                  <a:pt x="4003" y="1096"/>
                  <a:pt x="4003" y="1099"/>
                  <a:pt x="4005" y="1102"/>
                </a:cubicBezTo>
                <a:cubicBezTo>
                  <a:pt x="4006" y="1106"/>
                  <a:pt x="4010" y="1108"/>
                  <a:pt x="4014" y="1108"/>
                </a:cubicBezTo>
                <a:cubicBezTo>
                  <a:pt x="4014" y="1108"/>
                  <a:pt x="4014" y="1108"/>
                  <a:pt x="4015" y="1108"/>
                </a:cubicBezTo>
                <a:cubicBezTo>
                  <a:pt x="4015" y="1108"/>
                  <a:pt x="4015" y="1108"/>
                  <a:pt x="4016" y="1108"/>
                </a:cubicBezTo>
                <a:cubicBezTo>
                  <a:pt x="4025" y="1107"/>
                  <a:pt x="4030" y="1099"/>
                  <a:pt x="4034" y="1091"/>
                </a:cubicBezTo>
                <a:cubicBezTo>
                  <a:pt x="4038" y="1083"/>
                  <a:pt x="4041" y="1073"/>
                  <a:pt x="4041" y="1065"/>
                </a:cubicBezTo>
                <a:cubicBezTo>
                  <a:pt x="4041" y="1062"/>
                  <a:pt x="4041" y="1059"/>
                  <a:pt x="4039" y="1056"/>
                </a:cubicBezTo>
                <a:cubicBezTo>
                  <a:pt x="4038" y="1053"/>
                  <a:pt x="4034" y="1051"/>
                  <a:pt x="4030" y="1051"/>
                </a:cubicBezTo>
                <a:cubicBezTo>
                  <a:pt x="4029" y="1051"/>
                  <a:pt x="4029" y="1051"/>
                  <a:pt x="4028" y="1051"/>
                </a:cubicBezTo>
                <a:cubicBezTo>
                  <a:pt x="4028" y="1051"/>
                  <a:pt x="4028" y="1051"/>
                  <a:pt x="4028" y="1051"/>
                </a:cubicBezTo>
                <a:cubicBezTo>
                  <a:pt x="4019" y="1053"/>
                  <a:pt x="4013" y="1061"/>
                  <a:pt x="4009" y="1068"/>
                </a:cubicBezTo>
                <a:close/>
                <a:moveTo>
                  <a:pt x="3994" y="1206"/>
                </a:moveTo>
                <a:cubicBezTo>
                  <a:pt x="3994" y="1209"/>
                  <a:pt x="3995" y="1213"/>
                  <a:pt x="3997" y="1217"/>
                </a:cubicBezTo>
                <a:cubicBezTo>
                  <a:pt x="3997" y="1217"/>
                  <a:pt x="3997" y="1217"/>
                  <a:pt x="3997" y="1217"/>
                </a:cubicBezTo>
                <a:cubicBezTo>
                  <a:pt x="4001" y="1226"/>
                  <a:pt x="4008" y="1233"/>
                  <a:pt x="4014" y="1238"/>
                </a:cubicBezTo>
                <a:cubicBezTo>
                  <a:pt x="4017" y="1241"/>
                  <a:pt x="4019" y="1244"/>
                  <a:pt x="4021" y="1246"/>
                </a:cubicBezTo>
                <a:cubicBezTo>
                  <a:pt x="4021" y="1246"/>
                  <a:pt x="4022" y="1247"/>
                  <a:pt x="4022" y="1247"/>
                </a:cubicBezTo>
                <a:cubicBezTo>
                  <a:pt x="4017" y="1254"/>
                  <a:pt x="4000" y="1267"/>
                  <a:pt x="3997" y="1282"/>
                </a:cubicBezTo>
                <a:cubicBezTo>
                  <a:pt x="3996" y="1283"/>
                  <a:pt x="3996" y="1284"/>
                  <a:pt x="3996" y="1285"/>
                </a:cubicBezTo>
                <a:cubicBezTo>
                  <a:pt x="3996" y="1286"/>
                  <a:pt x="3997" y="1288"/>
                  <a:pt x="3998" y="1289"/>
                </a:cubicBezTo>
                <a:cubicBezTo>
                  <a:pt x="3999" y="1291"/>
                  <a:pt x="4002" y="1292"/>
                  <a:pt x="4003" y="1292"/>
                </a:cubicBezTo>
                <a:cubicBezTo>
                  <a:pt x="4003" y="1292"/>
                  <a:pt x="4004" y="1292"/>
                  <a:pt x="4004" y="1292"/>
                </a:cubicBezTo>
                <a:cubicBezTo>
                  <a:pt x="4009" y="1292"/>
                  <a:pt x="4011" y="1289"/>
                  <a:pt x="4014" y="1287"/>
                </a:cubicBezTo>
                <a:cubicBezTo>
                  <a:pt x="4024" y="1279"/>
                  <a:pt x="4038" y="1264"/>
                  <a:pt x="4043" y="1255"/>
                </a:cubicBezTo>
                <a:cubicBezTo>
                  <a:pt x="4046" y="1251"/>
                  <a:pt x="4049" y="1250"/>
                  <a:pt x="4054" y="1249"/>
                </a:cubicBezTo>
                <a:cubicBezTo>
                  <a:pt x="4057" y="1249"/>
                  <a:pt x="4060" y="1249"/>
                  <a:pt x="4063" y="1248"/>
                </a:cubicBezTo>
                <a:cubicBezTo>
                  <a:pt x="4065" y="1248"/>
                  <a:pt x="4069" y="1246"/>
                  <a:pt x="4071" y="1242"/>
                </a:cubicBezTo>
                <a:cubicBezTo>
                  <a:pt x="4075" y="1235"/>
                  <a:pt x="4075" y="1235"/>
                  <a:pt x="4075" y="1235"/>
                </a:cubicBezTo>
                <a:cubicBezTo>
                  <a:pt x="4076" y="1233"/>
                  <a:pt x="4076" y="1231"/>
                  <a:pt x="4075" y="1230"/>
                </a:cubicBezTo>
                <a:cubicBezTo>
                  <a:pt x="4074" y="1228"/>
                  <a:pt x="4072" y="1227"/>
                  <a:pt x="4071" y="1226"/>
                </a:cubicBezTo>
                <a:cubicBezTo>
                  <a:pt x="4071" y="1226"/>
                  <a:pt x="4058" y="1224"/>
                  <a:pt x="4048" y="1220"/>
                </a:cubicBezTo>
                <a:cubicBezTo>
                  <a:pt x="4046" y="1219"/>
                  <a:pt x="4044" y="1219"/>
                  <a:pt x="4042" y="1219"/>
                </a:cubicBezTo>
                <a:cubicBezTo>
                  <a:pt x="4039" y="1219"/>
                  <a:pt x="4036" y="1219"/>
                  <a:pt x="4034" y="1220"/>
                </a:cubicBezTo>
                <a:cubicBezTo>
                  <a:pt x="4034" y="1219"/>
                  <a:pt x="4034" y="1218"/>
                  <a:pt x="4035" y="1216"/>
                </a:cubicBezTo>
                <a:cubicBezTo>
                  <a:pt x="4037" y="1207"/>
                  <a:pt x="4041" y="1204"/>
                  <a:pt x="4045" y="1201"/>
                </a:cubicBezTo>
                <a:cubicBezTo>
                  <a:pt x="4049" y="1198"/>
                  <a:pt x="4055" y="1193"/>
                  <a:pt x="4055" y="1184"/>
                </a:cubicBezTo>
                <a:cubicBezTo>
                  <a:pt x="4055" y="1182"/>
                  <a:pt x="4055" y="1181"/>
                  <a:pt x="4054" y="1179"/>
                </a:cubicBezTo>
                <a:cubicBezTo>
                  <a:pt x="4053" y="1169"/>
                  <a:pt x="4048" y="1163"/>
                  <a:pt x="4043" y="1159"/>
                </a:cubicBezTo>
                <a:cubicBezTo>
                  <a:pt x="4038" y="1155"/>
                  <a:pt x="4034" y="1153"/>
                  <a:pt x="4030" y="1153"/>
                </a:cubicBezTo>
                <a:cubicBezTo>
                  <a:pt x="4026" y="1153"/>
                  <a:pt x="4021" y="1157"/>
                  <a:pt x="4021" y="1160"/>
                </a:cubicBezTo>
                <a:cubicBezTo>
                  <a:pt x="4019" y="1169"/>
                  <a:pt x="4022" y="1175"/>
                  <a:pt x="4016" y="1179"/>
                </a:cubicBezTo>
                <a:cubicBezTo>
                  <a:pt x="4012" y="1183"/>
                  <a:pt x="4007" y="1186"/>
                  <a:pt x="4003" y="1190"/>
                </a:cubicBezTo>
                <a:cubicBezTo>
                  <a:pt x="3998" y="1193"/>
                  <a:pt x="3994" y="1199"/>
                  <a:pt x="3994" y="1206"/>
                </a:cubicBezTo>
                <a:close/>
              </a:path>
            </a:pathLst>
          </a:custGeom>
          <a:solidFill>
            <a:schemeClr val="bg1"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  <p:pic>
        <p:nvPicPr>
          <p:cNvPr id="9" name="图形 8"/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0262"/>
          <a:stretch>
            <a:fillRect/>
          </a:stretch>
        </p:blipFill>
        <p:spPr>
          <a:xfrm>
            <a:off x="5784293" y="2336800"/>
            <a:ext cx="5893083" cy="4243512"/>
          </a:xfrm>
          <a:prstGeom prst="rect">
            <a:avLst/>
          </a:prstGeom>
        </p:spPr>
      </p:pic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5065"/>
            <a:ext cx="10845799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1" y="3441300"/>
            <a:ext cx="10845799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30"/>
            <a:ext cx="10845799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任意多边形 9"/>
          <p:cNvSpPr/>
          <p:nvPr userDrawn="1"/>
        </p:nvSpPr>
        <p:spPr>
          <a:xfrm>
            <a:off x="-17148" y="365202"/>
            <a:ext cx="12225601" cy="5516990"/>
          </a:xfrm>
          <a:custGeom>
            <a:avLst/>
            <a:gdLst>
              <a:gd name="connsiteX0" fmla="*/ 56 w 19252"/>
              <a:gd name="connsiteY0" fmla="*/ 8688 h 8688"/>
              <a:gd name="connsiteX1" fmla="*/ 3511 w 19252"/>
              <a:gd name="connsiteY1" fmla="*/ 7533 h 8688"/>
              <a:gd name="connsiteX2" fmla="*/ 9703 w 19252"/>
              <a:gd name="connsiteY2" fmla="*/ 5858 h 8688"/>
              <a:gd name="connsiteX3" fmla="*/ 14571 w 19252"/>
              <a:gd name="connsiteY3" fmla="*/ 7193 h 8688"/>
              <a:gd name="connsiteX4" fmla="*/ 19251 w 19252"/>
              <a:gd name="connsiteY4" fmla="*/ 8213 h 8688"/>
              <a:gd name="connsiteX5" fmla="*/ 19220 w 19252"/>
              <a:gd name="connsiteY5" fmla="*/ 3 h 8688"/>
              <a:gd name="connsiteX6" fmla="*/ 0 w 19252"/>
              <a:gd name="connsiteY6" fmla="*/ 32 h 8688"/>
              <a:gd name="connsiteX7" fmla="*/ 40 w 19252"/>
              <a:gd name="connsiteY7" fmla="*/ 8688 h 8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253" h="8688">
                <a:moveTo>
                  <a:pt x="56" y="8688"/>
                </a:moveTo>
                <a:cubicBezTo>
                  <a:pt x="567" y="8509"/>
                  <a:pt x="1443" y="7555"/>
                  <a:pt x="3511" y="7533"/>
                </a:cubicBezTo>
                <a:cubicBezTo>
                  <a:pt x="5579" y="7511"/>
                  <a:pt x="8658" y="6654"/>
                  <a:pt x="9703" y="5858"/>
                </a:cubicBezTo>
                <a:cubicBezTo>
                  <a:pt x="10748" y="5062"/>
                  <a:pt x="10596" y="7119"/>
                  <a:pt x="14571" y="7193"/>
                </a:cubicBezTo>
                <a:cubicBezTo>
                  <a:pt x="18366" y="7103"/>
                  <a:pt x="19246" y="8208"/>
                  <a:pt x="19251" y="8213"/>
                </a:cubicBezTo>
                <a:cubicBezTo>
                  <a:pt x="19256" y="8218"/>
                  <a:pt x="19253" y="18"/>
                  <a:pt x="19220" y="3"/>
                </a:cubicBezTo>
                <a:cubicBezTo>
                  <a:pt x="19187" y="-12"/>
                  <a:pt x="-2" y="31"/>
                  <a:pt x="0" y="32"/>
                </a:cubicBezTo>
                <a:cubicBezTo>
                  <a:pt x="2" y="33"/>
                  <a:pt x="-4" y="6587"/>
                  <a:pt x="40" y="8688"/>
                </a:cubicBezTo>
              </a:path>
            </a:pathLst>
          </a:custGeom>
          <a:gradFill>
            <a:gsLst>
              <a:gs pos="0">
                <a:srgbClr val="0869CF"/>
              </a:gs>
              <a:gs pos="46000">
                <a:srgbClr val="226AD0"/>
              </a:gs>
              <a:gs pos="100000">
                <a:srgbClr val="095BC9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任意多边形 1"/>
          <p:cNvSpPr/>
          <p:nvPr userDrawn="1"/>
        </p:nvSpPr>
        <p:spPr>
          <a:xfrm>
            <a:off x="11737" y="-69068"/>
            <a:ext cx="12217883" cy="5552875"/>
          </a:xfrm>
          <a:custGeom>
            <a:avLst/>
            <a:gdLst>
              <a:gd name="connsiteX0" fmla="*/ 56 w 19240"/>
              <a:gd name="connsiteY0" fmla="*/ 8688 h 8744"/>
              <a:gd name="connsiteX1" fmla="*/ 3067 w 19240"/>
              <a:gd name="connsiteY1" fmla="*/ 7787 h 8744"/>
              <a:gd name="connsiteX2" fmla="*/ 6637 w 19240"/>
              <a:gd name="connsiteY2" fmla="*/ 8656 h 8744"/>
              <a:gd name="connsiteX3" fmla="*/ 10387 w 19240"/>
              <a:gd name="connsiteY3" fmla="*/ 8446 h 8744"/>
              <a:gd name="connsiteX4" fmla="*/ 15248 w 19240"/>
              <a:gd name="connsiteY4" fmla="*/ 6827 h 8744"/>
              <a:gd name="connsiteX5" fmla="*/ 19233 w 19240"/>
              <a:gd name="connsiteY5" fmla="*/ 7578 h 8744"/>
              <a:gd name="connsiteX6" fmla="*/ 19220 w 19240"/>
              <a:gd name="connsiteY6" fmla="*/ 3 h 8744"/>
              <a:gd name="connsiteX7" fmla="*/ 0 w 19240"/>
              <a:gd name="connsiteY7" fmla="*/ 32 h 8744"/>
              <a:gd name="connsiteX8" fmla="*/ 40 w 19240"/>
              <a:gd name="connsiteY8" fmla="*/ 8688 h 8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241" h="8745">
                <a:moveTo>
                  <a:pt x="56" y="8688"/>
                </a:moveTo>
                <a:cubicBezTo>
                  <a:pt x="567" y="8509"/>
                  <a:pt x="1771" y="7775"/>
                  <a:pt x="3067" y="7787"/>
                </a:cubicBezTo>
                <a:cubicBezTo>
                  <a:pt x="4363" y="7799"/>
                  <a:pt x="5173" y="8524"/>
                  <a:pt x="6637" y="8656"/>
                </a:cubicBezTo>
                <a:cubicBezTo>
                  <a:pt x="8101" y="8788"/>
                  <a:pt x="8665" y="8812"/>
                  <a:pt x="10387" y="8446"/>
                </a:cubicBezTo>
                <a:cubicBezTo>
                  <a:pt x="12109" y="8081"/>
                  <a:pt x="13501" y="7007"/>
                  <a:pt x="15248" y="6827"/>
                </a:cubicBezTo>
                <a:cubicBezTo>
                  <a:pt x="16994" y="6647"/>
                  <a:pt x="19228" y="7573"/>
                  <a:pt x="19233" y="7578"/>
                </a:cubicBezTo>
                <a:cubicBezTo>
                  <a:pt x="19238" y="7583"/>
                  <a:pt x="19253" y="18"/>
                  <a:pt x="19220" y="3"/>
                </a:cubicBezTo>
                <a:cubicBezTo>
                  <a:pt x="19187" y="-12"/>
                  <a:pt x="-2" y="31"/>
                  <a:pt x="0" y="32"/>
                </a:cubicBezTo>
                <a:cubicBezTo>
                  <a:pt x="2" y="33"/>
                  <a:pt x="-4" y="6587"/>
                  <a:pt x="40" y="8688"/>
                </a:cubicBezTo>
              </a:path>
            </a:pathLst>
          </a:custGeom>
          <a:solidFill>
            <a:srgbClr val="A1E2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任意多边形 4"/>
          <p:cNvSpPr/>
          <p:nvPr userDrawn="1"/>
        </p:nvSpPr>
        <p:spPr>
          <a:xfrm>
            <a:off x="-2" y="-50260"/>
            <a:ext cx="12217883" cy="5516990"/>
          </a:xfrm>
          <a:custGeom>
            <a:avLst/>
            <a:gdLst>
              <a:gd name="connsiteX0" fmla="*/ 56 w 19240"/>
              <a:gd name="connsiteY0" fmla="*/ 8688 h 8688"/>
              <a:gd name="connsiteX1" fmla="*/ 3099 w 19240"/>
              <a:gd name="connsiteY1" fmla="*/ 8072 h 8688"/>
              <a:gd name="connsiteX2" fmla="*/ 9337 w 19240"/>
              <a:gd name="connsiteY2" fmla="*/ 7810 h 8688"/>
              <a:gd name="connsiteX3" fmla="*/ 15609 w 19240"/>
              <a:gd name="connsiteY3" fmla="*/ 8104 h 8688"/>
              <a:gd name="connsiteX4" fmla="*/ 19233 w 19240"/>
              <a:gd name="connsiteY4" fmla="*/ 7578 h 8688"/>
              <a:gd name="connsiteX5" fmla="*/ 19220 w 19240"/>
              <a:gd name="connsiteY5" fmla="*/ 3 h 8688"/>
              <a:gd name="connsiteX6" fmla="*/ 0 w 19240"/>
              <a:gd name="connsiteY6" fmla="*/ 32 h 8688"/>
              <a:gd name="connsiteX7" fmla="*/ 40 w 19240"/>
              <a:gd name="connsiteY7" fmla="*/ 8688 h 8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241" h="8688">
                <a:moveTo>
                  <a:pt x="56" y="8688"/>
                </a:moveTo>
                <a:cubicBezTo>
                  <a:pt x="567" y="8509"/>
                  <a:pt x="1372" y="7844"/>
                  <a:pt x="3099" y="8072"/>
                </a:cubicBezTo>
                <a:cubicBezTo>
                  <a:pt x="4826" y="8300"/>
                  <a:pt x="7656" y="8924"/>
                  <a:pt x="9337" y="7810"/>
                </a:cubicBezTo>
                <a:cubicBezTo>
                  <a:pt x="11018" y="6696"/>
                  <a:pt x="13813" y="8173"/>
                  <a:pt x="15609" y="8104"/>
                </a:cubicBezTo>
                <a:cubicBezTo>
                  <a:pt x="17746" y="8014"/>
                  <a:pt x="19228" y="7573"/>
                  <a:pt x="19233" y="7578"/>
                </a:cubicBezTo>
                <a:cubicBezTo>
                  <a:pt x="19238" y="7583"/>
                  <a:pt x="19253" y="18"/>
                  <a:pt x="19220" y="3"/>
                </a:cubicBezTo>
                <a:cubicBezTo>
                  <a:pt x="19187" y="-12"/>
                  <a:pt x="-2" y="31"/>
                  <a:pt x="0" y="32"/>
                </a:cubicBezTo>
                <a:cubicBezTo>
                  <a:pt x="2" y="33"/>
                  <a:pt x="-4" y="6587"/>
                  <a:pt x="40" y="8688"/>
                </a:cubicBezTo>
              </a:path>
            </a:pathLst>
          </a:custGeom>
          <a:gradFill>
            <a:gsLst>
              <a:gs pos="51000">
                <a:srgbClr val="0789DF"/>
              </a:gs>
              <a:gs pos="0">
                <a:srgbClr val="095BC9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Freeform 113"/>
          <p:cNvSpPr>
            <a:spLocks noEditPoints="1"/>
          </p:cNvSpPr>
          <p:nvPr userDrawn="1"/>
        </p:nvSpPr>
        <p:spPr bwMode="auto">
          <a:xfrm>
            <a:off x="699662" y="751842"/>
            <a:ext cx="11069536" cy="5442156"/>
          </a:xfrm>
          <a:custGeom>
            <a:avLst/>
            <a:gdLst>
              <a:gd name="T0" fmla="*/ 1302 w 4832"/>
              <a:gd name="T1" fmla="*/ 472 h 2374"/>
              <a:gd name="T2" fmla="*/ 92 w 4832"/>
              <a:gd name="T3" fmla="*/ 600 h 2374"/>
              <a:gd name="T4" fmla="*/ 1495 w 4832"/>
              <a:gd name="T5" fmla="*/ 1292 h 2374"/>
              <a:gd name="T6" fmla="*/ 1140 w 4832"/>
              <a:gd name="T7" fmla="*/ 1152 h 2374"/>
              <a:gd name="T8" fmla="*/ 1388 w 4832"/>
              <a:gd name="T9" fmla="*/ 822 h 2374"/>
              <a:gd name="T10" fmla="*/ 1513 w 4832"/>
              <a:gd name="T11" fmla="*/ 658 h 2374"/>
              <a:gd name="T12" fmla="*/ 1510 w 4832"/>
              <a:gd name="T13" fmla="*/ 476 h 2374"/>
              <a:gd name="T14" fmla="*/ 1245 w 4832"/>
              <a:gd name="T15" fmla="*/ 556 h 2374"/>
              <a:gd name="T16" fmla="*/ 1284 w 4832"/>
              <a:gd name="T17" fmla="*/ 342 h 2374"/>
              <a:gd name="T18" fmla="*/ 1483 w 4832"/>
              <a:gd name="T19" fmla="*/ 457 h 2374"/>
              <a:gd name="T20" fmla="*/ 1210 w 4832"/>
              <a:gd name="T21" fmla="*/ 260 h 2374"/>
              <a:gd name="T22" fmla="*/ 1115 w 4832"/>
              <a:gd name="T23" fmla="*/ 248 h 2374"/>
              <a:gd name="T24" fmla="*/ 972 w 4832"/>
              <a:gd name="T25" fmla="*/ 264 h 2374"/>
              <a:gd name="T26" fmla="*/ 897 w 4832"/>
              <a:gd name="T27" fmla="*/ 188 h 2374"/>
              <a:gd name="T28" fmla="*/ 782 w 4832"/>
              <a:gd name="T29" fmla="*/ 326 h 2374"/>
              <a:gd name="T30" fmla="*/ 208 w 4832"/>
              <a:gd name="T31" fmla="*/ 312 h 2374"/>
              <a:gd name="T32" fmla="*/ 196 w 4832"/>
              <a:gd name="T33" fmla="*/ 519 h 2374"/>
              <a:gd name="T34" fmla="*/ 417 w 4832"/>
              <a:gd name="T35" fmla="*/ 484 h 2374"/>
              <a:gd name="T36" fmla="*/ 813 w 4832"/>
              <a:gd name="T37" fmla="*/ 1027 h 2374"/>
              <a:gd name="T38" fmla="*/ 1225 w 4832"/>
              <a:gd name="T39" fmla="*/ 1313 h 2374"/>
              <a:gd name="T40" fmla="*/ 1402 w 4832"/>
              <a:gd name="T41" fmla="*/ 1972 h 2374"/>
              <a:gd name="T42" fmla="*/ 1500 w 4832"/>
              <a:gd name="T43" fmla="*/ 2229 h 2374"/>
              <a:gd name="T44" fmla="*/ 1858 w 4832"/>
              <a:gd name="T45" fmla="*/ 1697 h 2374"/>
              <a:gd name="T46" fmla="*/ 1242 w 4832"/>
              <a:gd name="T47" fmla="*/ 708 h 2374"/>
              <a:gd name="T48" fmla="*/ 1197 w 4832"/>
              <a:gd name="T49" fmla="*/ 354 h 2374"/>
              <a:gd name="T50" fmla="*/ 1678 w 4832"/>
              <a:gd name="T51" fmla="*/ 1473 h 2374"/>
              <a:gd name="T52" fmla="*/ 4069 w 4832"/>
              <a:gd name="T53" fmla="*/ 1312 h 2374"/>
              <a:gd name="T54" fmla="*/ 4372 w 4832"/>
              <a:gd name="T55" fmla="*/ 1753 h 2374"/>
              <a:gd name="T56" fmla="*/ 4278 w 4832"/>
              <a:gd name="T57" fmla="*/ 1604 h 2374"/>
              <a:gd name="T58" fmla="*/ 3915 w 4832"/>
              <a:gd name="T59" fmla="*/ 1902 h 2374"/>
              <a:gd name="T60" fmla="*/ 4355 w 4832"/>
              <a:gd name="T61" fmla="*/ 2105 h 2374"/>
              <a:gd name="T62" fmla="*/ 4769 w 4832"/>
              <a:gd name="T63" fmla="*/ 2066 h 2374"/>
              <a:gd name="T64" fmla="*/ 2422 w 4832"/>
              <a:gd name="T65" fmla="*/ 804 h 2374"/>
              <a:gd name="T66" fmla="*/ 4823 w 4832"/>
              <a:gd name="T67" fmla="*/ 362 h 2374"/>
              <a:gd name="T68" fmla="*/ 4216 w 4832"/>
              <a:gd name="T69" fmla="*/ 296 h 2374"/>
              <a:gd name="T70" fmla="*/ 3529 w 4832"/>
              <a:gd name="T71" fmla="*/ 259 h 2374"/>
              <a:gd name="T72" fmla="*/ 3291 w 4832"/>
              <a:gd name="T73" fmla="*/ 342 h 2374"/>
              <a:gd name="T74" fmla="*/ 2474 w 4832"/>
              <a:gd name="T75" fmla="*/ 531 h 2374"/>
              <a:gd name="T76" fmla="*/ 2305 w 4832"/>
              <a:gd name="T77" fmla="*/ 617 h 2374"/>
              <a:gd name="T78" fmla="*/ 2144 w 4832"/>
              <a:gd name="T79" fmla="*/ 1215 h 2374"/>
              <a:gd name="T80" fmla="*/ 2625 w 4832"/>
              <a:gd name="T81" fmla="*/ 2014 h 2374"/>
              <a:gd name="T82" fmla="*/ 2980 w 4832"/>
              <a:gd name="T83" fmla="*/ 1294 h 2374"/>
              <a:gd name="T84" fmla="*/ 3319 w 4832"/>
              <a:gd name="T85" fmla="*/ 1093 h 2374"/>
              <a:gd name="T86" fmla="*/ 3704 w 4832"/>
              <a:gd name="T87" fmla="*/ 1197 h 2374"/>
              <a:gd name="T88" fmla="*/ 3889 w 4832"/>
              <a:gd name="T89" fmla="*/ 1144 h 2374"/>
              <a:gd name="T90" fmla="*/ 4171 w 4832"/>
              <a:gd name="T91" fmla="*/ 771 h 2374"/>
              <a:gd name="T92" fmla="*/ 4460 w 4832"/>
              <a:gd name="T93" fmla="*/ 517 h 2374"/>
              <a:gd name="T94" fmla="*/ 2804 w 4832"/>
              <a:gd name="T95" fmla="*/ 472 h 2374"/>
              <a:gd name="T96" fmla="*/ 2604 w 4832"/>
              <a:gd name="T97" fmla="*/ 555 h 2374"/>
              <a:gd name="T98" fmla="*/ 2520 w 4832"/>
              <a:gd name="T99" fmla="*/ 531 h 2374"/>
              <a:gd name="T100" fmla="*/ 2577 w 4832"/>
              <a:gd name="T101" fmla="*/ 935 h 2374"/>
              <a:gd name="T102" fmla="*/ 2607 w 4832"/>
              <a:gd name="T103" fmla="*/ 851 h 2374"/>
              <a:gd name="T104" fmla="*/ 2929 w 4832"/>
              <a:gd name="T105" fmla="*/ 1150 h 2374"/>
              <a:gd name="T106" fmla="*/ 3433 w 4832"/>
              <a:gd name="T107" fmla="*/ 335 h 2374"/>
              <a:gd name="T108" fmla="*/ 2048 w 4832"/>
              <a:gd name="T109" fmla="*/ 113 h 2374"/>
              <a:gd name="T110" fmla="*/ 1424 w 4832"/>
              <a:gd name="T111" fmla="*/ 188 h 2374"/>
              <a:gd name="T112" fmla="*/ 1778 w 4832"/>
              <a:gd name="T113" fmla="*/ 447 h 2374"/>
              <a:gd name="T114" fmla="*/ 1978 w 4832"/>
              <a:gd name="T115" fmla="*/ 315 h 2374"/>
              <a:gd name="T116" fmla="*/ 3020 w 4832"/>
              <a:gd name="T117" fmla="*/ 1881 h 2374"/>
              <a:gd name="T118" fmla="*/ 1328 w 4832"/>
              <a:gd name="T119" fmla="*/ 1167 h 2374"/>
              <a:gd name="T120" fmla="*/ 3863 w 4832"/>
              <a:gd name="T121" fmla="*/ 1594 h 2374"/>
              <a:gd name="T122" fmla="*/ 4308 w 4832"/>
              <a:gd name="T123" fmla="*/ 812 h 2374"/>
              <a:gd name="T124" fmla="*/ 3980 w 4832"/>
              <a:gd name="T125" fmla="*/ 1353 h 2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32" h="2374">
                <a:moveTo>
                  <a:pt x="3080" y="309"/>
                </a:moveTo>
                <a:cubicBezTo>
                  <a:pt x="3080" y="309"/>
                  <a:pt x="3080" y="309"/>
                  <a:pt x="3080" y="309"/>
                </a:cubicBezTo>
                <a:cubicBezTo>
                  <a:pt x="3088" y="312"/>
                  <a:pt x="3102" y="313"/>
                  <a:pt x="3113" y="320"/>
                </a:cubicBezTo>
                <a:cubicBezTo>
                  <a:pt x="3121" y="325"/>
                  <a:pt x="3131" y="328"/>
                  <a:pt x="3140" y="328"/>
                </a:cubicBezTo>
                <a:cubicBezTo>
                  <a:pt x="3140" y="328"/>
                  <a:pt x="3140" y="328"/>
                  <a:pt x="3140" y="328"/>
                </a:cubicBezTo>
                <a:cubicBezTo>
                  <a:pt x="3148" y="328"/>
                  <a:pt x="3155" y="326"/>
                  <a:pt x="3160" y="320"/>
                </a:cubicBezTo>
                <a:cubicBezTo>
                  <a:pt x="3163" y="316"/>
                  <a:pt x="3165" y="312"/>
                  <a:pt x="3165" y="307"/>
                </a:cubicBezTo>
                <a:cubicBezTo>
                  <a:pt x="3165" y="303"/>
                  <a:pt x="3163" y="299"/>
                  <a:pt x="3161" y="295"/>
                </a:cubicBezTo>
                <a:cubicBezTo>
                  <a:pt x="3159" y="292"/>
                  <a:pt x="3156" y="289"/>
                  <a:pt x="3152" y="288"/>
                </a:cubicBezTo>
                <a:cubicBezTo>
                  <a:pt x="3152" y="288"/>
                  <a:pt x="3152" y="288"/>
                  <a:pt x="3152" y="288"/>
                </a:cubicBezTo>
                <a:cubicBezTo>
                  <a:pt x="3152" y="287"/>
                  <a:pt x="3152" y="287"/>
                  <a:pt x="3152" y="286"/>
                </a:cubicBezTo>
                <a:cubicBezTo>
                  <a:pt x="3152" y="285"/>
                  <a:pt x="3153" y="281"/>
                  <a:pt x="3160" y="277"/>
                </a:cubicBezTo>
                <a:cubicBezTo>
                  <a:pt x="3175" y="267"/>
                  <a:pt x="3191" y="255"/>
                  <a:pt x="3206" y="253"/>
                </a:cubicBezTo>
                <a:cubicBezTo>
                  <a:pt x="3215" y="251"/>
                  <a:pt x="3231" y="250"/>
                  <a:pt x="3245" y="250"/>
                </a:cubicBezTo>
                <a:cubicBezTo>
                  <a:pt x="3257" y="250"/>
                  <a:pt x="3269" y="251"/>
                  <a:pt x="3273" y="253"/>
                </a:cubicBezTo>
                <a:cubicBezTo>
                  <a:pt x="3275" y="253"/>
                  <a:pt x="3277" y="253"/>
                  <a:pt x="3279" y="253"/>
                </a:cubicBezTo>
                <a:cubicBezTo>
                  <a:pt x="3288" y="253"/>
                  <a:pt x="3297" y="247"/>
                  <a:pt x="3304" y="241"/>
                </a:cubicBezTo>
                <a:cubicBezTo>
                  <a:pt x="3312" y="235"/>
                  <a:pt x="3318" y="228"/>
                  <a:pt x="3321" y="222"/>
                </a:cubicBezTo>
                <a:cubicBezTo>
                  <a:pt x="3322" y="220"/>
                  <a:pt x="3322" y="218"/>
                  <a:pt x="3322" y="216"/>
                </a:cubicBezTo>
                <a:cubicBezTo>
                  <a:pt x="3322" y="211"/>
                  <a:pt x="3319" y="207"/>
                  <a:pt x="3315" y="205"/>
                </a:cubicBezTo>
                <a:cubicBezTo>
                  <a:pt x="3311" y="203"/>
                  <a:pt x="3307" y="202"/>
                  <a:pt x="3302" y="202"/>
                </a:cubicBezTo>
                <a:cubicBezTo>
                  <a:pt x="3296" y="202"/>
                  <a:pt x="3289" y="204"/>
                  <a:pt x="3285" y="210"/>
                </a:cubicBezTo>
                <a:cubicBezTo>
                  <a:pt x="3285" y="213"/>
                  <a:pt x="3274" y="216"/>
                  <a:pt x="3263" y="216"/>
                </a:cubicBezTo>
                <a:cubicBezTo>
                  <a:pt x="3255" y="216"/>
                  <a:pt x="3247" y="214"/>
                  <a:pt x="3245" y="214"/>
                </a:cubicBezTo>
                <a:cubicBezTo>
                  <a:pt x="3243" y="213"/>
                  <a:pt x="3242" y="213"/>
                  <a:pt x="3240" y="213"/>
                </a:cubicBezTo>
                <a:cubicBezTo>
                  <a:pt x="3232" y="213"/>
                  <a:pt x="3217" y="216"/>
                  <a:pt x="3202" y="218"/>
                </a:cubicBezTo>
                <a:cubicBezTo>
                  <a:pt x="3188" y="221"/>
                  <a:pt x="3173" y="224"/>
                  <a:pt x="3169" y="224"/>
                </a:cubicBezTo>
                <a:cubicBezTo>
                  <a:pt x="3160" y="224"/>
                  <a:pt x="3155" y="230"/>
                  <a:pt x="3151" y="235"/>
                </a:cubicBezTo>
                <a:cubicBezTo>
                  <a:pt x="3146" y="241"/>
                  <a:pt x="3141" y="246"/>
                  <a:pt x="3134" y="250"/>
                </a:cubicBezTo>
                <a:cubicBezTo>
                  <a:pt x="3118" y="258"/>
                  <a:pt x="3096" y="270"/>
                  <a:pt x="3088" y="274"/>
                </a:cubicBezTo>
                <a:cubicBezTo>
                  <a:pt x="3080" y="279"/>
                  <a:pt x="3074" y="289"/>
                  <a:pt x="3073" y="299"/>
                </a:cubicBezTo>
                <a:cubicBezTo>
                  <a:pt x="3073" y="302"/>
                  <a:pt x="3075" y="307"/>
                  <a:pt x="3080" y="309"/>
                </a:cubicBezTo>
                <a:close/>
                <a:moveTo>
                  <a:pt x="969" y="199"/>
                </a:moveTo>
                <a:cubicBezTo>
                  <a:pt x="977" y="199"/>
                  <a:pt x="989" y="196"/>
                  <a:pt x="995" y="196"/>
                </a:cubicBezTo>
                <a:cubicBezTo>
                  <a:pt x="995" y="196"/>
                  <a:pt x="995" y="196"/>
                  <a:pt x="995" y="196"/>
                </a:cubicBezTo>
                <a:cubicBezTo>
                  <a:pt x="995" y="200"/>
                  <a:pt x="995" y="199"/>
                  <a:pt x="996" y="201"/>
                </a:cubicBezTo>
                <a:cubicBezTo>
                  <a:pt x="999" y="206"/>
                  <a:pt x="1003" y="208"/>
                  <a:pt x="1009" y="209"/>
                </a:cubicBezTo>
                <a:cubicBezTo>
                  <a:pt x="1019" y="210"/>
                  <a:pt x="1024" y="213"/>
                  <a:pt x="1031" y="213"/>
                </a:cubicBezTo>
                <a:cubicBezTo>
                  <a:pt x="1031" y="213"/>
                  <a:pt x="1032" y="213"/>
                  <a:pt x="1032" y="213"/>
                </a:cubicBezTo>
                <a:cubicBezTo>
                  <a:pt x="1035" y="213"/>
                  <a:pt x="1038" y="211"/>
                  <a:pt x="1039" y="209"/>
                </a:cubicBezTo>
                <a:cubicBezTo>
                  <a:pt x="1041" y="206"/>
                  <a:pt x="1041" y="204"/>
                  <a:pt x="1041" y="202"/>
                </a:cubicBezTo>
                <a:cubicBezTo>
                  <a:pt x="1041" y="195"/>
                  <a:pt x="1039" y="189"/>
                  <a:pt x="1035" y="183"/>
                </a:cubicBezTo>
                <a:cubicBezTo>
                  <a:pt x="1032" y="179"/>
                  <a:pt x="1031" y="177"/>
                  <a:pt x="1028" y="174"/>
                </a:cubicBezTo>
                <a:cubicBezTo>
                  <a:pt x="1024" y="172"/>
                  <a:pt x="1021" y="171"/>
                  <a:pt x="1014" y="169"/>
                </a:cubicBezTo>
                <a:cubicBezTo>
                  <a:pt x="1004" y="165"/>
                  <a:pt x="994" y="164"/>
                  <a:pt x="985" y="164"/>
                </a:cubicBezTo>
                <a:cubicBezTo>
                  <a:pt x="981" y="164"/>
                  <a:pt x="978" y="165"/>
                  <a:pt x="975" y="165"/>
                </a:cubicBezTo>
                <a:cubicBezTo>
                  <a:pt x="971" y="165"/>
                  <a:pt x="966" y="165"/>
                  <a:pt x="960" y="166"/>
                </a:cubicBezTo>
                <a:cubicBezTo>
                  <a:pt x="955" y="167"/>
                  <a:pt x="949" y="173"/>
                  <a:pt x="948" y="181"/>
                </a:cubicBezTo>
                <a:cubicBezTo>
                  <a:pt x="948" y="182"/>
                  <a:pt x="948" y="182"/>
                  <a:pt x="948" y="183"/>
                </a:cubicBezTo>
                <a:cubicBezTo>
                  <a:pt x="948" y="194"/>
                  <a:pt x="959" y="199"/>
                  <a:pt x="969" y="199"/>
                </a:cubicBezTo>
                <a:close/>
                <a:moveTo>
                  <a:pt x="1296" y="449"/>
                </a:moveTo>
                <a:cubicBezTo>
                  <a:pt x="1294" y="449"/>
                  <a:pt x="1292" y="449"/>
                  <a:pt x="1290" y="450"/>
                </a:cubicBezTo>
                <a:cubicBezTo>
                  <a:pt x="1290" y="450"/>
                  <a:pt x="1290" y="450"/>
                  <a:pt x="1290" y="450"/>
                </a:cubicBezTo>
                <a:cubicBezTo>
                  <a:pt x="1285" y="452"/>
                  <a:pt x="1281" y="455"/>
                  <a:pt x="1281" y="461"/>
                </a:cubicBezTo>
                <a:cubicBezTo>
                  <a:pt x="1282" y="470"/>
                  <a:pt x="1289" y="473"/>
                  <a:pt x="1296" y="474"/>
                </a:cubicBezTo>
                <a:cubicBezTo>
                  <a:pt x="1298" y="474"/>
                  <a:pt x="1300" y="473"/>
                  <a:pt x="1302" y="472"/>
                </a:cubicBezTo>
                <a:cubicBezTo>
                  <a:pt x="1306" y="470"/>
                  <a:pt x="1309" y="466"/>
                  <a:pt x="1309" y="461"/>
                </a:cubicBezTo>
                <a:cubicBezTo>
                  <a:pt x="1309" y="458"/>
                  <a:pt x="1308" y="455"/>
                  <a:pt x="1305" y="452"/>
                </a:cubicBezTo>
                <a:cubicBezTo>
                  <a:pt x="1303" y="450"/>
                  <a:pt x="1300" y="449"/>
                  <a:pt x="1296" y="449"/>
                </a:cubicBezTo>
                <a:close/>
                <a:moveTo>
                  <a:pt x="1480" y="1152"/>
                </a:move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71" y="1152"/>
                  <a:pt x="1469" y="1162"/>
                  <a:pt x="1469" y="1169"/>
                </a:cubicBezTo>
                <a:cubicBezTo>
                  <a:pt x="1469" y="1173"/>
                  <a:pt x="1470" y="1177"/>
                  <a:pt x="1472" y="1181"/>
                </a:cubicBezTo>
                <a:cubicBezTo>
                  <a:pt x="1474" y="1184"/>
                  <a:pt x="1478" y="1188"/>
                  <a:pt x="1483" y="1188"/>
                </a:cubicBezTo>
                <a:cubicBezTo>
                  <a:pt x="1483" y="1188"/>
                  <a:pt x="1483" y="1188"/>
                  <a:pt x="1483" y="1188"/>
                </a:cubicBezTo>
                <a:cubicBezTo>
                  <a:pt x="1485" y="1188"/>
                  <a:pt x="1486" y="1187"/>
                  <a:pt x="1488" y="1186"/>
                </a:cubicBezTo>
                <a:cubicBezTo>
                  <a:pt x="1495" y="1184"/>
                  <a:pt x="1499" y="1176"/>
                  <a:pt x="1499" y="1170"/>
                </a:cubicBezTo>
                <a:cubicBezTo>
                  <a:pt x="1499" y="1162"/>
                  <a:pt x="1494" y="1152"/>
                  <a:pt x="1483" y="1152"/>
                </a:cubicBezTo>
                <a:cubicBezTo>
                  <a:pt x="1482" y="1152"/>
                  <a:pt x="1481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lose/>
                <a:moveTo>
                  <a:pt x="54" y="612"/>
                </a:moveTo>
                <a:cubicBezTo>
                  <a:pt x="51" y="611"/>
                  <a:pt x="38" y="605"/>
                  <a:pt x="38" y="605"/>
                </a:cubicBezTo>
                <a:cubicBezTo>
                  <a:pt x="37" y="605"/>
                  <a:pt x="37" y="605"/>
                  <a:pt x="37" y="605"/>
                </a:cubicBezTo>
                <a:cubicBezTo>
                  <a:pt x="33" y="604"/>
                  <a:pt x="30" y="604"/>
                  <a:pt x="26" y="604"/>
                </a:cubicBezTo>
                <a:cubicBezTo>
                  <a:pt x="21" y="604"/>
                  <a:pt x="16" y="605"/>
                  <a:pt x="12" y="606"/>
                </a:cubicBezTo>
                <a:cubicBezTo>
                  <a:pt x="7" y="607"/>
                  <a:pt x="3" y="609"/>
                  <a:pt x="0" y="614"/>
                </a:cubicBezTo>
                <a:cubicBezTo>
                  <a:pt x="0" y="615"/>
                  <a:pt x="0" y="616"/>
                  <a:pt x="0" y="617"/>
                </a:cubicBezTo>
                <a:cubicBezTo>
                  <a:pt x="0" y="622"/>
                  <a:pt x="2" y="624"/>
                  <a:pt x="4" y="626"/>
                </a:cubicBezTo>
                <a:cubicBezTo>
                  <a:pt x="11" y="630"/>
                  <a:pt x="20" y="632"/>
                  <a:pt x="28" y="632"/>
                </a:cubicBezTo>
                <a:cubicBezTo>
                  <a:pt x="33" y="632"/>
                  <a:pt x="40" y="630"/>
                  <a:pt x="45" y="628"/>
                </a:cubicBezTo>
                <a:cubicBezTo>
                  <a:pt x="48" y="627"/>
                  <a:pt x="50" y="627"/>
                  <a:pt x="53" y="626"/>
                </a:cubicBezTo>
                <a:cubicBezTo>
                  <a:pt x="54" y="625"/>
                  <a:pt x="54" y="624"/>
                  <a:pt x="55" y="624"/>
                </a:cubicBezTo>
                <a:cubicBezTo>
                  <a:pt x="56" y="623"/>
                  <a:pt x="58" y="622"/>
                  <a:pt x="59" y="618"/>
                </a:cubicBezTo>
                <a:cubicBezTo>
                  <a:pt x="59" y="614"/>
                  <a:pt x="55" y="612"/>
                  <a:pt x="54" y="612"/>
                </a:cubicBezTo>
                <a:close/>
                <a:moveTo>
                  <a:pt x="1421" y="1133"/>
                </a:moveTo>
                <a:cubicBezTo>
                  <a:pt x="1413" y="1133"/>
                  <a:pt x="1406" y="1135"/>
                  <a:pt x="1402" y="1135"/>
                </a:cubicBezTo>
                <a:cubicBezTo>
                  <a:pt x="1395" y="1137"/>
                  <a:pt x="1389" y="1143"/>
                  <a:pt x="1383" y="1148"/>
                </a:cubicBezTo>
                <a:cubicBezTo>
                  <a:pt x="1377" y="1154"/>
                  <a:pt x="1372" y="1159"/>
                  <a:pt x="1372" y="1159"/>
                </a:cubicBezTo>
                <a:cubicBezTo>
                  <a:pt x="1371" y="1161"/>
                  <a:pt x="1370" y="1163"/>
                  <a:pt x="1371" y="1165"/>
                </a:cubicBezTo>
                <a:cubicBezTo>
                  <a:pt x="1371" y="1167"/>
                  <a:pt x="1373" y="1169"/>
                  <a:pt x="1375" y="1169"/>
                </a:cubicBezTo>
                <a:cubicBezTo>
                  <a:pt x="1376" y="1169"/>
                  <a:pt x="1388" y="1172"/>
                  <a:pt x="1397" y="1172"/>
                </a:cubicBezTo>
                <a:cubicBezTo>
                  <a:pt x="1402" y="1172"/>
                  <a:pt x="1406" y="1176"/>
                  <a:pt x="1414" y="1181"/>
                </a:cubicBezTo>
                <a:cubicBezTo>
                  <a:pt x="1416" y="1182"/>
                  <a:pt x="1419" y="1183"/>
                  <a:pt x="1421" y="1183"/>
                </a:cubicBezTo>
                <a:cubicBezTo>
                  <a:pt x="1426" y="1183"/>
                  <a:pt x="1431" y="1181"/>
                  <a:pt x="1435" y="1179"/>
                </a:cubicBezTo>
                <a:cubicBezTo>
                  <a:pt x="1437" y="1178"/>
                  <a:pt x="1438" y="1178"/>
                  <a:pt x="1440" y="1177"/>
                </a:cubicBezTo>
                <a:cubicBezTo>
                  <a:pt x="1440" y="1177"/>
                  <a:pt x="1440" y="1177"/>
                  <a:pt x="1440" y="1177"/>
                </a:cubicBezTo>
                <a:cubicBezTo>
                  <a:pt x="1441" y="1177"/>
                  <a:pt x="1441" y="1178"/>
                  <a:pt x="1442" y="1179"/>
                </a:cubicBezTo>
                <a:cubicBezTo>
                  <a:pt x="1444" y="1180"/>
                  <a:pt x="1444" y="1183"/>
                  <a:pt x="1450" y="1183"/>
                </a:cubicBezTo>
                <a:cubicBezTo>
                  <a:pt x="1454" y="1183"/>
                  <a:pt x="1457" y="1179"/>
                  <a:pt x="1457" y="1178"/>
                </a:cubicBezTo>
                <a:cubicBezTo>
                  <a:pt x="1458" y="1175"/>
                  <a:pt x="1458" y="1173"/>
                  <a:pt x="1459" y="1169"/>
                </a:cubicBezTo>
                <a:cubicBezTo>
                  <a:pt x="1459" y="1169"/>
                  <a:pt x="1459" y="1168"/>
                  <a:pt x="1459" y="1167"/>
                </a:cubicBezTo>
                <a:cubicBezTo>
                  <a:pt x="1458" y="1146"/>
                  <a:pt x="1441" y="1137"/>
                  <a:pt x="1431" y="1134"/>
                </a:cubicBezTo>
                <a:cubicBezTo>
                  <a:pt x="1428" y="1133"/>
                  <a:pt x="1424" y="1133"/>
                  <a:pt x="1421" y="1133"/>
                </a:cubicBezTo>
                <a:close/>
                <a:moveTo>
                  <a:pt x="128" y="575"/>
                </a:moveTo>
                <a:cubicBezTo>
                  <a:pt x="128" y="575"/>
                  <a:pt x="128" y="575"/>
                  <a:pt x="128" y="575"/>
                </a:cubicBezTo>
                <a:cubicBezTo>
                  <a:pt x="124" y="574"/>
                  <a:pt x="124" y="574"/>
                  <a:pt x="122" y="574"/>
                </a:cubicBezTo>
                <a:cubicBezTo>
                  <a:pt x="118" y="573"/>
                  <a:pt x="114" y="577"/>
                  <a:pt x="113" y="580"/>
                </a:cubicBezTo>
                <a:cubicBezTo>
                  <a:pt x="111" y="584"/>
                  <a:pt x="110" y="588"/>
                  <a:pt x="109" y="591"/>
                </a:cubicBezTo>
                <a:cubicBezTo>
                  <a:pt x="108" y="594"/>
                  <a:pt x="107" y="595"/>
                  <a:pt x="106" y="595"/>
                </a:cubicBezTo>
                <a:cubicBezTo>
                  <a:pt x="101" y="596"/>
                  <a:pt x="96" y="598"/>
                  <a:pt x="92" y="600"/>
                </a:cubicBezTo>
                <a:cubicBezTo>
                  <a:pt x="90" y="601"/>
                  <a:pt x="88" y="602"/>
                  <a:pt x="86" y="604"/>
                </a:cubicBezTo>
                <a:cubicBezTo>
                  <a:pt x="85" y="605"/>
                  <a:pt x="82" y="607"/>
                  <a:pt x="82" y="611"/>
                </a:cubicBezTo>
                <a:cubicBezTo>
                  <a:pt x="82" y="613"/>
                  <a:pt x="84" y="616"/>
                  <a:pt x="85" y="617"/>
                </a:cubicBezTo>
                <a:cubicBezTo>
                  <a:pt x="87" y="618"/>
                  <a:pt x="88" y="619"/>
                  <a:pt x="89" y="619"/>
                </a:cubicBezTo>
                <a:cubicBezTo>
                  <a:pt x="92" y="620"/>
                  <a:pt x="96" y="620"/>
                  <a:pt x="99" y="620"/>
                </a:cubicBezTo>
                <a:cubicBezTo>
                  <a:pt x="104" y="620"/>
                  <a:pt x="110" y="620"/>
                  <a:pt x="116" y="618"/>
                </a:cubicBezTo>
                <a:cubicBezTo>
                  <a:pt x="121" y="616"/>
                  <a:pt x="125" y="616"/>
                  <a:pt x="129" y="611"/>
                </a:cubicBezTo>
                <a:cubicBezTo>
                  <a:pt x="130" y="608"/>
                  <a:pt x="131" y="605"/>
                  <a:pt x="131" y="601"/>
                </a:cubicBezTo>
                <a:cubicBezTo>
                  <a:pt x="132" y="597"/>
                  <a:pt x="132" y="592"/>
                  <a:pt x="132" y="588"/>
                </a:cubicBezTo>
                <a:cubicBezTo>
                  <a:pt x="132" y="586"/>
                  <a:pt x="133" y="584"/>
                  <a:pt x="132" y="582"/>
                </a:cubicBezTo>
                <a:cubicBezTo>
                  <a:pt x="132" y="580"/>
                  <a:pt x="132" y="577"/>
                  <a:pt x="128" y="575"/>
                </a:cubicBezTo>
                <a:close/>
                <a:moveTo>
                  <a:pt x="1894" y="1537"/>
                </a:moveTo>
                <a:cubicBezTo>
                  <a:pt x="1894" y="1537"/>
                  <a:pt x="1894" y="1537"/>
                  <a:pt x="1894" y="1537"/>
                </a:cubicBezTo>
                <a:cubicBezTo>
                  <a:pt x="1884" y="1532"/>
                  <a:pt x="1868" y="1530"/>
                  <a:pt x="1864" y="1523"/>
                </a:cubicBezTo>
                <a:cubicBezTo>
                  <a:pt x="1860" y="1517"/>
                  <a:pt x="1854" y="1511"/>
                  <a:pt x="1847" y="1507"/>
                </a:cubicBezTo>
                <a:cubicBezTo>
                  <a:pt x="1841" y="1503"/>
                  <a:pt x="1834" y="1500"/>
                  <a:pt x="1828" y="1500"/>
                </a:cubicBezTo>
                <a:cubicBezTo>
                  <a:pt x="1826" y="1500"/>
                  <a:pt x="1825" y="1500"/>
                  <a:pt x="1823" y="1501"/>
                </a:cubicBezTo>
                <a:cubicBezTo>
                  <a:pt x="1820" y="1502"/>
                  <a:pt x="1816" y="1504"/>
                  <a:pt x="1811" y="1504"/>
                </a:cubicBezTo>
                <a:cubicBezTo>
                  <a:pt x="1808" y="1504"/>
                  <a:pt x="1804" y="1503"/>
                  <a:pt x="1801" y="1500"/>
                </a:cubicBezTo>
                <a:cubicBezTo>
                  <a:pt x="1792" y="1493"/>
                  <a:pt x="1777" y="1485"/>
                  <a:pt x="1772" y="1480"/>
                </a:cubicBezTo>
                <a:cubicBezTo>
                  <a:pt x="1764" y="1473"/>
                  <a:pt x="1749" y="1469"/>
                  <a:pt x="1740" y="1469"/>
                </a:cubicBezTo>
                <a:cubicBezTo>
                  <a:pt x="1739" y="1469"/>
                  <a:pt x="1739" y="1468"/>
                  <a:pt x="1734" y="1468"/>
                </a:cubicBezTo>
                <a:cubicBezTo>
                  <a:pt x="1732" y="1468"/>
                  <a:pt x="1730" y="1469"/>
                  <a:pt x="1728" y="1470"/>
                </a:cubicBezTo>
                <a:cubicBezTo>
                  <a:pt x="1728" y="1466"/>
                  <a:pt x="1726" y="1463"/>
                  <a:pt x="1723" y="1460"/>
                </a:cubicBezTo>
                <a:cubicBezTo>
                  <a:pt x="1720" y="1457"/>
                  <a:pt x="1715" y="1456"/>
                  <a:pt x="1711" y="1456"/>
                </a:cubicBezTo>
                <a:cubicBezTo>
                  <a:pt x="1711" y="1456"/>
                  <a:pt x="1710" y="1456"/>
                  <a:pt x="1710" y="1456"/>
                </a:cubicBezTo>
                <a:cubicBezTo>
                  <a:pt x="1712" y="1453"/>
                  <a:pt x="1715" y="1451"/>
                  <a:pt x="1715" y="1446"/>
                </a:cubicBezTo>
                <a:cubicBezTo>
                  <a:pt x="1715" y="1442"/>
                  <a:pt x="1715" y="1437"/>
                  <a:pt x="1712" y="1431"/>
                </a:cubicBezTo>
                <a:cubicBezTo>
                  <a:pt x="1711" y="1426"/>
                  <a:pt x="1706" y="1419"/>
                  <a:pt x="1698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5" y="1417"/>
                  <a:pt x="1693" y="1404"/>
                  <a:pt x="1682" y="1390"/>
                </a:cubicBezTo>
                <a:cubicBezTo>
                  <a:pt x="1669" y="1373"/>
                  <a:pt x="1653" y="1361"/>
                  <a:pt x="1636" y="1361"/>
                </a:cubicBezTo>
                <a:cubicBezTo>
                  <a:pt x="1635" y="1361"/>
                  <a:pt x="1633" y="1361"/>
                  <a:pt x="1631" y="1362"/>
                </a:cubicBezTo>
                <a:cubicBezTo>
                  <a:pt x="1625" y="1363"/>
                  <a:pt x="1619" y="1364"/>
                  <a:pt x="1616" y="1364"/>
                </a:cubicBezTo>
                <a:cubicBezTo>
                  <a:pt x="1612" y="1364"/>
                  <a:pt x="1610" y="1364"/>
                  <a:pt x="1606" y="1357"/>
                </a:cubicBezTo>
                <a:cubicBezTo>
                  <a:pt x="1599" y="1340"/>
                  <a:pt x="1590" y="1336"/>
                  <a:pt x="1587" y="1330"/>
                </a:cubicBezTo>
                <a:cubicBezTo>
                  <a:pt x="1584" y="1325"/>
                  <a:pt x="1578" y="1323"/>
                  <a:pt x="1574" y="1323"/>
                </a:cubicBezTo>
                <a:cubicBezTo>
                  <a:pt x="1570" y="1323"/>
                  <a:pt x="1567" y="1324"/>
                  <a:pt x="1566" y="1324"/>
                </a:cubicBezTo>
                <a:cubicBezTo>
                  <a:pt x="1563" y="1321"/>
                  <a:pt x="1563" y="1321"/>
                  <a:pt x="1563" y="1321"/>
                </a:cubicBezTo>
                <a:cubicBezTo>
                  <a:pt x="1562" y="1319"/>
                  <a:pt x="1559" y="1318"/>
                  <a:pt x="1557" y="1319"/>
                </a:cubicBezTo>
                <a:cubicBezTo>
                  <a:pt x="1564" y="1308"/>
                  <a:pt x="1567" y="1294"/>
                  <a:pt x="1567" y="1285"/>
                </a:cubicBezTo>
                <a:cubicBezTo>
                  <a:pt x="1567" y="1284"/>
                  <a:pt x="1567" y="1283"/>
                  <a:pt x="1566" y="1281"/>
                </a:cubicBezTo>
                <a:cubicBezTo>
                  <a:pt x="1566" y="1280"/>
                  <a:pt x="1566" y="1279"/>
                  <a:pt x="1565" y="1278"/>
                </a:cubicBezTo>
                <a:cubicBezTo>
                  <a:pt x="1564" y="1277"/>
                  <a:pt x="1562" y="1276"/>
                  <a:pt x="1560" y="1276"/>
                </a:cubicBezTo>
                <a:cubicBezTo>
                  <a:pt x="1559" y="1276"/>
                  <a:pt x="1558" y="1276"/>
                  <a:pt x="1557" y="1277"/>
                </a:cubicBezTo>
                <a:cubicBezTo>
                  <a:pt x="1557" y="1277"/>
                  <a:pt x="1557" y="1277"/>
                  <a:pt x="1557" y="1277"/>
                </a:cubicBezTo>
                <a:cubicBezTo>
                  <a:pt x="1553" y="1279"/>
                  <a:pt x="1553" y="1281"/>
                  <a:pt x="1551" y="1283"/>
                </a:cubicBezTo>
                <a:cubicBezTo>
                  <a:pt x="1550" y="1286"/>
                  <a:pt x="1548" y="1290"/>
                  <a:pt x="1546" y="1292"/>
                </a:cubicBezTo>
                <a:cubicBezTo>
                  <a:pt x="1546" y="1293"/>
                  <a:pt x="1545" y="1293"/>
                  <a:pt x="1545" y="1294"/>
                </a:cubicBezTo>
                <a:cubicBezTo>
                  <a:pt x="1544" y="1291"/>
                  <a:pt x="1541" y="1288"/>
                  <a:pt x="1535" y="1284"/>
                </a:cubicBezTo>
                <a:cubicBezTo>
                  <a:pt x="1530" y="1280"/>
                  <a:pt x="1525" y="1279"/>
                  <a:pt x="1519" y="1279"/>
                </a:cubicBezTo>
                <a:cubicBezTo>
                  <a:pt x="1514" y="1279"/>
                  <a:pt x="1509" y="1280"/>
                  <a:pt x="1504" y="1283"/>
                </a:cubicBezTo>
                <a:cubicBezTo>
                  <a:pt x="1500" y="1285"/>
                  <a:pt x="1496" y="1288"/>
                  <a:pt x="1496" y="1294"/>
                </a:cubicBezTo>
                <a:cubicBezTo>
                  <a:pt x="1496" y="1294"/>
                  <a:pt x="1496" y="1294"/>
                  <a:pt x="1496" y="1294"/>
                </a:cubicBezTo>
                <a:cubicBezTo>
                  <a:pt x="1496" y="1294"/>
                  <a:pt x="1495" y="1293"/>
                  <a:pt x="1495" y="1292"/>
                </a:cubicBezTo>
                <a:cubicBezTo>
                  <a:pt x="1491" y="1284"/>
                  <a:pt x="1483" y="1281"/>
                  <a:pt x="1476" y="1281"/>
                </a:cubicBezTo>
                <a:cubicBezTo>
                  <a:pt x="1470" y="1281"/>
                  <a:pt x="1464" y="1283"/>
                  <a:pt x="1459" y="1287"/>
                </a:cubicBezTo>
                <a:cubicBezTo>
                  <a:pt x="1458" y="1285"/>
                  <a:pt x="1456" y="1282"/>
                  <a:pt x="1455" y="1279"/>
                </a:cubicBezTo>
                <a:cubicBezTo>
                  <a:pt x="1454" y="1276"/>
                  <a:pt x="1453" y="1274"/>
                  <a:pt x="1452" y="1272"/>
                </a:cubicBezTo>
                <a:cubicBezTo>
                  <a:pt x="1450" y="1270"/>
                  <a:pt x="1449" y="1267"/>
                  <a:pt x="1443" y="1266"/>
                </a:cubicBezTo>
                <a:cubicBezTo>
                  <a:pt x="1434" y="1267"/>
                  <a:pt x="1422" y="1275"/>
                  <a:pt x="1415" y="1289"/>
                </a:cubicBezTo>
                <a:cubicBezTo>
                  <a:pt x="1414" y="1290"/>
                  <a:pt x="1414" y="1292"/>
                  <a:pt x="1413" y="1293"/>
                </a:cubicBezTo>
                <a:cubicBezTo>
                  <a:pt x="1413" y="1291"/>
                  <a:pt x="1413" y="1289"/>
                  <a:pt x="1414" y="1288"/>
                </a:cubicBezTo>
                <a:cubicBezTo>
                  <a:pt x="1414" y="1287"/>
                  <a:pt x="1415" y="1283"/>
                  <a:pt x="1417" y="1280"/>
                </a:cubicBezTo>
                <a:cubicBezTo>
                  <a:pt x="1419" y="1276"/>
                  <a:pt x="1421" y="1272"/>
                  <a:pt x="1422" y="1267"/>
                </a:cubicBezTo>
                <a:cubicBezTo>
                  <a:pt x="1422" y="1263"/>
                  <a:pt x="1418" y="1258"/>
                  <a:pt x="1414" y="1257"/>
                </a:cubicBezTo>
                <a:cubicBezTo>
                  <a:pt x="1413" y="1257"/>
                  <a:pt x="1411" y="1256"/>
                  <a:pt x="1410" y="1256"/>
                </a:cubicBezTo>
                <a:cubicBezTo>
                  <a:pt x="1402" y="1257"/>
                  <a:pt x="1397" y="1261"/>
                  <a:pt x="1392" y="1265"/>
                </a:cubicBezTo>
                <a:cubicBezTo>
                  <a:pt x="1389" y="1267"/>
                  <a:pt x="1387" y="1269"/>
                  <a:pt x="1385" y="1270"/>
                </a:cubicBezTo>
                <a:cubicBezTo>
                  <a:pt x="1384" y="1271"/>
                  <a:pt x="1383" y="1271"/>
                  <a:pt x="1383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73" y="1275"/>
                  <a:pt x="1362" y="1284"/>
                  <a:pt x="1354" y="1297"/>
                </a:cubicBezTo>
                <a:cubicBezTo>
                  <a:pt x="1347" y="1308"/>
                  <a:pt x="1344" y="1314"/>
                  <a:pt x="1339" y="1317"/>
                </a:cubicBezTo>
                <a:cubicBezTo>
                  <a:pt x="1338" y="1317"/>
                  <a:pt x="1336" y="1318"/>
                  <a:pt x="1335" y="1318"/>
                </a:cubicBezTo>
                <a:cubicBezTo>
                  <a:pt x="1334" y="1318"/>
                  <a:pt x="1332" y="1318"/>
                  <a:pt x="1332" y="1317"/>
                </a:cubicBezTo>
                <a:cubicBezTo>
                  <a:pt x="1332" y="1317"/>
                  <a:pt x="1332" y="1317"/>
                  <a:pt x="1332" y="1317"/>
                </a:cubicBezTo>
                <a:cubicBezTo>
                  <a:pt x="1332" y="1313"/>
                  <a:pt x="1330" y="1311"/>
                  <a:pt x="1329" y="1309"/>
                </a:cubicBezTo>
                <a:cubicBezTo>
                  <a:pt x="1323" y="1303"/>
                  <a:pt x="1315" y="1297"/>
                  <a:pt x="1306" y="1297"/>
                </a:cubicBezTo>
                <a:cubicBezTo>
                  <a:pt x="1304" y="1297"/>
                  <a:pt x="1301" y="1298"/>
                  <a:pt x="1299" y="1301"/>
                </a:cubicBezTo>
                <a:cubicBezTo>
                  <a:pt x="1298" y="1303"/>
                  <a:pt x="1288" y="1308"/>
                  <a:pt x="1277" y="1314"/>
                </a:cubicBezTo>
                <a:cubicBezTo>
                  <a:pt x="1276" y="1314"/>
                  <a:pt x="1275" y="1315"/>
                  <a:pt x="1275" y="1315"/>
                </a:cubicBezTo>
                <a:cubicBezTo>
                  <a:pt x="1271" y="1315"/>
                  <a:pt x="1265" y="1308"/>
                  <a:pt x="1264" y="1304"/>
                </a:cubicBezTo>
                <a:cubicBezTo>
                  <a:pt x="1260" y="1296"/>
                  <a:pt x="1257" y="1299"/>
                  <a:pt x="1256" y="1282"/>
                </a:cubicBezTo>
                <a:cubicBezTo>
                  <a:pt x="1256" y="1279"/>
                  <a:pt x="1256" y="1277"/>
                  <a:pt x="1256" y="1275"/>
                </a:cubicBezTo>
                <a:cubicBezTo>
                  <a:pt x="1256" y="1260"/>
                  <a:pt x="1259" y="1244"/>
                  <a:pt x="1261" y="1236"/>
                </a:cubicBezTo>
                <a:cubicBezTo>
                  <a:pt x="1262" y="1234"/>
                  <a:pt x="1262" y="1232"/>
                  <a:pt x="1262" y="1231"/>
                </a:cubicBezTo>
                <a:cubicBezTo>
                  <a:pt x="1262" y="1223"/>
                  <a:pt x="1257" y="1215"/>
                  <a:pt x="1251" y="1208"/>
                </a:cubicBezTo>
                <a:cubicBezTo>
                  <a:pt x="1245" y="1202"/>
                  <a:pt x="1239" y="1196"/>
                  <a:pt x="1231" y="1196"/>
                </a:cubicBezTo>
                <a:cubicBezTo>
                  <a:pt x="1231" y="1196"/>
                  <a:pt x="1230" y="1196"/>
                  <a:pt x="1229" y="1196"/>
                </a:cubicBezTo>
                <a:cubicBezTo>
                  <a:pt x="1224" y="1197"/>
                  <a:pt x="1220" y="1200"/>
                  <a:pt x="1216" y="1202"/>
                </a:cubicBezTo>
                <a:cubicBezTo>
                  <a:pt x="1212" y="1205"/>
                  <a:pt x="1209" y="1206"/>
                  <a:pt x="1208" y="1206"/>
                </a:cubicBezTo>
                <a:cubicBezTo>
                  <a:pt x="1208" y="1206"/>
                  <a:pt x="1207" y="1206"/>
                  <a:pt x="1207" y="1206"/>
                </a:cubicBezTo>
                <a:cubicBezTo>
                  <a:pt x="1204" y="1205"/>
                  <a:pt x="1205" y="1205"/>
                  <a:pt x="1202" y="1204"/>
                </a:cubicBezTo>
                <a:cubicBezTo>
                  <a:pt x="1200" y="1203"/>
                  <a:pt x="1197" y="1202"/>
                  <a:pt x="1192" y="1202"/>
                </a:cubicBezTo>
                <a:cubicBezTo>
                  <a:pt x="1193" y="1199"/>
                  <a:pt x="1194" y="1197"/>
                  <a:pt x="1195" y="1194"/>
                </a:cubicBezTo>
                <a:cubicBezTo>
                  <a:pt x="1195" y="1191"/>
                  <a:pt x="1196" y="1188"/>
                  <a:pt x="1196" y="1186"/>
                </a:cubicBezTo>
                <a:cubicBezTo>
                  <a:pt x="1196" y="1181"/>
                  <a:pt x="1195" y="1177"/>
                  <a:pt x="1195" y="1173"/>
                </a:cubicBezTo>
                <a:cubicBezTo>
                  <a:pt x="1195" y="1166"/>
                  <a:pt x="1196" y="1161"/>
                  <a:pt x="1201" y="1157"/>
                </a:cubicBezTo>
                <a:cubicBezTo>
                  <a:pt x="1209" y="1150"/>
                  <a:pt x="1211" y="1141"/>
                  <a:pt x="1211" y="1132"/>
                </a:cubicBezTo>
                <a:cubicBezTo>
                  <a:pt x="1211" y="1127"/>
                  <a:pt x="1210" y="1122"/>
                  <a:pt x="1208" y="1117"/>
                </a:cubicBezTo>
                <a:cubicBezTo>
                  <a:pt x="1206" y="1113"/>
                  <a:pt x="1204" y="1109"/>
                  <a:pt x="1198" y="1108"/>
                </a:cubicBezTo>
                <a:cubicBezTo>
                  <a:pt x="1197" y="1108"/>
                  <a:pt x="1195" y="1108"/>
                  <a:pt x="1194" y="1108"/>
                </a:cubicBezTo>
                <a:cubicBezTo>
                  <a:pt x="1185" y="1108"/>
                  <a:pt x="1175" y="1111"/>
                  <a:pt x="1167" y="1111"/>
                </a:cubicBezTo>
                <a:cubicBezTo>
                  <a:pt x="1166" y="1111"/>
                  <a:pt x="1165" y="1111"/>
                  <a:pt x="1164" y="1111"/>
                </a:cubicBezTo>
                <a:cubicBezTo>
                  <a:pt x="1164" y="1110"/>
                  <a:pt x="1163" y="1110"/>
                  <a:pt x="1162" y="1110"/>
                </a:cubicBezTo>
                <a:cubicBezTo>
                  <a:pt x="1150" y="1111"/>
                  <a:pt x="1142" y="1121"/>
                  <a:pt x="1142" y="1133"/>
                </a:cubicBezTo>
                <a:cubicBezTo>
                  <a:pt x="1142" y="1135"/>
                  <a:pt x="1142" y="1138"/>
                  <a:pt x="1143" y="1140"/>
                </a:cubicBezTo>
                <a:cubicBezTo>
                  <a:pt x="1143" y="1142"/>
                  <a:pt x="1143" y="1143"/>
                  <a:pt x="1143" y="1144"/>
                </a:cubicBezTo>
                <a:cubicBezTo>
                  <a:pt x="1143" y="1147"/>
                  <a:pt x="1142" y="1149"/>
                  <a:pt x="1141" y="1151"/>
                </a:cubicBezTo>
                <a:cubicBezTo>
                  <a:pt x="1141" y="1151"/>
                  <a:pt x="1141" y="1151"/>
                  <a:pt x="1140" y="1152"/>
                </a:cubicBezTo>
                <a:cubicBezTo>
                  <a:pt x="1139" y="1150"/>
                  <a:pt x="1136" y="1148"/>
                  <a:pt x="1131" y="1148"/>
                </a:cubicBezTo>
                <a:cubicBezTo>
                  <a:pt x="1126" y="1148"/>
                  <a:pt x="1121" y="1151"/>
                  <a:pt x="1115" y="1156"/>
                </a:cubicBezTo>
                <a:cubicBezTo>
                  <a:pt x="1110" y="1160"/>
                  <a:pt x="1108" y="1161"/>
                  <a:pt x="1106" y="1161"/>
                </a:cubicBezTo>
                <a:cubicBezTo>
                  <a:pt x="1105" y="1161"/>
                  <a:pt x="1101" y="1159"/>
                  <a:pt x="1093" y="1151"/>
                </a:cubicBezTo>
                <a:cubicBezTo>
                  <a:pt x="1080" y="1138"/>
                  <a:pt x="1068" y="1127"/>
                  <a:pt x="1066" y="1110"/>
                </a:cubicBezTo>
                <a:cubicBezTo>
                  <a:pt x="1065" y="1101"/>
                  <a:pt x="1064" y="1091"/>
                  <a:pt x="1064" y="1083"/>
                </a:cubicBezTo>
                <a:cubicBezTo>
                  <a:pt x="1064" y="1075"/>
                  <a:pt x="1065" y="1068"/>
                  <a:pt x="1067" y="1064"/>
                </a:cubicBezTo>
                <a:cubicBezTo>
                  <a:pt x="1069" y="1058"/>
                  <a:pt x="1071" y="1051"/>
                  <a:pt x="1071" y="1044"/>
                </a:cubicBezTo>
                <a:cubicBezTo>
                  <a:pt x="1071" y="1040"/>
                  <a:pt x="1070" y="1036"/>
                  <a:pt x="1069" y="1032"/>
                </a:cubicBezTo>
                <a:cubicBezTo>
                  <a:pt x="1068" y="1029"/>
                  <a:pt x="1067" y="1027"/>
                  <a:pt x="1064" y="1025"/>
                </a:cubicBezTo>
                <a:cubicBezTo>
                  <a:pt x="1064" y="1025"/>
                  <a:pt x="1064" y="1024"/>
                  <a:pt x="1064" y="1024"/>
                </a:cubicBezTo>
                <a:cubicBezTo>
                  <a:pt x="1067" y="1021"/>
                  <a:pt x="1074" y="1016"/>
                  <a:pt x="1077" y="1015"/>
                </a:cubicBezTo>
                <a:cubicBezTo>
                  <a:pt x="1088" y="1010"/>
                  <a:pt x="1099" y="999"/>
                  <a:pt x="1104" y="991"/>
                </a:cubicBezTo>
                <a:cubicBezTo>
                  <a:pt x="1104" y="991"/>
                  <a:pt x="1108" y="990"/>
                  <a:pt x="1113" y="990"/>
                </a:cubicBezTo>
                <a:cubicBezTo>
                  <a:pt x="1116" y="990"/>
                  <a:pt x="1120" y="990"/>
                  <a:pt x="1125" y="990"/>
                </a:cubicBezTo>
                <a:cubicBezTo>
                  <a:pt x="1138" y="991"/>
                  <a:pt x="1136" y="990"/>
                  <a:pt x="1149" y="998"/>
                </a:cubicBezTo>
                <a:cubicBezTo>
                  <a:pt x="1153" y="1000"/>
                  <a:pt x="1156" y="1001"/>
                  <a:pt x="1160" y="1001"/>
                </a:cubicBezTo>
                <a:cubicBezTo>
                  <a:pt x="1166" y="1001"/>
                  <a:pt x="1170" y="997"/>
                  <a:pt x="1171" y="993"/>
                </a:cubicBezTo>
                <a:cubicBezTo>
                  <a:pt x="1173" y="990"/>
                  <a:pt x="1173" y="987"/>
                  <a:pt x="1173" y="984"/>
                </a:cubicBezTo>
                <a:cubicBezTo>
                  <a:pt x="1173" y="984"/>
                  <a:pt x="1174" y="979"/>
                  <a:pt x="1183" y="979"/>
                </a:cubicBezTo>
                <a:cubicBezTo>
                  <a:pt x="1183" y="979"/>
                  <a:pt x="1184" y="979"/>
                  <a:pt x="1185" y="979"/>
                </a:cubicBezTo>
                <a:cubicBezTo>
                  <a:pt x="1186" y="979"/>
                  <a:pt x="1188" y="979"/>
                  <a:pt x="1189" y="979"/>
                </a:cubicBezTo>
                <a:cubicBezTo>
                  <a:pt x="1200" y="979"/>
                  <a:pt x="1212" y="976"/>
                  <a:pt x="1217" y="977"/>
                </a:cubicBezTo>
                <a:cubicBezTo>
                  <a:pt x="1218" y="977"/>
                  <a:pt x="1218" y="977"/>
                  <a:pt x="1218" y="977"/>
                </a:cubicBezTo>
                <a:cubicBezTo>
                  <a:pt x="1219" y="978"/>
                  <a:pt x="1221" y="982"/>
                  <a:pt x="1223" y="985"/>
                </a:cubicBezTo>
                <a:cubicBezTo>
                  <a:pt x="1226" y="988"/>
                  <a:pt x="1229" y="993"/>
                  <a:pt x="1237" y="994"/>
                </a:cubicBezTo>
                <a:cubicBezTo>
                  <a:pt x="1239" y="994"/>
                  <a:pt x="1242" y="993"/>
                  <a:pt x="1243" y="992"/>
                </a:cubicBezTo>
                <a:cubicBezTo>
                  <a:pt x="1244" y="991"/>
                  <a:pt x="1245" y="991"/>
                  <a:pt x="1245" y="990"/>
                </a:cubicBezTo>
                <a:cubicBezTo>
                  <a:pt x="1246" y="998"/>
                  <a:pt x="1248" y="1009"/>
                  <a:pt x="1252" y="1018"/>
                </a:cubicBezTo>
                <a:cubicBezTo>
                  <a:pt x="1255" y="1027"/>
                  <a:pt x="1259" y="1036"/>
                  <a:pt x="1267" y="1040"/>
                </a:cubicBezTo>
                <a:cubicBezTo>
                  <a:pt x="1269" y="1040"/>
                  <a:pt x="1270" y="1042"/>
                  <a:pt x="1271" y="1047"/>
                </a:cubicBezTo>
                <a:cubicBezTo>
                  <a:pt x="1272" y="1050"/>
                  <a:pt x="1272" y="1053"/>
                  <a:pt x="1274" y="1056"/>
                </a:cubicBezTo>
                <a:cubicBezTo>
                  <a:pt x="1276" y="1059"/>
                  <a:pt x="1279" y="1062"/>
                  <a:pt x="1284" y="1062"/>
                </a:cubicBezTo>
                <a:cubicBezTo>
                  <a:pt x="1284" y="1062"/>
                  <a:pt x="1285" y="1062"/>
                  <a:pt x="1285" y="1062"/>
                </a:cubicBezTo>
                <a:cubicBezTo>
                  <a:pt x="1289" y="1062"/>
                  <a:pt x="1293" y="1060"/>
                  <a:pt x="1295" y="1057"/>
                </a:cubicBezTo>
                <a:cubicBezTo>
                  <a:pt x="1301" y="1050"/>
                  <a:pt x="1303" y="1038"/>
                  <a:pt x="1303" y="1029"/>
                </a:cubicBezTo>
                <a:cubicBezTo>
                  <a:pt x="1303" y="1025"/>
                  <a:pt x="1303" y="1021"/>
                  <a:pt x="1302" y="1018"/>
                </a:cubicBezTo>
                <a:cubicBezTo>
                  <a:pt x="1300" y="1014"/>
                  <a:pt x="1298" y="1004"/>
                  <a:pt x="1295" y="994"/>
                </a:cubicBezTo>
                <a:cubicBezTo>
                  <a:pt x="1292" y="985"/>
                  <a:pt x="1289" y="976"/>
                  <a:pt x="1285" y="971"/>
                </a:cubicBezTo>
                <a:cubicBezTo>
                  <a:pt x="1283" y="969"/>
                  <a:pt x="1282" y="966"/>
                  <a:pt x="1282" y="962"/>
                </a:cubicBezTo>
                <a:cubicBezTo>
                  <a:pt x="1282" y="956"/>
                  <a:pt x="1284" y="951"/>
                  <a:pt x="1288" y="950"/>
                </a:cubicBezTo>
                <a:cubicBezTo>
                  <a:pt x="1296" y="946"/>
                  <a:pt x="1305" y="938"/>
                  <a:pt x="1315" y="929"/>
                </a:cubicBezTo>
                <a:cubicBezTo>
                  <a:pt x="1324" y="920"/>
                  <a:pt x="1333" y="911"/>
                  <a:pt x="1337" y="907"/>
                </a:cubicBezTo>
                <a:cubicBezTo>
                  <a:pt x="1340" y="905"/>
                  <a:pt x="1345" y="901"/>
                  <a:pt x="1351" y="898"/>
                </a:cubicBezTo>
                <a:cubicBezTo>
                  <a:pt x="1356" y="894"/>
                  <a:pt x="1363" y="890"/>
                  <a:pt x="1363" y="881"/>
                </a:cubicBezTo>
                <a:cubicBezTo>
                  <a:pt x="1363" y="878"/>
                  <a:pt x="1362" y="876"/>
                  <a:pt x="1361" y="873"/>
                </a:cubicBezTo>
                <a:cubicBezTo>
                  <a:pt x="1356" y="865"/>
                  <a:pt x="1354" y="860"/>
                  <a:pt x="1353" y="855"/>
                </a:cubicBezTo>
                <a:cubicBezTo>
                  <a:pt x="1355" y="857"/>
                  <a:pt x="1357" y="858"/>
                  <a:pt x="1359" y="858"/>
                </a:cubicBezTo>
                <a:cubicBezTo>
                  <a:pt x="1365" y="857"/>
                  <a:pt x="1368" y="854"/>
                  <a:pt x="1371" y="851"/>
                </a:cubicBezTo>
                <a:cubicBezTo>
                  <a:pt x="1375" y="847"/>
                  <a:pt x="1377" y="843"/>
                  <a:pt x="1377" y="838"/>
                </a:cubicBezTo>
                <a:cubicBezTo>
                  <a:pt x="1377" y="836"/>
                  <a:pt x="1377" y="834"/>
                  <a:pt x="1376" y="833"/>
                </a:cubicBezTo>
                <a:cubicBezTo>
                  <a:pt x="1375" y="831"/>
                  <a:pt x="1375" y="829"/>
                  <a:pt x="1375" y="828"/>
                </a:cubicBezTo>
                <a:cubicBezTo>
                  <a:pt x="1375" y="827"/>
                  <a:pt x="1375" y="826"/>
                  <a:pt x="1375" y="826"/>
                </a:cubicBezTo>
                <a:cubicBezTo>
                  <a:pt x="1375" y="826"/>
                  <a:pt x="1375" y="826"/>
                  <a:pt x="1376" y="826"/>
                </a:cubicBezTo>
                <a:cubicBezTo>
                  <a:pt x="1376" y="826"/>
                  <a:pt x="1377" y="826"/>
                  <a:pt x="1378" y="826"/>
                </a:cubicBezTo>
                <a:cubicBezTo>
                  <a:pt x="1382" y="826"/>
                  <a:pt x="1386" y="825"/>
                  <a:pt x="1388" y="822"/>
                </a:cubicBezTo>
                <a:cubicBezTo>
                  <a:pt x="1390" y="819"/>
                  <a:pt x="1391" y="816"/>
                  <a:pt x="1391" y="813"/>
                </a:cubicBezTo>
                <a:cubicBezTo>
                  <a:pt x="1391" y="811"/>
                  <a:pt x="1390" y="808"/>
                  <a:pt x="1389" y="806"/>
                </a:cubicBezTo>
                <a:cubicBezTo>
                  <a:pt x="1390" y="805"/>
                  <a:pt x="1393" y="803"/>
                  <a:pt x="1396" y="804"/>
                </a:cubicBezTo>
                <a:cubicBezTo>
                  <a:pt x="1396" y="804"/>
                  <a:pt x="1397" y="804"/>
                  <a:pt x="1398" y="804"/>
                </a:cubicBezTo>
                <a:cubicBezTo>
                  <a:pt x="1400" y="805"/>
                  <a:pt x="1403" y="805"/>
                  <a:pt x="1406" y="805"/>
                </a:cubicBezTo>
                <a:cubicBezTo>
                  <a:pt x="1412" y="805"/>
                  <a:pt x="1418" y="804"/>
                  <a:pt x="1423" y="803"/>
                </a:cubicBezTo>
                <a:cubicBezTo>
                  <a:pt x="1429" y="801"/>
                  <a:pt x="1433" y="799"/>
                  <a:pt x="1437" y="794"/>
                </a:cubicBezTo>
                <a:cubicBezTo>
                  <a:pt x="1438" y="793"/>
                  <a:pt x="1439" y="791"/>
                  <a:pt x="1439" y="789"/>
                </a:cubicBezTo>
                <a:cubicBezTo>
                  <a:pt x="1438" y="783"/>
                  <a:pt x="1435" y="781"/>
                  <a:pt x="1434" y="778"/>
                </a:cubicBezTo>
                <a:cubicBezTo>
                  <a:pt x="1432" y="775"/>
                  <a:pt x="1431" y="772"/>
                  <a:pt x="1431" y="769"/>
                </a:cubicBezTo>
                <a:cubicBezTo>
                  <a:pt x="1431" y="766"/>
                  <a:pt x="1433" y="762"/>
                  <a:pt x="1437" y="759"/>
                </a:cubicBezTo>
                <a:cubicBezTo>
                  <a:pt x="1440" y="756"/>
                  <a:pt x="1445" y="753"/>
                  <a:pt x="1448" y="753"/>
                </a:cubicBezTo>
                <a:cubicBezTo>
                  <a:pt x="1451" y="753"/>
                  <a:pt x="1456" y="752"/>
                  <a:pt x="1460" y="752"/>
                </a:cubicBezTo>
                <a:cubicBezTo>
                  <a:pt x="1462" y="752"/>
                  <a:pt x="1464" y="752"/>
                  <a:pt x="1466" y="751"/>
                </a:cubicBezTo>
                <a:cubicBezTo>
                  <a:pt x="1468" y="750"/>
                  <a:pt x="1471" y="748"/>
                  <a:pt x="1472" y="745"/>
                </a:cubicBezTo>
                <a:cubicBezTo>
                  <a:pt x="1472" y="745"/>
                  <a:pt x="1472" y="745"/>
                  <a:pt x="1472" y="745"/>
                </a:cubicBezTo>
                <a:cubicBezTo>
                  <a:pt x="1472" y="744"/>
                  <a:pt x="1473" y="743"/>
                  <a:pt x="1474" y="742"/>
                </a:cubicBezTo>
                <a:cubicBezTo>
                  <a:pt x="1475" y="746"/>
                  <a:pt x="1475" y="751"/>
                  <a:pt x="1476" y="755"/>
                </a:cubicBezTo>
                <a:cubicBezTo>
                  <a:pt x="1476" y="758"/>
                  <a:pt x="1477" y="762"/>
                  <a:pt x="1479" y="764"/>
                </a:cubicBezTo>
                <a:cubicBezTo>
                  <a:pt x="1481" y="767"/>
                  <a:pt x="1485" y="770"/>
                  <a:pt x="1489" y="770"/>
                </a:cubicBezTo>
                <a:cubicBezTo>
                  <a:pt x="1497" y="770"/>
                  <a:pt x="1502" y="766"/>
                  <a:pt x="1507" y="762"/>
                </a:cubicBezTo>
                <a:cubicBezTo>
                  <a:pt x="1510" y="760"/>
                  <a:pt x="1512" y="759"/>
                  <a:pt x="1513" y="757"/>
                </a:cubicBezTo>
                <a:cubicBezTo>
                  <a:pt x="1514" y="757"/>
                  <a:pt x="1515" y="756"/>
                  <a:pt x="1515" y="756"/>
                </a:cubicBezTo>
                <a:cubicBezTo>
                  <a:pt x="1516" y="756"/>
                  <a:pt x="1516" y="756"/>
                  <a:pt x="1516" y="756"/>
                </a:cubicBezTo>
                <a:cubicBezTo>
                  <a:pt x="1516" y="755"/>
                  <a:pt x="1516" y="755"/>
                  <a:pt x="1516" y="755"/>
                </a:cubicBezTo>
                <a:cubicBezTo>
                  <a:pt x="1520" y="754"/>
                  <a:pt x="1541" y="749"/>
                  <a:pt x="1545" y="747"/>
                </a:cubicBezTo>
                <a:cubicBezTo>
                  <a:pt x="1546" y="747"/>
                  <a:pt x="1554" y="746"/>
                  <a:pt x="1561" y="744"/>
                </a:cubicBezTo>
                <a:cubicBezTo>
                  <a:pt x="1565" y="743"/>
                  <a:pt x="1568" y="742"/>
                  <a:pt x="1572" y="740"/>
                </a:cubicBezTo>
                <a:cubicBezTo>
                  <a:pt x="1575" y="738"/>
                  <a:pt x="1578" y="735"/>
                  <a:pt x="1579" y="729"/>
                </a:cubicBezTo>
                <a:cubicBezTo>
                  <a:pt x="1579" y="728"/>
                  <a:pt x="1578" y="727"/>
                  <a:pt x="1578" y="726"/>
                </a:cubicBezTo>
                <a:cubicBezTo>
                  <a:pt x="1574" y="716"/>
                  <a:pt x="1571" y="706"/>
                  <a:pt x="1566" y="701"/>
                </a:cubicBezTo>
                <a:cubicBezTo>
                  <a:pt x="1565" y="699"/>
                  <a:pt x="1562" y="697"/>
                  <a:pt x="1559" y="697"/>
                </a:cubicBezTo>
                <a:cubicBezTo>
                  <a:pt x="1554" y="697"/>
                  <a:pt x="1552" y="700"/>
                  <a:pt x="1551" y="702"/>
                </a:cubicBezTo>
                <a:cubicBezTo>
                  <a:pt x="1549" y="704"/>
                  <a:pt x="1547" y="707"/>
                  <a:pt x="1545" y="709"/>
                </a:cubicBezTo>
                <a:cubicBezTo>
                  <a:pt x="1544" y="712"/>
                  <a:pt x="1542" y="712"/>
                  <a:pt x="1542" y="712"/>
                </a:cubicBezTo>
                <a:cubicBezTo>
                  <a:pt x="1541" y="712"/>
                  <a:pt x="1541" y="712"/>
                  <a:pt x="1541" y="712"/>
                </a:cubicBezTo>
                <a:cubicBezTo>
                  <a:pt x="1541" y="712"/>
                  <a:pt x="1540" y="707"/>
                  <a:pt x="1540" y="703"/>
                </a:cubicBezTo>
                <a:cubicBezTo>
                  <a:pt x="1540" y="701"/>
                  <a:pt x="1540" y="699"/>
                  <a:pt x="1539" y="697"/>
                </a:cubicBezTo>
                <a:cubicBezTo>
                  <a:pt x="1539" y="694"/>
                  <a:pt x="1536" y="690"/>
                  <a:pt x="1531" y="690"/>
                </a:cubicBezTo>
                <a:cubicBezTo>
                  <a:pt x="1529" y="690"/>
                  <a:pt x="1527" y="691"/>
                  <a:pt x="1525" y="693"/>
                </a:cubicBezTo>
                <a:cubicBezTo>
                  <a:pt x="1521" y="695"/>
                  <a:pt x="1519" y="698"/>
                  <a:pt x="1517" y="699"/>
                </a:cubicBezTo>
                <a:cubicBezTo>
                  <a:pt x="1517" y="699"/>
                  <a:pt x="1517" y="700"/>
                  <a:pt x="1517" y="700"/>
                </a:cubicBezTo>
                <a:cubicBezTo>
                  <a:pt x="1516" y="699"/>
                  <a:pt x="1514" y="697"/>
                  <a:pt x="1513" y="695"/>
                </a:cubicBezTo>
                <a:cubicBezTo>
                  <a:pt x="1513" y="695"/>
                  <a:pt x="1513" y="695"/>
                  <a:pt x="1513" y="695"/>
                </a:cubicBezTo>
                <a:cubicBezTo>
                  <a:pt x="1515" y="692"/>
                  <a:pt x="1518" y="688"/>
                  <a:pt x="1518" y="683"/>
                </a:cubicBezTo>
                <a:cubicBezTo>
                  <a:pt x="1518" y="679"/>
                  <a:pt x="1517" y="675"/>
                  <a:pt x="1514" y="671"/>
                </a:cubicBezTo>
                <a:cubicBezTo>
                  <a:pt x="1509" y="663"/>
                  <a:pt x="1502" y="659"/>
                  <a:pt x="1495" y="659"/>
                </a:cubicBezTo>
                <a:cubicBezTo>
                  <a:pt x="1487" y="659"/>
                  <a:pt x="1481" y="662"/>
                  <a:pt x="1475" y="666"/>
                </a:cubicBezTo>
                <a:cubicBezTo>
                  <a:pt x="1468" y="670"/>
                  <a:pt x="1466" y="671"/>
                  <a:pt x="1463" y="672"/>
                </a:cubicBezTo>
                <a:cubicBezTo>
                  <a:pt x="1463" y="672"/>
                  <a:pt x="1464" y="672"/>
                  <a:pt x="1464" y="671"/>
                </a:cubicBezTo>
                <a:cubicBezTo>
                  <a:pt x="1471" y="664"/>
                  <a:pt x="1481" y="660"/>
                  <a:pt x="1489" y="650"/>
                </a:cubicBezTo>
                <a:cubicBezTo>
                  <a:pt x="1490" y="650"/>
                  <a:pt x="1490" y="650"/>
                  <a:pt x="1492" y="650"/>
                </a:cubicBezTo>
                <a:cubicBezTo>
                  <a:pt x="1494" y="650"/>
                  <a:pt x="1498" y="651"/>
                  <a:pt x="1501" y="653"/>
                </a:cubicBezTo>
                <a:cubicBezTo>
                  <a:pt x="1504" y="654"/>
                  <a:pt x="1507" y="656"/>
                  <a:pt x="1507" y="656"/>
                </a:cubicBezTo>
                <a:cubicBezTo>
                  <a:pt x="1509" y="657"/>
                  <a:pt x="1511" y="657"/>
                  <a:pt x="1513" y="656"/>
                </a:cubicBezTo>
                <a:cubicBezTo>
                  <a:pt x="1513" y="657"/>
                  <a:pt x="1513" y="657"/>
                  <a:pt x="1513" y="658"/>
                </a:cubicBezTo>
                <a:cubicBezTo>
                  <a:pt x="1513" y="662"/>
                  <a:pt x="1513" y="665"/>
                  <a:pt x="1514" y="669"/>
                </a:cubicBezTo>
                <a:cubicBezTo>
                  <a:pt x="1515" y="672"/>
                  <a:pt x="1518" y="677"/>
                  <a:pt x="1524" y="677"/>
                </a:cubicBezTo>
                <a:cubicBezTo>
                  <a:pt x="1529" y="677"/>
                  <a:pt x="1534" y="675"/>
                  <a:pt x="1539" y="672"/>
                </a:cubicBezTo>
                <a:cubicBezTo>
                  <a:pt x="1542" y="671"/>
                  <a:pt x="1544" y="669"/>
                  <a:pt x="1546" y="668"/>
                </a:cubicBezTo>
                <a:cubicBezTo>
                  <a:pt x="1547" y="666"/>
                  <a:pt x="1549" y="665"/>
                  <a:pt x="1550" y="661"/>
                </a:cubicBezTo>
                <a:cubicBezTo>
                  <a:pt x="1550" y="661"/>
                  <a:pt x="1551" y="661"/>
                  <a:pt x="1551" y="661"/>
                </a:cubicBezTo>
                <a:cubicBezTo>
                  <a:pt x="1556" y="660"/>
                  <a:pt x="1561" y="659"/>
                  <a:pt x="1566" y="655"/>
                </a:cubicBezTo>
                <a:cubicBezTo>
                  <a:pt x="1572" y="650"/>
                  <a:pt x="1579" y="650"/>
                  <a:pt x="1587" y="646"/>
                </a:cubicBezTo>
                <a:cubicBezTo>
                  <a:pt x="1592" y="643"/>
                  <a:pt x="1593" y="639"/>
                  <a:pt x="1595" y="636"/>
                </a:cubicBezTo>
                <a:cubicBezTo>
                  <a:pt x="1598" y="633"/>
                  <a:pt x="1599" y="632"/>
                  <a:pt x="1600" y="632"/>
                </a:cubicBezTo>
                <a:cubicBezTo>
                  <a:pt x="1600" y="632"/>
                  <a:pt x="1601" y="632"/>
                  <a:pt x="1601" y="634"/>
                </a:cubicBezTo>
                <a:cubicBezTo>
                  <a:pt x="1601" y="636"/>
                  <a:pt x="1600" y="639"/>
                  <a:pt x="1596" y="642"/>
                </a:cubicBezTo>
                <a:cubicBezTo>
                  <a:pt x="1589" y="647"/>
                  <a:pt x="1585" y="656"/>
                  <a:pt x="1583" y="663"/>
                </a:cubicBezTo>
                <a:cubicBezTo>
                  <a:pt x="1580" y="670"/>
                  <a:pt x="1578" y="676"/>
                  <a:pt x="1577" y="677"/>
                </a:cubicBezTo>
                <a:cubicBezTo>
                  <a:pt x="1574" y="679"/>
                  <a:pt x="1573" y="683"/>
                  <a:pt x="1573" y="687"/>
                </a:cubicBezTo>
                <a:cubicBezTo>
                  <a:pt x="1572" y="690"/>
                  <a:pt x="1574" y="693"/>
                  <a:pt x="1577" y="695"/>
                </a:cubicBezTo>
                <a:cubicBezTo>
                  <a:pt x="1579" y="697"/>
                  <a:pt x="1583" y="698"/>
                  <a:pt x="1586" y="698"/>
                </a:cubicBezTo>
                <a:cubicBezTo>
                  <a:pt x="1587" y="698"/>
                  <a:pt x="1588" y="698"/>
                  <a:pt x="1589" y="698"/>
                </a:cubicBezTo>
                <a:cubicBezTo>
                  <a:pt x="1591" y="698"/>
                  <a:pt x="1593" y="698"/>
                  <a:pt x="1594" y="698"/>
                </a:cubicBezTo>
                <a:cubicBezTo>
                  <a:pt x="1598" y="698"/>
                  <a:pt x="1601" y="698"/>
                  <a:pt x="1605" y="698"/>
                </a:cubicBezTo>
                <a:cubicBezTo>
                  <a:pt x="1608" y="698"/>
                  <a:pt x="1612" y="698"/>
                  <a:pt x="1616" y="696"/>
                </a:cubicBezTo>
                <a:cubicBezTo>
                  <a:pt x="1617" y="696"/>
                  <a:pt x="1617" y="696"/>
                  <a:pt x="1618" y="696"/>
                </a:cubicBezTo>
                <a:cubicBezTo>
                  <a:pt x="1620" y="696"/>
                  <a:pt x="1622" y="698"/>
                  <a:pt x="1623" y="700"/>
                </a:cubicBezTo>
                <a:cubicBezTo>
                  <a:pt x="1624" y="703"/>
                  <a:pt x="1628" y="705"/>
                  <a:pt x="1630" y="705"/>
                </a:cubicBezTo>
                <a:cubicBezTo>
                  <a:pt x="1635" y="704"/>
                  <a:pt x="1637" y="702"/>
                  <a:pt x="1639" y="701"/>
                </a:cubicBezTo>
                <a:cubicBezTo>
                  <a:pt x="1640" y="700"/>
                  <a:pt x="1641" y="699"/>
                  <a:pt x="1641" y="699"/>
                </a:cubicBezTo>
                <a:cubicBezTo>
                  <a:pt x="1641" y="699"/>
                  <a:pt x="1641" y="699"/>
                  <a:pt x="1642" y="699"/>
                </a:cubicBezTo>
                <a:cubicBezTo>
                  <a:pt x="1643" y="698"/>
                  <a:pt x="1645" y="698"/>
                  <a:pt x="1647" y="698"/>
                </a:cubicBezTo>
                <a:cubicBezTo>
                  <a:pt x="1650" y="698"/>
                  <a:pt x="1652" y="699"/>
                  <a:pt x="1652" y="699"/>
                </a:cubicBezTo>
                <a:cubicBezTo>
                  <a:pt x="1654" y="702"/>
                  <a:pt x="1656" y="704"/>
                  <a:pt x="1660" y="704"/>
                </a:cubicBezTo>
                <a:cubicBezTo>
                  <a:pt x="1665" y="704"/>
                  <a:pt x="1667" y="701"/>
                  <a:pt x="1668" y="699"/>
                </a:cubicBezTo>
                <a:cubicBezTo>
                  <a:pt x="1669" y="696"/>
                  <a:pt x="1669" y="694"/>
                  <a:pt x="1669" y="691"/>
                </a:cubicBezTo>
                <a:cubicBezTo>
                  <a:pt x="1669" y="689"/>
                  <a:pt x="1669" y="685"/>
                  <a:pt x="1667" y="682"/>
                </a:cubicBezTo>
                <a:cubicBezTo>
                  <a:pt x="1664" y="675"/>
                  <a:pt x="1659" y="668"/>
                  <a:pt x="1656" y="661"/>
                </a:cubicBezTo>
                <a:cubicBezTo>
                  <a:pt x="1653" y="654"/>
                  <a:pt x="1647" y="647"/>
                  <a:pt x="1639" y="648"/>
                </a:cubicBezTo>
                <a:cubicBezTo>
                  <a:pt x="1637" y="648"/>
                  <a:pt x="1634" y="648"/>
                  <a:pt x="1631" y="649"/>
                </a:cubicBezTo>
                <a:cubicBezTo>
                  <a:pt x="1630" y="649"/>
                  <a:pt x="1629" y="649"/>
                  <a:pt x="1629" y="649"/>
                </a:cubicBezTo>
                <a:cubicBezTo>
                  <a:pt x="1627" y="649"/>
                  <a:pt x="1627" y="649"/>
                  <a:pt x="1626" y="648"/>
                </a:cubicBezTo>
                <a:cubicBezTo>
                  <a:pt x="1624" y="647"/>
                  <a:pt x="1622" y="645"/>
                  <a:pt x="1619" y="643"/>
                </a:cubicBezTo>
                <a:cubicBezTo>
                  <a:pt x="1619" y="643"/>
                  <a:pt x="1618" y="642"/>
                  <a:pt x="1618" y="642"/>
                </a:cubicBezTo>
                <a:cubicBezTo>
                  <a:pt x="1621" y="636"/>
                  <a:pt x="1623" y="633"/>
                  <a:pt x="1626" y="625"/>
                </a:cubicBezTo>
                <a:cubicBezTo>
                  <a:pt x="1627" y="624"/>
                  <a:pt x="1629" y="620"/>
                  <a:pt x="1632" y="616"/>
                </a:cubicBezTo>
                <a:cubicBezTo>
                  <a:pt x="1634" y="612"/>
                  <a:pt x="1636" y="608"/>
                  <a:pt x="1637" y="602"/>
                </a:cubicBezTo>
                <a:cubicBezTo>
                  <a:pt x="1637" y="597"/>
                  <a:pt x="1632" y="591"/>
                  <a:pt x="1626" y="590"/>
                </a:cubicBezTo>
                <a:cubicBezTo>
                  <a:pt x="1618" y="588"/>
                  <a:pt x="1614" y="586"/>
                  <a:pt x="1612" y="584"/>
                </a:cubicBezTo>
                <a:cubicBezTo>
                  <a:pt x="1610" y="583"/>
                  <a:pt x="1609" y="582"/>
                  <a:pt x="1608" y="579"/>
                </a:cubicBezTo>
                <a:cubicBezTo>
                  <a:pt x="1606" y="572"/>
                  <a:pt x="1601" y="566"/>
                  <a:pt x="1595" y="561"/>
                </a:cubicBezTo>
                <a:cubicBezTo>
                  <a:pt x="1592" y="558"/>
                  <a:pt x="1589" y="556"/>
                  <a:pt x="1587" y="554"/>
                </a:cubicBezTo>
                <a:cubicBezTo>
                  <a:pt x="1584" y="553"/>
                  <a:pt x="1582" y="551"/>
                  <a:pt x="1578" y="551"/>
                </a:cubicBezTo>
                <a:cubicBezTo>
                  <a:pt x="1576" y="551"/>
                  <a:pt x="1571" y="551"/>
                  <a:pt x="1567" y="550"/>
                </a:cubicBezTo>
                <a:cubicBezTo>
                  <a:pt x="1565" y="550"/>
                  <a:pt x="1563" y="549"/>
                  <a:pt x="1562" y="549"/>
                </a:cubicBezTo>
                <a:cubicBezTo>
                  <a:pt x="1562" y="549"/>
                  <a:pt x="1562" y="549"/>
                  <a:pt x="1562" y="548"/>
                </a:cubicBezTo>
                <a:cubicBezTo>
                  <a:pt x="1559" y="538"/>
                  <a:pt x="1548" y="525"/>
                  <a:pt x="1542" y="517"/>
                </a:cubicBezTo>
                <a:cubicBezTo>
                  <a:pt x="1540" y="514"/>
                  <a:pt x="1533" y="505"/>
                  <a:pt x="1526" y="496"/>
                </a:cubicBezTo>
                <a:cubicBezTo>
                  <a:pt x="1523" y="491"/>
                  <a:pt x="1520" y="487"/>
                  <a:pt x="1517" y="484"/>
                </a:cubicBezTo>
                <a:cubicBezTo>
                  <a:pt x="1514" y="480"/>
                  <a:pt x="1512" y="478"/>
                  <a:pt x="1510" y="476"/>
                </a:cubicBezTo>
                <a:cubicBezTo>
                  <a:pt x="1509" y="475"/>
                  <a:pt x="1506" y="474"/>
                  <a:pt x="1504" y="474"/>
                </a:cubicBezTo>
                <a:cubicBezTo>
                  <a:pt x="1495" y="475"/>
                  <a:pt x="1491" y="481"/>
                  <a:pt x="1483" y="493"/>
                </a:cubicBezTo>
                <a:cubicBezTo>
                  <a:pt x="1476" y="505"/>
                  <a:pt x="1470" y="507"/>
                  <a:pt x="1467" y="507"/>
                </a:cubicBezTo>
                <a:cubicBezTo>
                  <a:pt x="1466" y="507"/>
                  <a:pt x="1465" y="507"/>
                  <a:pt x="1463" y="506"/>
                </a:cubicBezTo>
                <a:cubicBezTo>
                  <a:pt x="1459" y="504"/>
                  <a:pt x="1457" y="503"/>
                  <a:pt x="1455" y="502"/>
                </a:cubicBezTo>
                <a:cubicBezTo>
                  <a:pt x="1454" y="501"/>
                  <a:pt x="1452" y="499"/>
                  <a:pt x="1448" y="494"/>
                </a:cubicBezTo>
                <a:cubicBezTo>
                  <a:pt x="1447" y="493"/>
                  <a:pt x="1447" y="492"/>
                  <a:pt x="1447" y="492"/>
                </a:cubicBezTo>
                <a:cubicBezTo>
                  <a:pt x="1447" y="492"/>
                  <a:pt x="1448" y="491"/>
                  <a:pt x="1450" y="489"/>
                </a:cubicBezTo>
                <a:cubicBezTo>
                  <a:pt x="1451" y="488"/>
                  <a:pt x="1454" y="486"/>
                  <a:pt x="1454" y="480"/>
                </a:cubicBezTo>
                <a:cubicBezTo>
                  <a:pt x="1454" y="479"/>
                  <a:pt x="1454" y="477"/>
                  <a:pt x="1453" y="476"/>
                </a:cubicBezTo>
                <a:cubicBezTo>
                  <a:pt x="1449" y="469"/>
                  <a:pt x="1443" y="467"/>
                  <a:pt x="1436" y="465"/>
                </a:cubicBezTo>
                <a:cubicBezTo>
                  <a:pt x="1429" y="463"/>
                  <a:pt x="1421" y="462"/>
                  <a:pt x="1415" y="461"/>
                </a:cubicBezTo>
                <a:cubicBezTo>
                  <a:pt x="1412" y="461"/>
                  <a:pt x="1408" y="458"/>
                  <a:pt x="1402" y="453"/>
                </a:cubicBezTo>
                <a:cubicBezTo>
                  <a:pt x="1396" y="449"/>
                  <a:pt x="1389" y="444"/>
                  <a:pt x="1378" y="443"/>
                </a:cubicBezTo>
                <a:cubicBezTo>
                  <a:pt x="1376" y="443"/>
                  <a:pt x="1373" y="443"/>
                  <a:pt x="1370" y="443"/>
                </a:cubicBezTo>
                <a:cubicBezTo>
                  <a:pt x="1354" y="443"/>
                  <a:pt x="1337" y="446"/>
                  <a:pt x="1334" y="446"/>
                </a:cubicBezTo>
                <a:cubicBezTo>
                  <a:pt x="1331" y="446"/>
                  <a:pt x="1327" y="448"/>
                  <a:pt x="1326" y="450"/>
                </a:cubicBezTo>
                <a:cubicBezTo>
                  <a:pt x="1321" y="457"/>
                  <a:pt x="1322" y="465"/>
                  <a:pt x="1320" y="476"/>
                </a:cubicBezTo>
                <a:cubicBezTo>
                  <a:pt x="1320" y="478"/>
                  <a:pt x="1320" y="480"/>
                  <a:pt x="1320" y="481"/>
                </a:cubicBezTo>
                <a:cubicBezTo>
                  <a:pt x="1320" y="486"/>
                  <a:pt x="1320" y="489"/>
                  <a:pt x="1321" y="492"/>
                </a:cubicBezTo>
                <a:cubicBezTo>
                  <a:pt x="1321" y="492"/>
                  <a:pt x="1322" y="493"/>
                  <a:pt x="1322" y="493"/>
                </a:cubicBezTo>
                <a:cubicBezTo>
                  <a:pt x="1319" y="494"/>
                  <a:pt x="1316" y="495"/>
                  <a:pt x="1314" y="496"/>
                </a:cubicBezTo>
                <a:cubicBezTo>
                  <a:pt x="1313" y="496"/>
                  <a:pt x="1311" y="497"/>
                  <a:pt x="1310" y="498"/>
                </a:cubicBezTo>
                <a:cubicBezTo>
                  <a:pt x="1309" y="499"/>
                  <a:pt x="1307" y="501"/>
                  <a:pt x="1307" y="504"/>
                </a:cubicBezTo>
                <a:cubicBezTo>
                  <a:pt x="1307" y="507"/>
                  <a:pt x="1309" y="509"/>
                  <a:pt x="1311" y="510"/>
                </a:cubicBezTo>
                <a:cubicBezTo>
                  <a:pt x="1312" y="512"/>
                  <a:pt x="1314" y="513"/>
                  <a:pt x="1316" y="514"/>
                </a:cubicBezTo>
                <a:cubicBezTo>
                  <a:pt x="1320" y="516"/>
                  <a:pt x="1326" y="522"/>
                  <a:pt x="1330" y="528"/>
                </a:cubicBezTo>
                <a:cubicBezTo>
                  <a:pt x="1333" y="532"/>
                  <a:pt x="1336" y="536"/>
                  <a:pt x="1337" y="538"/>
                </a:cubicBezTo>
                <a:cubicBezTo>
                  <a:pt x="1337" y="539"/>
                  <a:pt x="1337" y="540"/>
                  <a:pt x="1336" y="542"/>
                </a:cubicBezTo>
                <a:cubicBezTo>
                  <a:pt x="1335" y="545"/>
                  <a:pt x="1334" y="549"/>
                  <a:pt x="1331" y="551"/>
                </a:cubicBezTo>
                <a:cubicBezTo>
                  <a:pt x="1327" y="555"/>
                  <a:pt x="1321" y="558"/>
                  <a:pt x="1320" y="559"/>
                </a:cubicBezTo>
                <a:cubicBezTo>
                  <a:pt x="1320" y="559"/>
                  <a:pt x="1320" y="558"/>
                  <a:pt x="1320" y="558"/>
                </a:cubicBezTo>
                <a:cubicBezTo>
                  <a:pt x="1316" y="552"/>
                  <a:pt x="1311" y="549"/>
                  <a:pt x="1305" y="549"/>
                </a:cubicBezTo>
                <a:cubicBezTo>
                  <a:pt x="1303" y="549"/>
                  <a:pt x="1300" y="550"/>
                  <a:pt x="1298" y="552"/>
                </a:cubicBezTo>
                <a:cubicBezTo>
                  <a:pt x="1296" y="553"/>
                  <a:pt x="1294" y="557"/>
                  <a:pt x="1294" y="560"/>
                </a:cubicBezTo>
                <a:cubicBezTo>
                  <a:pt x="1294" y="561"/>
                  <a:pt x="1294" y="563"/>
                  <a:pt x="1295" y="565"/>
                </a:cubicBezTo>
                <a:cubicBezTo>
                  <a:pt x="1297" y="570"/>
                  <a:pt x="1300" y="573"/>
                  <a:pt x="1302" y="576"/>
                </a:cubicBezTo>
                <a:cubicBezTo>
                  <a:pt x="1304" y="579"/>
                  <a:pt x="1305" y="581"/>
                  <a:pt x="1305" y="583"/>
                </a:cubicBezTo>
                <a:cubicBezTo>
                  <a:pt x="1305" y="588"/>
                  <a:pt x="1307" y="593"/>
                  <a:pt x="1308" y="598"/>
                </a:cubicBezTo>
                <a:cubicBezTo>
                  <a:pt x="1310" y="603"/>
                  <a:pt x="1311" y="608"/>
                  <a:pt x="1311" y="612"/>
                </a:cubicBezTo>
                <a:cubicBezTo>
                  <a:pt x="1311" y="614"/>
                  <a:pt x="1310" y="615"/>
                  <a:pt x="1310" y="615"/>
                </a:cubicBezTo>
                <a:cubicBezTo>
                  <a:pt x="1308" y="616"/>
                  <a:pt x="1308" y="616"/>
                  <a:pt x="1306" y="616"/>
                </a:cubicBezTo>
                <a:cubicBezTo>
                  <a:pt x="1303" y="616"/>
                  <a:pt x="1300" y="615"/>
                  <a:pt x="1296" y="615"/>
                </a:cubicBezTo>
                <a:cubicBezTo>
                  <a:pt x="1295" y="615"/>
                  <a:pt x="1294" y="615"/>
                  <a:pt x="1293" y="616"/>
                </a:cubicBezTo>
                <a:cubicBezTo>
                  <a:pt x="1292" y="615"/>
                  <a:pt x="1291" y="613"/>
                  <a:pt x="1291" y="612"/>
                </a:cubicBezTo>
                <a:cubicBezTo>
                  <a:pt x="1295" y="609"/>
                  <a:pt x="1294" y="605"/>
                  <a:pt x="1295" y="602"/>
                </a:cubicBezTo>
                <a:cubicBezTo>
                  <a:pt x="1295" y="593"/>
                  <a:pt x="1292" y="583"/>
                  <a:pt x="1291" y="583"/>
                </a:cubicBezTo>
                <a:cubicBezTo>
                  <a:pt x="1291" y="581"/>
                  <a:pt x="1289" y="579"/>
                  <a:pt x="1286" y="578"/>
                </a:cubicBezTo>
                <a:cubicBezTo>
                  <a:pt x="1284" y="578"/>
                  <a:pt x="1282" y="579"/>
                  <a:pt x="1280" y="581"/>
                </a:cubicBezTo>
                <a:cubicBezTo>
                  <a:pt x="1280" y="581"/>
                  <a:pt x="1280" y="583"/>
                  <a:pt x="1278" y="585"/>
                </a:cubicBezTo>
                <a:cubicBezTo>
                  <a:pt x="1277" y="583"/>
                  <a:pt x="1276" y="581"/>
                  <a:pt x="1276" y="579"/>
                </a:cubicBezTo>
                <a:cubicBezTo>
                  <a:pt x="1274" y="576"/>
                  <a:pt x="1273" y="575"/>
                  <a:pt x="1273" y="572"/>
                </a:cubicBezTo>
                <a:cubicBezTo>
                  <a:pt x="1273" y="567"/>
                  <a:pt x="1272" y="562"/>
                  <a:pt x="1269" y="559"/>
                </a:cubicBezTo>
                <a:cubicBezTo>
                  <a:pt x="1265" y="556"/>
                  <a:pt x="1261" y="554"/>
                  <a:pt x="1256" y="554"/>
                </a:cubicBezTo>
                <a:cubicBezTo>
                  <a:pt x="1253" y="554"/>
                  <a:pt x="1251" y="555"/>
                  <a:pt x="1248" y="555"/>
                </a:cubicBezTo>
                <a:cubicBezTo>
                  <a:pt x="1247" y="555"/>
                  <a:pt x="1246" y="556"/>
                  <a:pt x="1245" y="556"/>
                </a:cubicBezTo>
                <a:cubicBezTo>
                  <a:pt x="1238" y="556"/>
                  <a:pt x="1226" y="550"/>
                  <a:pt x="1209" y="547"/>
                </a:cubicBezTo>
                <a:cubicBezTo>
                  <a:pt x="1189" y="543"/>
                  <a:pt x="1183" y="540"/>
                  <a:pt x="1167" y="531"/>
                </a:cubicBezTo>
                <a:cubicBezTo>
                  <a:pt x="1160" y="527"/>
                  <a:pt x="1154" y="525"/>
                  <a:pt x="1149" y="525"/>
                </a:cubicBezTo>
                <a:cubicBezTo>
                  <a:pt x="1142" y="525"/>
                  <a:pt x="1137" y="528"/>
                  <a:pt x="1134" y="529"/>
                </a:cubicBezTo>
                <a:cubicBezTo>
                  <a:pt x="1134" y="527"/>
                  <a:pt x="1133" y="523"/>
                  <a:pt x="1132" y="519"/>
                </a:cubicBezTo>
                <a:cubicBezTo>
                  <a:pt x="1130" y="515"/>
                  <a:pt x="1127" y="509"/>
                  <a:pt x="1120" y="507"/>
                </a:cubicBezTo>
                <a:cubicBezTo>
                  <a:pt x="1114" y="505"/>
                  <a:pt x="1109" y="506"/>
                  <a:pt x="1109" y="505"/>
                </a:cubicBezTo>
                <a:cubicBezTo>
                  <a:pt x="1109" y="505"/>
                  <a:pt x="1109" y="505"/>
                  <a:pt x="1108" y="504"/>
                </a:cubicBezTo>
                <a:cubicBezTo>
                  <a:pt x="1108" y="503"/>
                  <a:pt x="1107" y="501"/>
                  <a:pt x="1106" y="497"/>
                </a:cubicBezTo>
                <a:cubicBezTo>
                  <a:pt x="1106" y="495"/>
                  <a:pt x="1106" y="493"/>
                  <a:pt x="1106" y="491"/>
                </a:cubicBezTo>
                <a:cubicBezTo>
                  <a:pt x="1106" y="486"/>
                  <a:pt x="1107" y="484"/>
                  <a:pt x="1111" y="479"/>
                </a:cubicBezTo>
                <a:cubicBezTo>
                  <a:pt x="1115" y="475"/>
                  <a:pt x="1122" y="469"/>
                  <a:pt x="1133" y="461"/>
                </a:cubicBezTo>
                <a:cubicBezTo>
                  <a:pt x="1146" y="451"/>
                  <a:pt x="1152" y="444"/>
                  <a:pt x="1156" y="439"/>
                </a:cubicBezTo>
                <a:cubicBezTo>
                  <a:pt x="1161" y="435"/>
                  <a:pt x="1162" y="433"/>
                  <a:pt x="1171" y="432"/>
                </a:cubicBezTo>
                <a:cubicBezTo>
                  <a:pt x="1176" y="431"/>
                  <a:pt x="1180" y="431"/>
                  <a:pt x="1183" y="431"/>
                </a:cubicBezTo>
                <a:cubicBezTo>
                  <a:pt x="1187" y="431"/>
                  <a:pt x="1191" y="432"/>
                  <a:pt x="1194" y="432"/>
                </a:cubicBezTo>
                <a:cubicBezTo>
                  <a:pt x="1196" y="431"/>
                  <a:pt x="1198" y="432"/>
                  <a:pt x="1201" y="430"/>
                </a:cubicBezTo>
                <a:cubicBezTo>
                  <a:pt x="1204" y="428"/>
                  <a:pt x="1206" y="424"/>
                  <a:pt x="1205" y="422"/>
                </a:cubicBezTo>
                <a:cubicBezTo>
                  <a:pt x="1205" y="421"/>
                  <a:pt x="1206" y="419"/>
                  <a:pt x="1206" y="416"/>
                </a:cubicBezTo>
                <a:cubicBezTo>
                  <a:pt x="1207" y="417"/>
                  <a:pt x="1207" y="418"/>
                  <a:pt x="1208" y="418"/>
                </a:cubicBezTo>
                <a:cubicBezTo>
                  <a:pt x="1210" y="419"/>
                  <a:pt x="1212" y="421"/>
                  <a:pt x="1213" y="421"/>
                </a:cubicBezTo>
                <a:cubicBezTo>
                  <a:pt x="1212" y="421"/>
                  <a:pt x="1212" y="421"/>
                  <a:pt x="1212" y="421"/>
                </a:cubicBezTo>
                <a:cubicBezTo>
                  <a:pt x="1208" y="426"/>
                  <a:pt x="1205" y="428"/>
                  <a:pt x="1205" y="434"/>
                </a:cubicBezTo>
                <a:cubicBezTo>
                  <a:pt x="1205" y="439"/>
                  <a:pt x="1210" y="442"/>
                  <a:pt x="1212" y="442"/>
                </a:cubicBezTo>
                <a:cubicBezTo>
                  <a:pt x="1215" y="443"/>
                  <a:pt x="1217" y="443"/>
                  <a:pt x="1220" y="443"/>
                </a:cubicBezTo>
                <a:cubicBezTo>
                  <a:pt x="1226" y="443"/>
                  <a:pt x="1232" y="440"/>
                  <a:pt x="1237" y="438"/>
                </a:cubicBezTo>
                <a:cubicBezTo>
                  <a:pt x="1242" y="435"/>
                  <a:pt x="1245" y="433"/>
                  <a:pt x="1246" y="433"/>
                </a:cubicBezTo>
                <a:cubicBezTo>
                  <a:pt x="1247" y="432"/>
                  <a:pt x="1248" y="431"/>
                  <a:pt x="1251" y="431"/>
                </a:cubicBezTo>
                <a:cubicBezTo>
                  <a:pt x="1253" y="430"/>
                  <a:pt x="1257" y="429"/>
                  <a:pt x="1259" y="429"/>
                </a:cubicBezTo>
                <a:cubicBezTo>
                  <a:pt x="1260" y="429"/>
                  <a:pt x="1261" y="429"/>
                  <a:pt x="1261" y="429"/>
                </a:cubicBezTo>
                <a:cubicBezTo>
                  <a:pt x="1261" y="429"/>
                  <a:pt x="1261" y="429"/>
                  <a:pt x="1261" y="429"/>
                </a:cubicBezTo>
                <a:cubicBezTo>
                  <a:pt x="1263" y="432"/>
                  <a:pt x="1264" y="436"/>
                  <a:pt x="1266" y="440"/>
                </a:cubicBezTo>
                <a:cubicBezTo>
                  <a:pt x="1266" y="440"/>
                  <a:pt x="1266" y="440"/>
                  <a:pt x="1266" y="440"/>
                </a:cubicBezTo>
                <a:cubicBezTo>
                  <a:pt x="1263" y="438"/>
                  <a:pt x="1260" y="437"/>
                  <a:pt x="1256" y="437"/>
                </a:cubicBezTo>
                <a:cubicBezTo>
                  <a:pt x="1251" y="437"/>
                  <a:pt x="1246" y="439"/>
                  <a:pt x="1243" y="444"/>
                </a:cubicBezTo>
                <a:cubicBezTo>
                  <a:pt x="1243" y="444"/>
                  <a:pt x="1243" y="444"/>
                  <a:pt x="1243" y="444"/>
                </a:cubicBezTo>
                <a:cubicBezTo>
                  <a:pt x="1242" y="445"/>
                  <a:pt x="1241" y="447"/>
                  <a:pt x="1241" y="449"/>
                </a:cubicBezTo>
                <a:cubicBezTo>
                  <a:pt x="1242" y="455"/>
                  <a:pt x="1246" y="456"/>
                  <a:pt x="1249" y="458"/>
                </a:cubicBezTo>
                <a:cubicBezTo>
                  <a:pt x="1252" y="459"/>
                  <a:pt x="1256" y="460"/>
                  <a:pt x="1259" y="460"/>
                </a:cubicBezTo>
                <a:cubicBezTo>
                  <a:pt x="1262" y="460"/>
                  <a:pt x="1267" y="460"/>
                  <a:pt x="1270" y="455"/>
                </a:cubicBezTo>
                <a:cubicBezTo>
                  <a:pt x="1271" y="454"/>
                  <a:pt x="1271" y="452"/>
                  <a:pt x="1271" y="450"/>
                </a:cubicBezTo>
                <a:cubicBezTo>
                  <a:pt x="1271" y="448"/>
                  <a:pt x="1271" y="447"/>
                  <a:pt x="1270" y="445"/>
                </a:cubicBezTo>
                <a:cubicBezTo>
                  <a:pt x="1272" y="447"/>
                  <a:pt x="1275" y="449"/>
                  <a:pt x="1279" y="449"/>
                </a:cubicBezTo>
                <a:cubicBezTo>
                  <a:pt x="1284" y="448"/>
                  <a:pt x="1288" y="447"/>
                  <a:pt x="1292" y="444"/>
                </a:cubicBezTo>
                <a:cubicBezTo>
                  <a:pt x="1297" y="441"/>
                  <a:pt x="1301" y="437"/>
                  <a:pt x="1301" y="430"/>
                </a:cubicBezTo>
                <a:cubicBezTo>
                  <a:pt x="1301" y="425"/>
                  <a:pt x="1298" y="420"/>
                  <a:pt x="1292" y="417"/>
                </a:cubicBezTo>
                <a:cubicBezTo>
                  <a:pt x="1284" y="411"/>
                  <a:pt x="1278" y="409"/>
                  <a:pt x="1273" y="407"/>
                </a:cubicBezTo>
                <a:cubicBezTo>
                  <a:pt x="1267" y="405"/>
                  <a:pt x="1264" y="403"/>
                  <a:pt x="1260" y="399"/>
                </a:cubicBezTo>
                <a:cubicBezTo>
                  <a:pt x="1259" y="396"/>
                  <a:pt x="1257" y="395"/>
                  <a:pt x="1256" y="393"/>
                </a:cubicBezTo>
                <a:cubicBezTo>
                  <a:pt x="1260" y="392"/>
                  <a:pt x="1268" y="388"/>
                  <a:pt x="1271" y="387"/>
                </a:cubicBezTo>
                <a:cubicBezTo>
                  <a:pt x="1271" y="387"/>
                  <a:pt x="1277" y="386"/>
                  <a:pt x="1282" y="384"/>
                </a:cubicBezTo>
                <a:cubicBezTo>
                  <a:pt x="1286" y="382"/>
                  <a:pt x="1293" y="377"/>
                  <a:pt x="1293" y="368"/>
                </a:cubicBezTo>
                <a:cubicBezTo>
                  <a:pt x="1293" y="367"/>
                  <a:pt x="1293" y="365"/>
                  <a:pt x="1293" y="364"/>
                </a:cubicBezTo>
                <a:cubicBezTo>
                  <a:pt x="1290" y="356"/>
                  <a:pt x="1285" y="351"/>
                  <a:pt x="1281" y="349"/>
                </a:cubicBezTo>
                <a:cubicBezTo>
                  <a:pt x="1279" y="348"/>
                  <a:pt x="1277" y="347"/>
                  <a:pt x="1276" y="346"/>
                </a:cubicBezTo>
                <a:cubicBezTo>
                  <a:pt x="1278" y="345"/>
                  <a:pt x="1281" y="343"/>
                  <a:pt x="1284" y="342"/>
                </a:cubicBezTo>
                <a:cubicBezTo>
                  <a:pt x="1284" y="342"/>
                  <a:pt x="1286" y="341"/>
                  <a:pt x="1289" y="341"/>
                </a:cubicBezTo>
                <a:cubicBezTo>
                  <a:pt x="1292" y="341"/>
                  <a:pt x="1295" y="341"/>
                  <a:pt x="1298" y="342"/>
                </a:cubicBezTo>
                <a:cubicBezTo>
                  <a:pt x="1300" y="342"/>
                  <a:pt x="1302" y="342"/>
                  <a:pt x="1302" y="342"/>
                </a:cubicBezTo>
                <a:cubicBezTo>
                  <a:pt x="1302" y="342"/>
                  <a:pt x="1304" y="343"/>
                  <a:pt x="1306" y="343"/>
                </a:cubicBezTo>
                <a:cubicBezTo>
                  <a:pt x="1308" y="342"/>
                  <a:pt x="1310" y="342"/>
                  <a:pt x="1313" y="341"/>
                </a:cubicBezTo>
                <a:cubicBezTo>
                  <a:pt x="1314" y="341"/>
                  <a:pt x="1316" y="340"/>
                  <a:pt x="1317" y="339"/>
                </a:cubicBezTo>
                <a:cubicBezTo>
                  <a:pt x="1317" y="339"/>
                  <a:pt x="1318" y="340"/>
                  <a:pt x="1319" y="341"/>
                </a:cubicBezTo>
                <a:cubicBezTo>
                  <a:pt x="1320" y="343"/>
                  <a:pt x="1323" y="344"/>
                  <a:pt x="1326" y="344"/>
                </a:cubicBezTo>
                <a:cubicBezTo>
                  <a:pt x="1327" y="344"/>
                  <a:pt x="1328" y="344"/>
                  <a:pt x="1330" y="343"/>
                </a:cubicBezTo>
                <a:cubicBezTo>
                  <a:pt x="1332" y="343"/>
                  <a:pt x="1334" y="343"/>
                  <a:pt x="1335" y="343"/>
                </a:cubicBezTo>
                <a:cubicBezTo>
                  <a:pt x="1338" y="343"/>
                  <a:pt x="1338" y="343"/>
                  <a:pt x="1343" y="346"/>
                </a:cubicBezTo>
                <a:cubicBezTo>
                  <a:pt x="1343" y="347"/>
                  <a:pt x="1343" y="347"/>
                  <a:pt x="1343" y="347"/>
                </a:cubicBezTo>
                <a:cubicBezTo>
                  <a:pt x="1343" y="349"/>
                  <a:pt x="1342" y="353"/>
                  <a:pt x="1340" y="355"/>
                </a:cubicBezTo>
                <a:cubicBezTo>
                  <a:pt x="1340" y="357"/>
                  <a:pt x="1339" y="358"/>
                  <a:pt x="1338" y="359"/>
                </a:cubicBezTo>
                <a:cubicBezTo>
                  <a:pt x="1338" y="360"/>
                  <a:pt x="1337" y="360"/>
                  <a:pt x="1337" y="360"/>
                </a:cubicBezTo>
                <a:cubicBezTo>
                  <a:pt x="1335" y="361"/>
                  <a:pt x="1333" y="362"/>
                  <a:pt x="1331" y="364"/>
                </a:cubicBezTo>
                <a:cubicBezTo>
                  <a:pt x="1329" y="365"/>
                  <a:pt x="1326" y="366"/>
                  <a:pt x="1325" y="372"/>
                </a:cubicBezTo>
                <a:cubicBezTo>
                  <a:pt x="1325" y="376"/>
                  <a:pt x="1328" y="378"/>
                  <a:pt x="1330" y="379"/>
                </a:cubicBezTo>
                <a:cubicBezTo>
                  <a:pt x="1332" y="380"/>
                  <a:pt x="1334" y="381"/>
                  <a:pt x="1337" y="381"/>
                </a:cubicBezTo>
                <a:cubicBezTo>
                  <a:pt x="1350" y="382"/>
                  <a:pt x="1359" y="382"/>
                  <a:pt x="1359" y="382"/>
                </a:cubicBezTo>
                <a:cubicBezTo>
                  <a:pt x="1361" y="382"/>
                  <a:pt x="1363" y="382"/>
                  <a:pt x="1364" y="380"/>
                </a:cubicBezTo>
                <a:cubicBezTo>
                  <a:pt x="1364" y="380"/>
                  <a:pt x="1372" y="370"/>
                  <a:pt x="1376" y="361"/>
                </a:cubicBezTo>
                <a:cubicBezTo>
                  <a:pt x="1376" y="361"/>
                  <a:pt x="1376" y="361"/>
                  <a:pt x="1376" y="360"/>
                </a:cubicBezTo>
                <a:cubicBezTo>
                  <a:pt x="1378" y="361"/>
                  <a:pt x="1380" y="362"/>
                  <a:pt x="1382" y="364"/>
                </a:cubicBezTo>
                <a:cubicBezTo>
                  <a:pt x="1383" y="364"/>
                  <a:pt x="1385" y="365"/>
                  <a:pt x="1386" y="366"/>
                </a:cubicBezTo>
                <a:cubicBezTo>
                  <a:pt x="1371" y="371"/>
                  <a:pt x="1365" y="381"/>
                  <a:pt x="1362" y="387"/>
                </a:cubicBezTo>
                <a:cubicBezTo>
                  <a:pt x="1361" y="390"/>
                  <a:pt x="1360" y="392"/>
                  <a:pt x="1359" y="392"/>
                </a:cubicBezTo>
                <a:cubicBezTo>
                  <a:pt x="1359" y="392"/>
                  <a:pt x="1359" y="392"/>
                  <a:pt x="1357" y="393"/>
                </a:cubicBezTo>
                <a:cubicBezTo>
                  <a:pt x="1356" y="393"/>
                  <a:pt x="1353" y="392"/>
                  <a:pt x="1349" y="391"/>
                </a:cubicBezTo>
                <a:cubicBezTo>
                  <a:pt x="1343" y="389"/>
                  <a:pt x="1338" y="389"/>
                  <a:pt x="1334" y="389"/>
                </a:cubicBezTo>
                <a:cubicBezTo>
                  <a:pt x="1326" y="388"/>
                  <a:pt x="1319" y="392"/>
                  <a:pt x="1316" y="398"/>
                </a:cubicBezTo>
                <a:cubicBezTo>
                  <a:pt x="1314" y="402"/>
                  <a:pt x="1314" y="407"/>
                  <a:pt x="1314" y="411"/>
                </a:cubicBezTo>
                <a:cubicBezTo>
                  <a:pt x="1314" y="415"/>
                  <a:pt x="1314" y="420"/>
                  <a:pt x="1315" y="424"/>
                </a:cubicBezTo>
                <a:cubicBezTo>
                  <a:pt x="1316" y="426"/>
                  <a:pt x="1317" y="428"/>
                  <a:pt x="1318" y="429"/>
                </a:cubicBezTo>
                <a:cubicBezTo>
                  <a:pt x="1319" y="431"/>
                  <a:pt x="1321" y="433"/>
                  <a:pt x="1325" y="434"/>
                </a:cubicBezTo>
                <a:cubicBezTo>
                  <a:pt x="1326" y="434"/>
                  <a:pt x="1327" y="433"/>
                  <a:pt x="1328" y="433"/>
                </a:cubicBezTo>
                <a:cubicBezTo>
                  <a:pt x="1333" y="431"/>
                  <a:pt x="1338" y="431"/>
                  <a:pt x="1347" y="427"/>
                </a:cubicBezTo>
                <a:cubicBezTo>
                  <a:pt x="1347" y="427"/>
                  <a:pt x="1348" y="427"/>
                  <a:pt x="1351" y="427"/>
                </a:cubicBezTo>
                <a:cubicBezTo>
                  <a:pt x="1359" y="427"/>
                  <a:pt x="1374" y="429"/>
                  <a:pt x="1383" y="429"/>
                </a:cubicBezTo>
                <a:cubicBezTo>
                  <a:pt x="1384" y="429"/>
                  <a:pt x="1385" y="429"/>
                  <a:pt x="1387" y="429"/>
                </a:cubicBezTo>
                <a:cubicBezTo>
                  <a:pt x="1387" y="429"/>
                  <a:pt x="1388" y="429"/>
                  <a:pt x="1389" y="430"/>
                </a:cubicBezTo>
                <a:cubicBezTo>
                  <a:pt x="1391" y="431"/>
                  <a:pt x="1394" y="434"/>
                  <a:pt x="1396" y="436"/>
                </a:cubicBezTo>
                <a:cubicBezTo>
                  <a:pt x="1399" y="438"/>
                  <a:pt x="1401" y="440"/>
                  <a:pt x="1407" y="441"/>
                </a:cubicBezTo>
                <a:cubicBezTo>
                  <a:pt x="1408" y="441"/>
                  <a:pt x="1409" y="440"/>
                  <a:pt x="1410" y="440"/>
                </a:cubicBezTo>
                <a:cubicBezTo>
                  <a:pt x="1412" y="441"/>
                  <a:pt x="1417" y="446"/>
                  <a:pt x="1421" y="450"/>
                </a:cubicBezTo>
                <a:cubicBezTo>
                  <a:pt x="1423" y="451"/>
                  <a:pt x="1425" y="452"/>
                  <a:pt x="1427" y="452"/>
                </a:cubicBezTo>
                <a:cubicBezTo>
                  <a:pt x="1430" y="452"/>
                  <a:pt x="1433" y="451"/>
                  <a:pt x="1434" y="450"/>
                </a:cubicBezTo>
                <a:cubicBezTo>
                  <a:pt x="1435" y="448"/>
                  <a:pt x="1435" y="447"/>
                  <a:pt x="1436" y="447"/>
                </a:cubicBezTo>
                <a:cubicBezTo>
                  <a:pt x="1436" y="447"/>
                  <a:pt x="1437" y="448"/>
                  <a:pt x="1438" y="448"/>
                </a:cubicBezTo>
                <a:cubicBezTo>
                  <a:pt x="1444" y="454"/>
                  <a:pt x="1445" y="455"/>
                  <a:pt x="1445" y="456"/>
                </a:cubicBezTo>
                <a:cubicBezTo>
                  <a:pt x="1445" y="457"/>
                  <a:pt x="1447" y="459"/>
                  <a:pt x="1450" y="460"/>
                </a:cubicBezTo>
                <a:cubicBezTo>
                  <a:pt x="1452" y="460"/>
                  <a:pt x="1453" y="460"/>
                  <a:pt x="1454" y="460"/>
                </a:cubicBezTo>
                <a:cubicBezTo>
                  <a:pt x="1454" y="460"/>
                  <a:pt x="1454" y="460"/>
                  <a:pt x="1455" y="460"/>
                </a:cubicBezTo>
                <a:cubicBezTo>
                  <a:pt x="1461" y="460"/>
                  <a:pt x="1476" y="462"/>
                  <a:pt x="1476" y="462"/>
                </a:cubicBezTo>
                <a:cubicBezTo>
                  <a:pt x="1478" y="462"/>
                  <a:pt x="1479" y="462"/>
                  <a:pt x="1481" y="461"/>
                </a:cubicBezTo>
                <a:cubicBezTo>
                  <a:pt x="1482" y="460"/>
                  <a:pt x="1483" y="458"/>
                  <a:pt x="1483" y="457"/>
                </a:cubicBezTo>
                <a:cubicBezTo>
                  <a:pt x="1483" y="457"/>
                  <a:pt x="1483" y="456"/>
                  <a:pt x="1483" y="456"/>
                </a:cubicBezTo>
                <a:cubicBezTo>
                  <a:pt x="1483" y="455"/>
                  <a:pt x="1484" y="453"/>
                  <a:pt x="1484" y="452"/>
                </a:cubicBezTo>
                <a:cubicBezTo>
                  <a:pt x="1485" y="451"/>
                  <a:pt x="1485" y="451"/>
                  <a:pt x="1486" y="451"/>
                </a:cubicBezTo>
                <a:cubicBezTo>
                  <a:pt x="1487" y="451"/>
                  <a:pt x="1487" y="451"/>
                  <a:pt x="1488" y="451"/>
                </a:cubicBezTo>
                <a:cubicBezTo>
                  <a:pt x="1491" y="452"/>
                  <a:pt x="1494" y="454"/>
                  <a:pt x="1498" y="456"/>
                </a:cubicBezTo>
                <a:cubicBezTo>
                  <a:pt x="1499" y="458"/>
                  <a:pt x="1501" y="459"/>
                  <a:pt x="1502" y="460"/>
                </a:cubicBezTo>
                <a:cubicBezTo>
                  <a:pt x="1504" y="461"/>
                  <a:pt x="1505" y="462"/>
                  <a:pt x="1509" y="462"/>
                </a:cubicBezTo>
                <a:cubicBezTo>
                  <a:pt x="1511" y="462"/>
                  <a:pt x="1514" y="461"/>
                  <a:pt x="1515" y="459"/>
                </a:cubicBezTo>
                <a:cubicBezTo>
                  <a:pt x="1516" y="456"/>
                  <a:pt x="1516" y="455"/>
                  <a:pt x="1516" y="454"/>
                </a:cubicBezTo>
                <a:cubicBezTo>
                  <a:pt x="1516" y="453"/>
                  <a:pt x="1516" y="452"/>
                  <a:pt x="1516" y="452"/>
                </a:cubicBezTo>
                <a:cubicBezTo>
                  <a:pt x="1516" y="447"/>
                  <a:pt x="1516" y="442"/>
                  <a:pt x="1515" y="436"/>
                </a:cubicBezTo>
                <a:cubicBezTo>
                  <a:pt x="1514" y="431"/>
                  <a:pt x="1512" y="425"/>
                  <a:pt x="1506" y="420"/>
                </a:cubicBezTo>
                <a:cubicBezTo>
                  <a:pt x="1501" y="415"/>
                  <a:pt x="1494" y="412"/>
                  <a:pt x="1489" y="409"/>
                </a:cubicBezTo>
                <a:cubicBezTo>
                  <a:pt x="1487" y="407"/>
                  <a:pt x="1484" y="406"/>
                  <a:pt x="1483" y="405"/>
                </a:cubicBezTo>
                <a:cubicBezTo>
                  <a:pt x="1482" y="404"/>
                  <a:pt x="1481" y="404"/>
                  <a:pt x="1481" y="404"/>
                </a:cubicBezTo>
                <a:cubicBezTo>
                  <a:pt x="1481" y="404"/>
                  <a:pt x="1481" y="404"/>
                  <a:pt x="1481" y="404"/>
                </a:cubicBezTo>
                <a:cubicBezTo>
                  <a:pt x="1480" y="402"/>
                  <a:pt x="1479" y="401"/>
                  <a:pt x="1479" y="399"/>
                </a:cubicBezTo>
                <a:cubicBezTo>
                  <a:pt x="1484" y="400"/>
                  <a:pt x="1494" y="403"/>
                  <a:pt x="1499" y="407"/>
                </a:cubicBezTo>
                <a:cubicBezTo>
                  <a:pt x="1506" y="412"/>
                  <a:pt x="1512" y="418"/>
                  <a:pt x="1522" y="419"/>
                </a:cubicBezTo>
                <a:cubicBezTo>
                  <a:pt x="1525" y="419"/>
                  <a:pt x="1528" y="418"/>
                  <a:pt x="1531" y="415"/>
                </a:cubicBezTo>
                <a:cubicBezTo>
                  <a:pt x="1537" y="411"/>
                  <a:pt x="1545" y="408"/>
                  <a:pt x="1550" y="402"/>
                </a:cubicBezTo>
                <a:cubicBezTo>
                  <a:pt x="1554" y="397"/>
                  <a:pt x="1562" y="385"/>
                  <a:pt x="1562" y="385"/>
                </a:cubicBezTo>
                <a:cubicBezTo>
                  <a:pt x="1563" y="383"/>
                  <a:pt x="1564" y="381"/>
                  <a:pt x="1563" y="379"/>
                </a:cubicBezTo>
                <a:cubicBezTo>
                  <a:pt x="1562" y="377"/>
                  <a:pt x="1560" y="376"/>
                  <a:pt x="1558" y="376"/>
                </a:cubicBezTo>
                <a:cubicBezTo>
                  <a:pt x="1558" y="376"/>
                  <a:pt x="1550" y="374"/>
                  <a:pt x="1541" y="372"/>
                </a:cubicBezTo>
                <a:cubicBezTo>
                  <a:pt x="1536" y="371"/>
                  <a:pt x="1532" y="370"/>
                  <a:pt x="1528" y="369"/>
                </a:cubicBezTo>
                <a:cubicBezTo>
                  <a:pt x="1527" y="368"/>
                  <a:pt x="1525" y="368"/>
                  <a:pt x="1524" y="368"/>
                </a:cubicBezTo>
                <a:cubicBezTo>
                  <a:pt x="1524" y="367"/>
                  <a:pt x="1523" y="368"/>
                  <a:pt x="1523" y="368"/>
                </a:cubicBezTo>
                <a:cubicBezTo>
                  <a:pt x="1523" y="368"/>
                  <a:pt x="1523" y="368"/>
                  <a:pt x="1523" y="368"/>
                </a:cubicBezTo>
                <a:cubicBezTo>
                  <a:pt x="1520" y="360"/>
                  <a:pt x="1514" y="358"/>
                  <a:pt x="1509" y="354"/>
                </a:cubicBezTo>
                <a:cubicBezTo>
                  <a:pt x="1503" y="351"/>
                  <a:pt x="1498" y="348"/>
                  <a:pt x="1493" y="347"/>
                </a:cubicBezTo>
                <a:cubicBezTo>
                  <a:pt x="1489" y="347"/>
                  <a:pt x="1487" y="348"/>
                  <a:pt x="1485" y="349"/>
                </a:cubicBezTo>
                <a:cubicBezTo>
                  <a:pt x="1483" y="350"/>
                  <a:pt x="1481" y="350"/>
                  <a:pt x="1480" y="350"/>
                </a:cubicBezTo>
                <a:cubicBezTo>
                  <a:pt x="1478" y="350"/>
                  <a:pt x="1478" y="351"/>
                  <a:pt x="1477" y="347"/>
                </a:cubicBezTo>
                <a:cubicBezTo>
                  <a:pt x="1475" y="341"/>
                  <a:pt x="1473" y="333"/>
                  <a:pt x="1472" y="327"/>
                </a:cubicBezTo>
                <a:cubicBezTo>
                  <a:pt x="1472" y="324"/>
                  <a:pt x="1471" y="321"/>
                  <a:pt x="1470" y="319"/>
                </a:cubicBezTo>
                <a:cubicBezTo>
                  <a:pt x="1469" y="316"/>
                  <a:pt x="1468" y="313"/>
                  <a:pt x="1464" y="311"/>
                </a:cubicBezTo>
                <a:cubicBezTo>
                  <a:pt x="1460" y="310"/>
                  <a:pt x="1448" y="308"/>
                  <a:pt x="1434" y="305"/>
                </a:cubicBezTo>
                <a:cubicBezTo>
                  <a:pt x="1427" y="304"/>
                  <a:pt x="1420" y="302"/>
                  <a:pt x="1415" y="301"/>
                </a:cubicBezTo>
                <a:cubicBezTo>
                  <a:pt x="1410" y="300"/>
                  <a:pt x="1405" y="298"/>
                  <a:pt x="1405" y="298"/>
                </a:cubicBezTo>
                <a:cubicBezTo>
                  <a:pt x="1401" y="295"/>
                  <a:pt x="1392" y="292"/>
                  <a:pt x="1383" y="288"/>
                </a:cubicBezTo>
                <a:cubicBezTo>
                  <a:pt x="1374" y="285"/>
                  <a:pt x="1365" y="280"/>
                  <a:pt x="1360" y="278"/>
                </a:cubicBezTo>
                <a:cubicBezTo>
                  <a:pt x="1350" y="271"/>
                  <a:pt x="1335" y="260"/>
                  <a:pt x="1322" y="260"/>
                </a:cubicBezTo>
                <a:cubicBezTo>
                  <a:pt x="1313" y="260"/>
                  <a:pt x="1283" y="264"/>
                  <a:pt x="1272" y="264"/>
                </a:cubicBezTo>
                <a:cubicBezTo>
                  <a:pt x="1271" y="264"/>
                  <a:pt x="1270" y="264"/>
                  <a:pt x="1270" y="264"/>
                </a:cubicBezTo>
                <a:cubicBezTo>
                  <a:pt x="1268" y="264"/>
                  <a:pt x="1266" y="264"/>
                  <a:pt x="1265" y="264"/>
                </a:cubicBezTo>
                <a:cubicBezTo>
                  <a:pt x="1255" y="264"/>
                  <a:pt x="1239" y="267"/>
                  <a:pt x="1232" y="268"/>
                </a:cubicBezTo>
                <a:cubicBezTo>
                  <a:pt x="1230" y="269"/>
                  <a:pt x="1228" y="270"/>
                  <a:pt x="1226" y="271"/>
                </a:cubicBezTo>
                <a:cubicBezTo>
                  <a:pt x="1225" y="273"/>
                  <a:pt x="1225" y="275"/>
                  <a:pt x="1225" y="277"/>
                </a:cubicBezTo>
                <a:cubicBezTo>
                  <a:pt x="1225" y="283"/>
                  <a:pt x="1228" y="287"/>
                  <a:pt x="1227" y="290"/>
                </a:cubicBezTo>
                <a:cubicBezTo>
                  <a:pt x="1227" y="291"/>
                  <a:pt x="1229" y="290"/>
                  <a:pt x="1224" y="292"/>
                </a:cubicBezTo>
                <a:cubicBezTo>
                  <a:pt x="1222" y="292"/>
                  <a:pt x="1220" y="293"/>
                  <a:pt x="1219" y="293"/>
                </a:cubicBezTo>
                <a:cubicBezTo>
                  <a:pt x="1219" y="291"/>
                  <a:pt x="1220" y="288"/>
                  <a:pt x="1220" y="285"/>
                </a:cubicBezTo>
                <a:cubicBezTo>
                  <a:pt x="1221" y="283"/>
                  <a:pt x="1221" y="280"/>
                  <a:pt x="1221" y="278"/>
                </a:cubicBezTo>
                <a:cubicBezTo>
                  <a:pt x="1221" y="272"/>
                  <a:pt x="1219" y="267"/>
                  <a:pt x="1215" y="263"/>
                </a:cubicBezTo>
                <a:cubicBezTo>
                  <a:pt x="1214" y="261"/>
                  <a:pt x="1212" y="260"/>
                  <a:pt x="1210" y="260"/>
                </a:cubicBezTo>
                <a:cubicBezTo>
                  <a:pt x="1210" y="260"/>
                  <a:pt x="1210" y="260"/>
                  <a:pt x="1211" y="260"/>
                </a:cubicBezTo>
                <a:cubicBezTo>
                  <a:pt x="1213" y="260"/>
                  <a:pt x="1216" y="259"/>
                  <a:pt x="1219" y="260"/>
                </a:cubicBezTo>
                <a:cubicBezTo>
                  <a:pt x="1234" y="261"/>
                  <a:pt x="1256" y="263"/>
                  <a:pt x="1271" y="263"/>
                </a:cubicBezTo>
                <a:cubicBezTo>
                  <a:pt x="1274" y="263"/>
                  <a:pt x="1276" y="263"/>
                  <a:pt x="1278" y="263"/>
                </a:cubicBezTo>
                <a:cubicBezTo>
                  <a:pt x="1286" y="262"/>
                  <a:pt x="1291" y="260"/>
                  <a:pt x="1295" y="257"/>
                </a:cubicBezTo>
                <a:cubicBezTo>
                  <a:pt x="1299" y="254"/>
                  <a:pt x="1301" y="250"/>
                  <a:pt x="1302" y="249"/>
                </a:cubicBezTo>
                <a:cubicBezTo>
                  <a:pt x="1302" y="248"/>
                  <a:pt x="1302" y="247"/>
                  <a:pt x="1302" y="246"/>
                </a:cubicBezTo>
                <a:cubicBezTo>
                  <a:pt x="1302" y="242"/>
                  <a:pt x="1300" y="241"/>
                  <a:pt x="1299" y="240"/>
                </a:cubicBezTo>
                <a:cubicBezTo>
                  <a:pt x="1295" y="237"/>
                  <a:pt x="1289" y="235"/>
                  <a:pt x="1282" y="233"/>
                </a:cubicBezTo>
                <a:cubicBezTo>
                  <a:pt x="1275" y="231"/>
                  <a:pt x="1269" y="230"/>
                  <a:pt x="1264" y="230"/>
                </a:cubicBezTo>
                <a:cubicBezTo>
                  <a:pt x="1263" y="230"/>
                  <a:pt x="1262" y="230"/>
                  <a:pt x="1261" y="230"/>
                </a:cubicBezTo>
                <a:cubicBezTo>
                  <a:pt x="1259" y="231"/>
                  <a:pt x="1247" y="231"/>
                  <a:pt x="1235" y="231"/>
                </a:cubicBezTo>
                <a:cubicBezTo>
                  <a:pt x="1223" y="231"/>
                  <a:pt x="1210" y="231"/>
                  <a:pt x="1205" y="230"/>
                </a:cubicBezTo>
                <a:cubicBezTo>
                  <a:pt x="1199" y="230"/>
                  <a:pt x="1193" y="230"/>
                  <a:pt x="1186" y="230"/>
                </a:cubicBezTo>
                <a:cubicBezTo>
                  <a:pt x="1180" y="230"/>
                  <a:pt x="1174" y="228"/>
                  <a:pt x="1169" y="232"/>
                </a:cubicBezTo>
                <a:cubicBezTo>
                  <a:pt x="1169" y="232"/>
                  <a:pt x="1168" y="232"/>
                  <a:pt x="1168" y="232"/>
                </a:cubicBezTo>
                <a:cubicBezTo>
                  <a:pt x="1163" y="232"/>
                  <a:pt x="1157" y="225"/>
                  <a:pt x="1150" y="220"/>
                </a:cubicBezTo>
                <a:cubicBezTo>
                  <a:pt x="1147" y="218"/>
                  <a:pt x="1141" y="213"/>
                  <a:pt x="1135" y="208"/>
                </a:cubicBezTo>
                <a:cubicBezTo>
                  <a:pt x="1129" y="204"/>
                  <a:pt x="1123" y="199"/>
                  <a:pt x="1116" y="197"/>
                </a:cubicBezTo>
                <a:cubicBezTo>
                  <a:pt x="1107" y="196"/>
                  <a:pt x="1109" y="196"/>
                  <a:pt x="1090" y="190"/>
                </a:cubicBezTo>
                <a:cubicBezTo>
                  <a:pt x="1085" y="189"/>
                  <a:pt x="1078" y="187"/>
                  <a:pt x="1073" y="186"/>
                </a:cubicBezTo>
                <a:cubicBezTo>
                  <a:pt x="1071" y="185"/>
                  <a:pt x="1068" y="184"/>
                  <a:pt x="1067" y="184"/>
                </a:cubicBezTo>
                <a:cubicBezTo>
                  <a:pt x="1067" y="184"/>
                  <a:pt x="1067" y="184"/>
                  <a:pt x="1067" y="184"/>
                </a:cubicBezTo>
                <a:cubicBezTo>
                  <a:pt x="1067" y="184"/>
                  <a:pt x="1067" y="183"/>
                  <a:pt x="1067" y="183"/>
                </a:cubicBezTo>
                <a:cubicBezTo>
                  <a:pt x="1066" y="182"/>
                  <a:pt x="1064" y="180"/>
                  <a:pt x="1062" y="180"/>
                </a:cubicBezTo>
                <a:cubicBezTo>
                  <a:pt x="1059" y="181"/>
                  <a:pt x="1058" y="182"/>
                  <a:pt x="1057" y="182"/>
                </a:cubicBezTo>
                <a:cubicBezTo>
                  <a:pt x="1056" y="184"/>
                  <a:pt x="1056" y="184"/>
                  <a:pt x="1056" y="185"/>
                </a:cubicBezTo>
                <a:cubicBezTo>
                  <a:pt x="1055" y="187"/>
                  <a:pt x="1055" y="190"/>
                  <a:pt x="1055" y="193"/>
                </a:cubicBezTo>
                <a:cubicBezTo>
                  <a:pt x="1055" y="198"/>
                  <a:pt x="1056" y="205"/>
                  <a:pt x="1063" y="209"/>
                </a:cubicBezTo>
                <a:cubicBezTo>
                  <a:pt x="1071" y="214"/>
                  <a:pt x="1085" y="222"/>
                  <a:pt x="1096" y="227"/>
                </a:cubicBezTo>
                <a:cubicBezTo>
                  <a:pt x="1102" y="230"/>
                  <a:pt x="1109" y="231"/>
                  <a:pt x="1115" y="233"/>
                </a:cubicBezTo>
                <a:cubicBezTo>
                  <a:pt x="1122" y="235"/>
                  <a:pt x="1127" y="237"/>
                  <a:pt x="1128" y="240"/>
                </a:cubicBezTo>
                <a:cubicBezTo>
                  <a:pt x="1137" y="252"/>
                  <a:pt x="1158" y="258"/>
                  <a:pt x="1158" y="258"/>
                </a:cubicBezTo>
                <a:cubicBezTo>
                  <a:pt x="1160" y="259"/>
                  <a:pt x="1160" y="259"/>
                  <a:pt x="1160" y="259"/>
                </a:cubicBezTo>
                <a:cubicBezTo>
                  <a:pt x="1184" y="261"/>
                  <a:pt x="1184" y="261"/>
                  <a:pt x="1184" y="261"/>
                </a:cubicBezTo>
                <a:cubicBezTo>
                  <a:pt x="1178" y="265"/>
                  <a:pt x="1170" y="268"/>
                  <a:pt x="1163" y="271"/>
                </a:cubicBezTo>
                <a:cubicBezTo>
                  <a:pt x="1160" y="272"/>
                  <a:pt x="1156" y="274"/>
                  <a:pt x="1153" y="276"/>
                </a:cubicBezTo>
                <a:cubicBezTo>
                  <a:pt x="1151" y="278"/>
                  <a:pt x="1148" y="282"/>
                  <a:pt x="1148" y="287"/>
                </a:cubicBezTo>
                <a:cubicBezTo>
                  <a:pt x="1147" y="289"/>
                  <a:pt x="1148" y="291"/>
                  <a:pt x="1149" y="293"/>
                </a:cubicBezTo>
                <a:cubicBezTo>
                  <a:pt x="1151" y="296"/>
                  <a:pt x="1151" y="298"/>
                  <a:pt x="1151" y="303"/>
                </a:cubicBezTo>
                <a:cubicBezTo>
                  <a:pt x="1152" y="308"/>
                  <a:pt x="1154" y="315"/>
                  <a:pt x="1161" y="320"/>
                </a:cubicBezTo>
                <a:cubicBezTo>
                  <a:pt x="1167" y="326"/>
                  <a:pt x="1172" y="329"/>
                  <a:pt x="1178" y="331"/>
                </a:cubicBezTo>
                <a:cubicBezTo>
                  <a:pt x="1178" y="331"/>
                  <a:pt x="1177" y="331"/>
                  <a:pt x="1177" y="331"/>
                </a:cubicBezTo>
                <a:cubicBezTo>
                  <a:pt x="1172" y="331"/>
                  <a:pt x="1168" y="334"/>
                  <a:pt x="1164" y="337"/>
                </a:cubicBezTo>
                <a:cubicBezTo>
                  <a:pt x="1162" y="338"/>
                  <a:pt x="1160" y="340"/>
                  <a:pt x="1159" y="341"/>
                </a:cubicBezTo>
                <a:cubicBezTo>
                  <a:pt x="1159" y="340"/>
                  <a:pt x="1158" y="339"/>
                  <a:pt x="1158" y="338"/>
                </a:cubicBezTo>
                <a:cubicBezTo>
                  <a:pt x="1153" y="327"/>
                  <a:pt x="1142" y="318"/>
                  <a:pt x="1138" y="316"/>
                </a:cubicBezTo>
                <a:cubicBezTo>
                  <a:pt x="1136" y="312"/>
                  <a:pt x="1128" y="301"/>
                  <a:pt x="1122" y="295"/>
                </a:cubicBezTo>
                <a:cubicBezTo>
                  <a:pt x="1120" y="293"/>
                  <a:pt x="1118" y="292"/>
                  <a:pt x="1116" y="290"/>
                </a:cubicBezTo>
                <a:cubicBezTo>
                  <a:pt x="1122" y="290"/>
                  <a:pt x="1129" y="289"/>
                  <a:pt x="1133" y="288"/>
                </a:cubicBezTo>
                <a:cubicBezTo>
                  <a:pt x="1142" y="287"/>
                  <a:pt x="1144" y="279"/>
                  <a:pt x="1145" y="273"/>
                </a:cubicBezTo>
                <a:cubicBezTo>
                  <a:pt x="1145" y="269"/>
                  <a:pt x="1142" y="261"/>
                  <a:pt x="1134" y="260"/>
                </a:cubicBezTo>
                <a:cubicBezTo>
                  <a:pt x="1132" y="260"/>
                  <a:pt x="1130" y="259"/>
                  <a:pt x="1127" y="257"/>
                </a:cubicBezTo>
                <a:cubicBezTo>
                  <a:pt x="1124" y="256"/>
                  <a:pt x="1121" y="254"/>
                  <a:pt x="1116" y="253"/>
                </a:cubicBezTo>
                <a:cubicBezTo>
                  <a:pt x="1115" y="253"/>
                  <a:pt x="1114" y="253"/>
                  <a:pt x="1113" y="254"/>
                </a:cubicBezTo>
                <a:cubicBezTo>
                  <a:pt x="1114" y="252"/>
                  <a:pt x="1115" y="250"/>
                  <a:pt x="1115" y="248"/>
                </a:cubicBezTo>
                <a:cubicBezTo>
                  <a:pt x="1115" y="247"/>
                  <a:pt x="1115" y="245"/>
                  <a:pt x="1115" y="244"/>
                </a:cubicBezTo>
                <a:cubicBezTo>
                  <a:pt x="1115" y="244"/>
                  <a:pt x="1115" y="244"/>
                  <a:pt x="1115" y="244"/>
                </a:cubicBezTo>
                <a:cubicBezTo>
                  <a:pt x="1111" y="235"/>
                  <a:pt x="1101" y="230"/>
                  <a:pt x="1093" y="230"/>
                </a:cubicBezTo>
                <a:cubicBezTo>
                  <a:pt x="1086" y="230"/>
                  <a:pt x="1079" y="233"/>
                  <a:pt x="1076" y="241"/>
                </a:cubicBezTo>
                <a:cubicBezTo>
                  <a:pt x="1076" y="242"/>
                  <a:pt x="1076" y="243"/>
                  <a:pt x="1076" y="244"/>
                </a:cubicBezTo>
                <a:cubicBezTo>
                  <a:pt x="1076" y="251"/>
                  <a:pt x="1081" y="254"/>
                  <a:pt x="1086" y="256"/>
                </a:cubicBezTo>
                <a:cubicBezTo>
                  <a:pt x="1090" y="258"/>
                  <a:pt x="1095" y="259"/>
                  <a:pt x="1100" y="259"/>
                </a:cubicBezTo>
                <a:cubicBezTo>
                  <a:pt x="1101" y="259"/>
                  <a:pt x="1101" y="259"/>
                  <a:pt x="1102" y="259"/>
                </a:cubicBezTo>
                <a:cubicBezTo>
                  <a:pt x="1099" y="260"/>
                  <a:pt x="1096" y="262"/>
                  <a:pt x="1093" y="263"/>
                </a:cubicBezTo>
                <a:cubicBezTo>
                  <a:pt x="1089" y="266"/>
                  <a:pt x="1086" y="268"/>
                  <a:pt x="1084" y="270"/>
                </a:cubicBezTo>
                <a:cubicBezTo>
                  <a:pt x="1081" y="273"/>
                  <a:pt x="1078" y="275"/>
                  <a:pt x="1078" y="280"/>
                </a:cubicBezTo>
                <a:cubicBezTo>
                  <a:pt x="1078" y="281"/>
                  <a:pt x="1078" y="282"/>
                  <a:pt x="1079" y="283"/>
                </a:cubicBezTo>
                <a:cubicBezTo>
                  <a:pt x="1081" y="289"/>
                  <a:pt x="1086" y="292"/>
                  <a:pt x="1094" y="293"/>
                </a:cubicBezTo>
                <a:cubicBezTo>
                  <a:pt x="1093" y="295"/>
                  <a:pt x="1092" y="297"/>
                  <a:pt x="1091" y="299"/>
                </a:cubicBezTo>
                <a:cubicBezTo>
                  <a:pt x="1091" y="301"/>
                  <a:pt x="1091" y="302"/>
                  <a:pt x="1091" y="303"/>
                </a:cubicBezTo>
                <a:cubicBezTo>
                  <a:pt x="1091" y="311"/>
                  <a:pt x="1094" y="318"/>
                  <a:pt x="1098" y="329"/>
                </a:cubicBezTo>
                <a:cubicBezTo>
                  <a:pt x="1101" y="336"/>
                  <a:pt x="1103" y="347"/>
                  <a:pt x="1103" y="354"/>
                </a:cubicBezTo>
                <a:cubicBezTo>
                  <a:pt x="1103" y="356"/>
                  <a:pt x="1103" y="357"/>
                  <a:pt x="1103" y="358"/>
                </a:cubicBezTo>
                <a:cubicBezTo>
                  <a:pt x="1095" y="360"/>
                  <a:pt x="1093" y="361"/>
                  <a:pt x="1086" y="364"/>
                </a:cubicBezTo>
                <a:cubicBezTo>
                  <a:pt x="1085" y="364"/>
                  <a:pt x="1085" y="364"/>
                  <a:pt x="1084" y="364"/>
                </a:cubicBezTo>
                <a:cubicBezTo>
                  <a:pt x="1084" y="364"/>
                  <a:pt x="1084" y="364"/>
                  <a:pt x="1084" y="364"/>
                </a:cubicBezTo>
                <a:cubicBezTo>
                  <a:pt x="1084" y="364"/>
                  <a:pt x="1084" y="363"/>
                  <a:pt x="1083" y="362"/>
                </a:cubicBezTo>
                <a:cubicBezTo>
                  <a:pt x="1083" y="360"/>
                  <a:pt x="1082" y="357"/>
                  <a:pt x="1082" y="354"/>
                </a:cubicBezTo>
                <a:cubicBezTo>
                  <a:pt x="1082" y="345"/>
                  <a:pt x="1080" y="337"/>
                  <a:pt x="1080" y="333"/>
                </a:cubicBezTo>
                <a:cubicBezTo>
                  <a:pt x="1080" y="333"/>
                  <a:pt x="1080" y="332"/>
                  <a:pt x="1080" y="332"/>
                </a:cubicBezTo>
                <a:cubicBezTo>
                  <a:pt x="1080" y="332"/>
                  <a:pt x="1080" y="332"/>
                  <a:pt x="1080" y="332"/>
                </a:cubicBezTo>
                <a:cubicBezTo>
                  <a:pt x="1081" y="331"/>
                  <a:pt x="1081" y="330"/>
                  <a:pt x="1081" y="329"/>
                </a:cubicBezTo>
                <a:cubicBezTo>
                  <a:pt x="1082" y="327"/>
                  <a:pt x="1080" y="324"/>
                  <a:pt x="1078" y="323"/>
                </a:cubicBezTo>
                <a:cubicBezTo>
                  <a:pt x="1076" y="322"/>
                  <a:pt x="1075" y="322"/>
                  <a:pt x="1075" y="322"/>
                </a:cubicBezTo>
                <a:cubicBezTo>
                  <a:pt x="1070" y="322"/>
                  <a:pt x="1066" y="324"/>
                  <a:pt x="1060" y="324"/>
                </a:cubicBezTo>
                <a:cubicBezTo>
                  <a:pt x="1059" y="324"/>
                  <a:pt x="1057" y="324"/>
                  <a:pt x="1056" y="323"/>
                </a:cubicBezTo>
                <a:cubicBezTo>
                  <a:pt x="1054" y="323"/>
                  <a:pt x="1052" y="323"/>
                  <a:pt x="1050" y="323"/>
                </a:cubicBezTo>
                <a:cubicBezTo>
                  <a:pt x="1046" y="323"/>
                  <a:pt x="1043" y="324"/>
                  <a:pt x="1040" y="325"/>
                </a:cubicBezTo>
                <a:cubicBezTo>
                  <a:pt x="1037" y="327"/>
                  <a:pt x="1034" y="330"/>
                  <a:pt x="1034" y="334"/>
                </a:cubicBezTo>
                <a:cubicBezTo>
                  <a:pt x="1034" y="340"/>
                  <a:pt x="1039" y="343"/>
                  <a:pt x="1043" y="345"/>
                </a:cubicBezTo>
                <a:cubicBezTo>
                  <a:pt x="1047" y="346"/>
                  <a:pt x="1049" y="350"/>
                  <a:pt x="1049" y="353"/>
                </a:cubicBezTo>
                <a:cubicBezTo>
                  <a:pt x="1049" y="356"/>
                  <a:pt x="1048" y="357"/>
                  <a:pt x="1046" y="358"/>
                </a:cubicBezTo>
                <a:cubicBezTo>
                  <a:pt x="1045" y="359"/>
                  <a:pt x="1038" y="360"/>
                  <a:pt x="1031" y="360"/>
                </a:cubicBezTo>
                <a:cubicBezTo>
                  <a:pt x="1015" y="360"/>
                  <a:pt x="995" y="358"/>
                  <a:pt x="987" y="358"/>
                </a:cubicBezTo>
                <a:cubicBezTo>
                  <a:pt x="980" y="358"/>
                  <a:pt x="972" y="359"/>
                  <a:pt x="966" y="359"/>
                </a:cubicBezTo>
                <a:cubicBezTo>
                  <a:pt x="963" y="359"/>
                  <a:pt x="960" y="359"/>
                  <a:pt x="959" y="358"/>
                </a:cubicBezTo>
                <a:cubicBezTo>
                  <a:pt x="957" y="358"/>
                  <a:pt x="958" y="357"/>
                  <a:pt x="958" y="357"/>
                </a:cubicBezTo>
                <a:cubicBezTo>
                  <a:pt x="957" y="357"/>
                  <a:pt x="957" y="357"/>
                  <a:pt x="957" y="357"/>
                </a:cubicBezTo>
                <a:cubicBezTo>
                  <a:pt x="957" y="357"/>
                  <a:pt x="957" y="357"/>
                  <a:pt x="958" y="357"/>
                </a:cubicBezTo>
                <a:cubicBezTo>
                  <a:pt x="959" y="355"/>
                  <a:pt x="967" y="352"/>
                  <a:pt x="970" y="352"/>
                </a:cubicBezTo>
                <a:cubicBezTo>
                  <a:pt x="972" y="352"/>
                  <a:pt x="973" y="352"/>
                  <a:pt x="975" y="352"/>
                </a:cubicBezTo>
                <a:cubicBezTo>
                  <a:pt x="986" y="352"/>
                  <a:pt x="1006" y="352"/>
                  <a:pt x="1017" y="335"/>
                </a:cubicBezTo>
                <a:cubicBezTo>
                  <a:pt x="1019" y="332"/>
                  <a:pt x="1020" y="329"/>
                  <a:pt x="1020" y="325"/>
                </a:cubicBezTo>
                <a:cubicBezTo>
                  <a:pt x="1020" y="317"/>
                  <a:pt x="1013" y="312"/>
                  <a:pt x="1007" y="311"/>
                </a:cubicBezTo>
                <a:cubicBezTo>
                  <a:pt x="1001" y="309"/>
                  <a:pt x="995" y="308"/>
                  <a:pt x="991" y="308"/>
                </a:cubicBezTo>
                <a:cubicBezTo>
                  <a:pt x="984" y="308"/>
                  <a:pt x="980" y="306"/>
                  <a:pt x="969" y="294"/>
                </a:cubicBezTo>
                <a:cubicBezTo>
                  <a:pt x="968" y="292"/>
                  <a:pt x="967" y="291"/>
                  <a:pt x="967" y="290"/>
                </a:cubicBezTo>
                <a:cubicBezTo>
                  <a:pt x="967" y="288"/>
                  <a:pt x="968" y="286"/>
                  <a:pt x="970" y="283"/>
                </a:cubicBezTo>
                <a:cubicBezTo>
                  <a:pt x="972" y="281"/>
                  <a:pt x="975" y="279"/>
                  <a:pt x="975" y="273"/>
                </a:cubicBezTo>
                <a:cubicBezTo>
                  <a:pt x="975" y="272"/>
                  <a:pt x="975" y="270"/>
                  <a:pt x="975" y="269"/>
                </a:cubicBezTo>
                <a:cubicBezTo>
                  <a:pt x="974" y="267"/>
                  <a:pt x="973" y="268"/>
                  <a:pt x="972" y="264"/>
                </a:cubicBezTo>
                <a:cubicBezTo>
                  <a:pt x="972" y="264"/>
                  <a:pt x="972" y="264"/>
                  <a:pt x="972" y="264"/>
                </a:cubicBezTo>
                <a:cubicBezTo>
                  <a:pt x="973" y="264"/>
                  <a:pt x="974" y="265"/>
                  <a:pt x="975" y="264"/>
                </a:cubicBezTo>
                <a:cubicBezTo>
                  <a:pt x="983" y="261"/>
                  <a:pt x="984" y="255"/>
                  <a:pt x="987" y="251"/>
                </a:cubicBezTo>
                <a:cubicBezTo>
                  <a:pt x="988" y="249"/>
                  <a:pt x="989" y="247"/>
                  <a:pt x="990" y="246"/>
                </a:cubicBezTo>
                <a:cubicBezTo>
                  <a:pt x="990" y="246"/>
                  <a:pt x="990" y="246"/>
                  <a:pt x="990" y="246"/>
                </a:cubicBezTo>
                <a:cubicBezTo>
                  <a:pt x="994" y="245"/>
                  <a:pt x="1000" y="244"/>
                  <a:pt x="1007" y="244"/>
                </a:cubicBezTo>
                <a:cubicBezTo>
                  <a:pt x="1009" y="244"/>
                  <a:pt x="1011" y="244"/>
                  <a:pt x="1013" y="245"/>
                </a:cubicBezTo>
                <a:cubicBezTo>
                  <a:pt x="1014" y="245"/>
                  <a:pt x="1014" y="245"/>
                  <a:pt x="1014" y="246"/>
                </a:cubicBezTo>
                <a:cubicBezTo>
                  <a:pt x="1015" y="249"/>
                  <a:pt x="1016" y="251"/>
                  <a:pt x="1018" y="253"/>
                </a:cubicBezTo>
                <a:cubicBezTo>
                  <a:pt x="1019" y="255"/>
                  <a:pt x="1023" y="256"/>
                  <a:pt x="1025" y="256"/>
                </a:cubicBezTo>
                <a:cubicBezTo>
                  <a:pt x="1028" y="256"/>
                  <a:pt x="1029" y="256"/>
                  <a:pt x="1031" y="256"/>
                </a:cubicBezTo>
                <a:cubicBezTo>
                  <a:pt x="1032" y="256"/>
                  <a:pt x="1033" y="256"/>
                  <a:pt x="1034" y="256"/>
                </a:cubicBezTo>
                <a:cubicBezTo>
                  <a:pt x="1034" y="256"/>
                  <a:pt x="1035" y="256"/>
                  <a:pt x="1035" y="256"/>
                </a:cubicBezTo>
                <a:cubicBezTo>
                  <a:pt x="1043" y="256"/>
                  <a:pt x="1049" y="251"/>
                  <a:pt x="1053" y="247"/>
                </a:cubicBezTo>
                <a:cubicBezTo>
                  <a:pt x="1057" y="242"/>
                  <a:pt x="1059" y="238"/>
                  <a:pt x="1060" y="234"/>
                </a:cubicBezTo>
                <a:cubicBezTo>
                  <a:pt x="1060" y="233"/>
                  <a:pt x="1060" y="232"/>
                  <a:pt x="1060" y="232"/>
                </a:cubicBezTo>
                <a:cubicBezTo>
                  <a:pt x="1060" y="223"/>
                  <a:pt x="1052" y="214"/>
                  <a:pt x="1038" y="214"/>
                </a:cubicBezTo>
                <a:cubicBezTo>
                  <a:pt x="1037" y="214"/>
                  <a:pt x="1035" y="214"/>
                  <a:pt x="1034" y="215"/>
                </a:cubicBezTo>
                <a:cubicBezTo>
                  <a:pt x="1031" y="215"/>
                  <a:pt x="1028" y="215"/>
                  <a:pt x="1023" y="215"/>
                </a:cubicBezTo>
                <a:cubicBezTo>
                  <a:pt x="1015" y="215"/>
                  <a:pt x="1005" y="215"/>
                  <a:pt x="995" y="215"/>
                </a:cubicBezTo>
                <a:cubicBezTo>
                  <a:pt x="989" y="215"/>
                  <a:pt x="983" y="215"/>
                  <a:pt x="978" y="215"/>
                </a:cubicBezTo>
                <a:cubicBezTo>
                  <a:pt x="973" y="216"/>
                  <a:pt x="969" y="216"/>
                  <a:pt x="965" y="220"/>
                </a:cubicBezTo>
                <a:cubicBezTo>
                  <a:pt x="965" y="220"/>
                  <a:pt x="965" y="220"/>
                  <a:pt x="965" y="220"/>
                </a:cubicBezTo>
                <a:cubicBezTo>
                  <a:pt x="961" y="224"/>
                  <a:pt x="961" y="230"/>
                  <a:pt x="960" y="234"/>
                </a:cubicBezTo>
                <a:cubicBezTo>
                  <a:pt x="960" y="240"/>
                  <a:pt x="961" y="246"/>
                  <a:pt x="961" y="248"/>
                </a:cubicBezTo>
                <a:cubicBezTo>
                  <a:pt x="960" y="250"/>
                  <a:pt x="960" y="251"/>
                  <a:pt x="960" y="253"/>
                </a:cubicBezTo>
                <a:cubicBezTo>
                  <a:pt x="960" y="256"/>
                  <a:pt x="961" y="258"/>
                  <a:pt x="963" y="261"/>
                </a:cubicBezTo>
                <a:cubicBezTo>
                  <a:pt x="963" y="261"/>
                  <a:pt x="964" y="262"/>
                  <a:pt x="965" y="263"/>
                </a:cubicBezTo>
                <a:cubicBezTo>
                  <a:pt x="964" y="263"/>
                  <a:pt x="963" y="263"/>
                  <a:pt x="963" y="263"/>
                </a:cubicBezTo>
                <a:cubicBezTo>
                  <a:pt x="957" y="263"/>
                  <a:pt x="950" y="264"/>
                  <a:pt x="945" y="264"/>
                </a:cubicBezTo>
                <a:cubicBezTo>
                  <a:pt x="945" y="264"/>
                  <a:pt x="945" y="264"/>
                  <a:pt x="945" y="264"/>
                </a:cubicBezTo>
                <a:cubicBezTo>
                  <a:pt x="945" y="264"/>
                  <a:pt x="946" y="263"/>
                  <a:pt x="948" y="262"/>
                </a:cubicBezTo>
                <a:cubicBezTo>
                  <a:pt x="950" y="260"/>
                  <a:pt x="954" y="257"/>
                  <a:pt x="955" y="252"/>
                </a:cubicBezTo>
                <a:cubicBezTo>
                  <a:pt x="955" y="247"/>
                  <a:pt x="959" y="229"/>
                  <a:pt x="959" y="229"/>
                </a:cubicBezTo>
                <a:cubicBezTo>
                  <a:pt x="959" y="228"/>
                  <a:pt x="959" y="227"/>
                  <a:pt x="959" y="225"/>
                </a:cubicBezTo>
                <a:cubicBezTo>
                  <a:pt x="958" y="225"/>
                  <a:pt x="956" y="216"/>
                  <a:pt x="945" y="215"/>
                </a:cubicBezTo>
                <a:cubicBezTo>
                  <a:pt x="942" y="215"/>
                  <a:pt x="940" y="216"/>
                  <a:pt x="938" y="217"/>
                </a:cubicBezTo>
                <a:cubicBezTo>
                  <a:pt x="931" y="221"/>
                  <a:pt x="928" y="223"/>
                  <a:pt x="927" y="222"/>
                </a:cubicBezTo>
                <a:cubicBezTo>
                  <a:pt x="927" y="222"/>
                  <a:pt x="928" y="222"/>
                  <a:pt x="924" y="222"/>
                </a:cubicBezTo>
                <a:cubicBezTo>
                  <a:pt x="924" y="222"/>
                  <a:pt x="924" y="222"/>
                  <a:pt x="924" y="222"/>
                </a:cubicBezTo>
                <a:cubicBezTo>
                  <a:pt x="924" y="222"/>
                  <a:pt x="923" y="219"/>
                  <a:pt x="920" y="216"/>
                </a:cubicBezTo>
                <a:cubicBezTo>
                  <a:pt x="918" y="212"/>
                  <a:pt x="914" y="208"/>
                  <a:pt x="907" y="208"/>
                </a:cubicBezTo>
                <a:cubicBezTo>
                  <a:pt x="906" y="208"/>
                  <a:pt x="905" y="208"/>
                  <a:pt x="903" y="208"/>
                </a:cubicBezTo>
                <a:cubicBezTo>
                  <a:pt x="888" y="211"/>
                  <a:pt x="884" y="223"/>
                  <a:pt x="882" y="224"/>
                </a:cubicBezTo>
                <a:cubicBezTo>
                  <a:pt x="881" y="226"/>
                  <a:pt x="875" y="228"/>
                  <a:pt x="874" y="228"/>
                </a:cubicBezTo>
                <a:cubicBezTo>
                  <a:pt x="874" y="228"/>
                  <a:pt x="874" y="228"/>
                  <a:pt x="874" y="228"/>
                </a:cubicBezTo>
                <a:cubicBezTo>
                  <a:pt x="870" y="224"/>
                  <a:pt x="854" y="215"/>
                  <a:pt x="854" y="215"/>
                </a:cubicBezTo>
                <a:cubicBezTo>
                  <a:pt x="853" y="214"/>
                  <a:pt x="852" y="214"/>
                  <a:pt x="851" y="214"/>
                </a:cubicBezTo>
                <a:cubicBezTo>
                  <a:pt x="858" y="213"/>
                  <a:pt x="866" y="210"/>
                  <a:pt x="870" y="210"/>
                </a:cubicBezTo>
                <a:cubicBezTo>
                  <a:pt x="871" y="210"/>
                  <a:pt x="871" y="210"/>
                  <a:pt x="872" y="210"/>
                </a:cubicBezTo>
                <a:cubicBezTo>
                  <a:pt x="875" y="213"/>
                  <a:pt x="878" y="214"/>
                  <a:pt x="882" y="214"/>
                </a:cubicBezTo>
                <a:cubicBezTo>
                  <a:pt x="885" y="214"/>
                  <a:pt x="888" y="213"/>
                  <a:pt x="891" y="212"/>
                </a:cubicBezTo>
                <a:cubicBezTo>
                  <a:pt x="893" y="210"/>
                  <a:pt x="896" y="208"/>
                  <a:pt x="897" y="203"/>
                </a:cubicBezTo>
                <a:cubicBezTo>
                  <a:pt x="897" y="202"/>
                  <a:pt x="896" y="202"/>
                  <a:pt x="896" y="201"/>
                </a:cubicBezTo>
                <a:cubicBezTo>
                  <a:pt x="896" y="201"/>
                  <a:pt x="896" y="201"/>
                  <a:pt x="896" y="201"/>
                </a:cubicBezTo>
                <a:cubicBezTo>
                  <a:pt x="896" y="199"/>
                  <a:pt x="897" y="194"/>
                  <a:pt x="897" y="188"/>
                </a:cubicBezTo>
                <a:cubicBezTo>
                  <a:pt x="897" y="185"/>
                  <a:pt x="897" y="182"/>
                  <a:pt x="896" y="179"/>
                </a:cubicBezTo>
                <a:cubicBezTo>
                  <a:pt x="895" y="176"/>
                  <a:pt x="891" y="172"/>
                  <a:pt x="887" y="172"/>
                </a:cubicBezTo>
                <a:cubicBezTo>
                  <a:pt x="886" y="172"/>
                  <a:pt x="886" y="172"/>
                  <a:pt x="885" y="172"/>
                </a:cubicBezTo>
                <a:cubicBezTo>
                  <a:pt x="872" y="173"/>
                  <a:pt x="860" y="184"/>
                  <a:pt x="848" y="188"/>
                </a:cubicBezTo>
                <a:cubicBezTo>
                  <a:pt x="842" y="191"/>
                  <a:pt x="838" y="196"/>
                  <a:pt x="838" y="202"/>
                </a:cubicBezTo>
                <a:cubicBezTo>
                  <a:pt x="838" y="206"/>
                  <a:pt x="841" y="212"/>
                  <a:pt x="847" y="213"/>
                </a:cubicBezTo>
                <a:cubicBezTo>
                  <a:pt x="843" y="213"/>
                  <a:pt x="838" y="213"/>
                  <a:pt x="832" y="212"/>
                </a:cubicBezTo>
                <a:cubicBezTo>
                  <a:pt x="828" y="211"/>
                  <a:pt x="823" y="211"/>
                  <a:pt x="820" y="210"/>
                </a:cubicBezTo>
                <a:cubicBezTo>
                  <a:pt x="819" y="210"/>
                  <a:pt x="818" y="209"/>
                  <a:pt x="817" y="209"/>
                </a:cubicBezTo>
                <a:cubicBezTo>
                  <a:pt x="815" y="202"/>
                  <a:pt x="807" y="193"/>
                  <a:pt x="792" y="193"/>
                </a:cubicBezTo>
                <a:cubicBezTo>
                  <a:pt x="790" y="193"/>
                  <a:pt x="788" y="193"/>
                  <a:pt x="787" y="193"/>
                </a:cubicBezTo>
                <a:cubicBezTo>
                  <a:pt x="777" y="194"/>
                  <a:pt x="766" y="198"/>
                  <a:pt x="756" y="201"/>
                </a:cubicBezTo>
                <a:cubicBezTo>
                  <a:pt x="751" y="203"/>
                  <a:pt x="746" y="204"/>
                  <a:pt x="742" y="206"/>
                </a:cubicBezTo>
                <a:cubicBezTo>
                  <a:pt x="741" y="206"/>
                  <a:pt x="739" y="207"/>
                  <a:pt x="738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5" y="207"/>
                  <a:pt x="733" y="208"/>
                  <a:pt x="732" y="209"/>
                </a:cubicBezTo>
                <a:cubicBezTo>
                  <a:pt x="730" y="211"/>
                  <a:pt x="729" y="213"/>
                  <a:pt x="729" y="214"/>
                </a:cubicBezTo>
                <a:cubicBezTo>
                  <a:pt x="730" y="216"/>
                  <a:pt x="730" y="217"/>
                  <a:pt x="730" y="218"/>
                </a:cubicBezTo>
                <a:cubicBezTo>
                  <a:pt x="728" y="218"/>
                  <a:pt x="725" y="219"/>
                  <a:pt x="722" y="220"/>
                </a:cubicBezTo>
                <a:cubicBezTo>
                  <a:pt x="719" y="221"/>
                  <a:pt x="715" y="225"/>
                  <a:pt x="714" y="230"/>
                </a:cubicBezTo>
                <a:cubicBezTo>
                  <a:pt x="714" y="231"/>
                  <a:pt x="714" y="232"/>
                  <a:pt x="714" y="233"/>
                </a:cubicBezTo>
                <a:cubicBezTo>
                  <a:pt x="713" y="236"/>
                  <a:pt x="715" y="239"/>
                  <a:pt x="717" y="240"/>
                </a:cubicBezTo>
                <a:cubicBezTo>
                  <a:pt x="723" y="244"/>
                  <a:pt x="729" y="243"/>
                  <a:pt x="736" y="243"/>
                </a:cubicBezTo>
                <a:cubicBezTo>
                  <a:pt x="736" y="243"/>
                  <a:pt x="736" y="243"/>
                  <a:pt x="737" y="243"/>
                </a:cubicBezTo>
                <a:cubicBezTo>
                  <a:pt x="742" y="243"/>
                  <a:pt x="748" y="243"/>
                  <a:pt x="754" y="243"/>
                </a:cubicBezTo>
                <a:cubicBezTo>
                  <a:pt x="761" y="242"/>
                  <a:pt x="766" y="242"/>
                  <a:pt x="771" y="240"/>
                </a:cubicBezTo>
                <a:cubicBezTo>
                  <a:pt x="772" y="239"/>
                  <a:pt x="783" y="236"/>
                  <a:pt x="788" y="236"/>
                </a:cubicBezTo>
                <a:cubicBezTo>
                  <a:pt x="788" y="236"/>
                  <a:pt x="788" y="236"/>
                  <a:pt x="788" y="236"/>
                </a:cubicBezTo>
                <a:cubicBezTo>
                  <a:pt x="788" y="240"/>
                  <a:pt x="789" y="241"/>
                  <a:pt x="790" y="244"/>
                </a:cubicBezTo>
                <a:cubicBezTo>
                  <a:pt x="790" y="244"/>
                  <a:pt x="789" y="244"/>
                  <a:pt x="789" y="244"/>
                </a:cubicBezTo>
                <a:cubicBezTo>
                  <a:pt x="788" y="243"/>
                  <a:pt x="787" y="243"/>
                  <a:pt x="786" y="243"/>
                </a:cubicBezTo>
                <a:cubicBezTo>
                  <a:pt x="779" y="243"/>
                  <a:pt x="774" y="246"/>
                  <a:pt x="771" y="248"/>
                </a:cubicBezTo>
                <a:cubicBezTo>
                  <a:pt x="767" y="250"/>
                  <a:pt x="766" y="251"/>
                  <a:pt x="762" y="251"/>
                </a:cubicBezTo>
                <a:cubicBezTo>
                  <a:pt x="761" y="251"/>
                  <a:pt x="760" y="251"/>
                  <a:pt x="758" y="250"/>
                </a:cubicBezTo>
                <a:cubicBezTo>
                  <a:pt x="754" y="250"/>
                  <a:pt x="750" y="249"/>
                  <a:pt x="747" y="249"/>
                </a:cubicBezTo>
                <a:cubicBezTo>
                  <a:pt x="739" y="249"/>
                  <a:pt x="734" y="251"/>
                  <a:pt x="727" y="251"/>
                </a:cubicBezTo>
                <a:cubicBezTo>
                  <a:pt x="725" y="251"/>
                  <a:pt x="723" y="251"/>
                  <a:pt x="721" y="250"/>
                </a:cubicBezTo>
                <a:cubicBezTo>
                  <a:pt x="715" y="250"/>
                  <a:pt x="711" y="249"/>
                  <a:pt x="706" y="249"/>
                </a:cubicBezTo>
                <a:cubicBezTo>
                  <a:pt x="703" y="249"/>
                  <a:pt x="699" y="250"/>
                  <a:pt x="695" y="252"/>
                </a:cubicBezTo>
                <a:cubicBezTo>
                  <a:pt x="692" y="254"/>
                  <a:pt x="689" y="258"/>
                  <a:pt x="688" y="262"/>
                </a:cubicBezTo>
                <a:cubicBezTo>
                  <a:pt x="687" y="267"/>
                  <a:pt x="685" y="273"/>
                  <a:pt x="683" y="278"/>
                </a:cubicBezTo>
                <a:cubicBezTo>
                  <a:pt x="682" y="280"/>
                  <a:pt x="681" y="282"/>
                  <a:pt x="681" y="283"/>
                </a:cubicBezTo>
                <a:cubicBezTo>
                  <a:pt x="680" y="283"/>
                  <a:pt x="680" y="283"/>
                  <a:pt x="680" y="283"/>
                </a:cubicBezTo>
                <a:cubicBezTo>
                  <a:pt x="677" y="284"/>
                  <a:pt x="674" y="285"/>
                  <a:pt x="672" y="286"/>
                </a:cubicBezTo>
                <a:cubicBezTo>
                  <a:pt x="670" y="288"/>
                  <a:pt x="667" y="290"/>
                  <a:pt x="667" y="295"/>
                </a:cubicBezTo>
                <a:cubicBezTo>
                  <a:pt x="667" y="299"/>
                  <a:pt x="670" y="302"/>
                  <a:pt x="674" y="304"/>
                </a:cubicBezTo>
                <a:cubicBezTo>
                  <a:pt x="677" y="305"/>
                  <a:pt x="681" y="306"/>
                  <a:pt x="687" y="306"/>
                </a:cubicBezTo>
                <a:cubicBezTo>
                  <a:pt x="696" y="308"/>
                  <a:pt x="695" y="309"/>
                  <a:pt x="697" y="311"/>
                </a:cubicBezTo>
                <a:cubicBezTo>
                  <a:pt x="698" y="312"/>
                  <a:pt x="699" y="314"/>
                  <a:pt x="702" y="316"/>
                </a:cubicBezTo>
                <a:cubicBezTo>
                  <a:pt x="705" y="318"/>
                  <a:pt x="709" y="319"/>
                  <a:pt x="713" y="319"/>
                </a:cubicBezTo>
                <a:cubicBezTo>
                  <a:pt x="714" y="319"/>
                  <a:pt x="715" y="319"/>
                  <a:pt x="716" y="319"/>
                </a:cubicBezTo>
                <a:cubicBezTo>
                  <a:pt x="726" y="318"/>
                  <a:pt x="736" y="318"/>
                  <a:pt x="744" y="316"/>
                </a:cubicBezTo>
                <a:cubicBezTo>
                  <a:pt x="752" y="315"/>
                  <a:pt x="760" y="311"/>
                  <a:pt x="763" y="303"/>
                </a:cubicBezTo>
                <a:cubicBezTo>
                  <a:pt x="764" y="302"/>
                  <a:pt x="764" y="301"/>
                  <a:pt x="764" y="300"/>
                </a:cubicBezTo>
                <a:cubicBezTo>
                  <a:pt x="770" y="308"/>
                  <a:pt x="782" y="326"/>
                  <a:pt x="782" y="326"/>
                </a:cubicBezTo>
                <a:cubicBezTo>
                  <a:pt x="783" y="327"/>
                  <a:pt x="783" y="327"/>
                  <a:pt x="783" y="327"/>
                </a:cubicBezTo>
                <a:cubicBezTo>
                  <a:pt x="783" y="327"/>
                  <a:pt x="791" y="335"/>
                  <a:pt x="798" y="340"/>
                </a:cubicBezTo>
                <a:cubicBezTo>
                  <a:pt x="797" y="340"/>
                  <a:pt x="796" y="341"/>
                  <a:pt x="795" y="341"/>
                </a:cubicBezTo>
                <a:cubicBezTo>
                  <a:pt x="795" y="341"/>
                  <a:pt x="794" y="341"/>
                  <a:pt x="793" y="340"/>
                </a:cubicBezTo>
                <a:cubicBezTo>
                  <a:pt x="787" y="335"/>
                  <a:pt x="780" y="334"/>
                  <a:pt x="773" y="332"/>
                </a:cubicBezTo>
                <a:cubicBezTo>
                  <a:pt x="767" y="331"/>
                  <a:pt x="762" y="329"/>
                  <a:pt x="761" y="328"/>
                </a:cubicBezTo>
                <a:cubicBezTo>
                  <a:pt x="756" y="324"/>
                  <a:pt x="750" y="322"/>
                  <a:pt x="743" y="321"/>
                </a:cubicBezTo>
                <a:cubicBezTo>
                  <a:pt x="737" y="320"/>
                  <a:pt x="729" y="320"/>
                  <a:pt x="723" y="320"/>
                </a:cubicBezTo>
                <a:cubicBezTo>
                  <a:pt x="717" y="320"/>
                  <a:pt x="712" y="320"/>
                  <a:pt x="709" y="321"/>
                </a:cubicBezTo>
                <a:cubicBezTo>
                  <a:pt x="709" y="321"/>
                  <a:pt x="708" y="321"/>
                  <a:pt x="707" y="321"/>
                </a:cubicBezTo>
                <a:cubicBezTo>
                  <a:pt x="704" y="321"/>
                  <a:pt x="700" y="320"/>
                  <a:pt x="696" y="319"/>
                </a:cubicBezTo>
                <a:cubicBezTo>
                  <a:pt x="691" y="318"/>
                  <a:pt x="688" y="317"/>
                  <a:pt x="684" y="316"/>
                </a:cubicBezTo>
                <a:cubicBezTo>
                  <a:pt x="680" y="317"/>
                  <a:pt x="678" y="318"/>
                  <a:pt x="676" y="320"/>
                </a:cubicBezTo>
                <a:cubicBezTo>
                  <a:pt x="672" y="322"/>
                  <a:pt x="669" y="324"/>
                  <a:pt x="666" y="327"/>
                </a:cubicBezTo>
                <a:cubicBezTo>
                  <a:pt x="664" y="323"/>
                  <a:pt x="662" y="319"/>
                  <a:pt x="660" y="317"/>
                </a:cubicBezTo>
                <a:cubicBezTo>
                  <a:pt x="659" y="314"/>
                  <a:pt x="656" y="312"/>
                  <a:pt x="653" y="312"/>
                </a:cubicBezTo>
                <a:cubicBezTo>
                  <a:pt x="647" y="313"/>
                  <a:pt x="645" y="316"/>
                  <a:pt x="643" y="318"/>
                </a:cubicBezTo>
                <a:cubicBezTo>
                  <a:pt x="642" y="319"/>
                  <a:pt x="641" y="320"/>
                  <a:pt x="640" y="320"/>
                </a:cubicBezTo>
                <a:cubicBezTo>
                  <a:pt x="640" y="320"/>
                  <a:pt x="640" y="320"/>
                  <a:pt x="640" y="321"/>
                </a:cubicBezTo>
                <a:cubicBezTo>
                  <a:pt x="637" y="320"/>
                  <a:pt x="627" y="314"/>
                  <a:pt x="617" y="314"/>
                </a:cubicBezTo>
                <a:cubicBezTo>
                  <a:pt x="613" y="314"/>
                  <a:pt x="610" y="314"/>
                  <a:pt x="607" y="316"/>
                </a:cubicBezTo>
                <a:cubicBezTo>
                  <a:pt x="600" y="318"/>
                  <a:pt x="596" y="322"/>
                  <a:pt x="594" y="323"/>
                </a:cubicBezTo>
                <a:cubicBezTo>
                  <a:pt x="592" y="324"/>
                  <a:pt x="592" y="325"/>
                  <a:pt x="586" y="325"/>
                </a:cubicBezTo>
                <a:cubicBezTo>
                  <a:pt x="584" y="325"/>
                  <a:pt x="583" y="325"/>
                  <a:pt x="581" y="325"/>
                </a:cubicBezTo>
                <a:cubicBezTo>
                  <a:pt x="564" y="324"/>
                  <a:pt x="560" y="321"/>
                  <a:pt x="552" y="320"/>
                </a:cubicBezTo>
                <a:cubicBezTo>
                  <a:pt x="551" y="320"/>
                  <a:pt x="549" y="320"/>
                  <a:pt x="548" y="321"/>
                </a:cubicBezTo>
                <a:cubicBezTo>
                  <a:pt x="541" y="322"/>
                  <a:pt x="541" y="322"/>
                  <a:pt x="541" y="322"/>
                </a:cubicBezTo>
                <a:cubicBezTo>
                  <a:pt x="538" y="323"/>
                  <a:pt x="536" y="326"/>
                  <a:pt x="536" y="329"/>
                </a:cubicBezTo>
                <a:cubicBezTo>
                  <a:pt x="536" y="329"/>
                  <a:pt x="537" y="331"/>
                  <a:pt x="532" y="334"/>
                </a:cubicBezTo>
                <a:cubicBezTo>
                  <a:pt x="529" y="336"/>
                  <a:pt x="527" y="338"/>
                  <a:pt x="525" y="339"/>
                </a:cubicBezTo>
                <a:cubicBezTo>
                  <a:pt x="524" y="340"/>
                  <a:pt x="523" y="341"/>
                  <a:pt x="522" y="341"/>
                </a:cubicBezTo>
                <a:cubicBezTo>
                  <a:pt x="522" y="341"/>
                  <a:pt x="522" y="341"/>
                  <a:pt x="522" y="341"/>
                </a:cubicBezTo>
                <a:cubicBezTo>
                  <a:pt x="522" y="341"/>
                  <a:pt x="521" y="340"/>
                  <a:pt x="521" y="340"/>
                </a:cubicBezTo>
                <a:cubicBezTo>
                  <a:pt x="515" y="330"/>
                  <a:pt x="507" y="329"/>
                  <a:pt x="505" y="328"/>
                </a:cubicBezTo>
                <a:cubicBezTo>
                  <a:pt x="505" y="328"/>
                  <a:pt x="503" y="327"/>
                  <a:pt x="500" y="325"/>
                </a:cubicBezTo>
                <a:cubicBezTo>
                  <a:pt x="497" y="323"/>
                  <a:pt x="492" y="322"/>
                  <a:pt x="487" y="322"/>
                </a:cubicBezTo>
                <a:cubicBezTo>
                  <a:pt x="484" y="322"/>
                  <a:pt x="480" y="323"/>
                  <a:pt x="476" y="324"/>
                </a:cubicBezTo>
                <a:cubicBezTo>
                  <a:pt x="474" y="324"/>
                  <a:pt x="472" y="324"/>
                  <a:pt x="469" y="324"/>
                </a:cubicBezTo>
                <a:cubicBezTo>
                  <a:pt x="463" y="324"/>
                  <a:pt x="456" y="323"/>
                  <a:pt x="450" y="321"/>
                </a:cubicBezTo>
                <a:cubicBezTo>
                  <a:pt x="444" y="320"/>
                  <a:pt x="440" y="318"/>
                  <a:pt x="435" y="318"/>
                </a:cubicBezTo>
                <a:cubicBezTo>
                  <a:pt x="432" y="318"/>
                  <a:pt x="389" y="315"/>
                  <a:pt x="382" y="313"/>
                </a:cubicBezTo>
                <a:cubicBezTo>
                  <a:pt x="375" y="311"/>
                  <a:pt x="364" y="310"/>
                  <a:pt x="354" y="310"/>
                </a:cubicBezTo>
                <a:cubicBezTo>
                  <a:pt x="347" y="310"/>
                  <a:pt x="341" y="310"/>
                  <a:pt x="337" y="311"/>
                </a:cubicBezTo>
                <a:cubicBezTo>
                  <a:pt x="330" y="312"/>
                  <a:pt x="313" y="312"/>
                  <a:pt x="307" y="312"/>
                </a:cubicBezTo>
                <a:cubicBezTo>
                  <a:pt x="306" y="311"/>
                  <a:pt x="303" y="309"/>
                  <a:pt x="300" y="307"/>
                </a:cubicBezTo>
                <a:cubicBezTo>
                  <a:pt x="297" y="305"/>
                  <a:pt x="295" y="303"/>
                  <a:pt x="292" y="302"/>
                </a:cubicBezTo>
                <a:cubicBezTo>
                  <a:pt x="290" y="300"/>
                  <a:pt x="289" y="299"/>
                  <a:pt x="284" y="299"/>
                </a:cubicBezTo>
                <a:cubicBezTo>
                  <a:pt x="281" y="299"/>
                  <a:pt x="279" y="300"/>
                  <a:pt x="277" y="300"/>
                </a:cubicBezTo>
                <a:cubicBezTo>
                  <a:pt x="274" y="301"/>
                  <a:pt x="272" y="302"/>
                  <a:pt x="270" y="302"/>
                </a:cubicBezTo>
                <a:cubicBezTo>
                  <a:pt x="268" y="302"/>
                  <a:pt x="268" y="301"/>
                  <a:pt x="267" y="301"/>
                </a:cubicBezTo>
                <a:cubicBezTo>
                  <a:pt x="260" y="292"/>
                  <a:pt x="249" y="288"/>
                  <a:pt x="249" y="288"/>
                </a:cubicBezTo>
                <a:cubicBezTo>
                  <a:pt x="247" y="287"/>
                  <a:pt x="245" y="287"/>
                  <a:pt x="244" y="288"/>
                </a:cubicBezTo>
                <a:cubicBezTo>
                  <a:pt x="242" y="289"/>
                  <a:pt x="241" y="290"/>
                  <a:pt x="241" y="292"/>
                </a:cubicBezTo>
                <a:cubicBezTo>
                  <a:pt x="241" y="292"/>
                  <a:pt x="240" y="295"/>
                  <a:pt x="238" y="299"/>
                </a:cubicBezTo>
                <a:cubicBezTo>
                  <a:pt x="236" y="302"/>
                  <a:pt x="233" y="306"/>
                  <a:pt x="232" y="306"/>
                </a:cubicBezTo>
                <a:cubicBezTo>
                  <a:pt x="226" y="308"/>
                  <a:pt x="213" y="312"/>
                  <a:pt x="208" y="312"/>
                </a:cubicBezTo>
                <a:cubicBezTo>
                  <a:pt x="208" y="312"/>
                  <a:pt x="208" y="312"/>
                  <a:pt x="208" y="312"/>
                </a:cubicBezTo>
                <a:cubicBezTo>
                  <a:pt x="206" y="311"/>
                  <a:pt x="205" y="311"/>
                  <a:pt x="204" y="311"/>
                </a:cubicBezTo>
                <a:cubicBezTo>
                  <a:pt x="198" y="311"/>
                  <a:pt x="190" y="314"/>
                  <a:pt x="183" y="317"/>
                </a:cubicBezTo>
                <a:cubicBezTo>
                  <a:pt x="176" y="320"/>
                  <a:pt x="169" y="322"/>
                  <a:pt x="169" y="323"/>
                </a:cubicBezTo>
                <a:cubicBezTo>
                  <a:pt x="168" y="324"/>
                  <a:pt x="168" y="324"/>
                  <a:pt x="168" y="324"/>
                </a:cubicBezTo>
                <a:cubicBezTo>
                  <a:pt x="168" y="324"/>
                  <a:pt x="163" y="328"/>
                  <a:pt x="159" y="332"/>
                </a:cubicBezTo>
                <a:cubicBezTo>
                  <a:pt x="156" y="334"/>
                  <a:pt x="154" y="336"/>
                  <a:pt x="152" y="338"/>
                </a:cubicBezTo>
                <a:cubicBezTo>
                  <a:pt x="151" y="338"/>
                  <a:pt x="150" y="340"/>
                  <a:pt x="149" y="340"/>
                </a:cubicBezTo>
                <a:cubicBezTo>
                  <a:pt x="149" y="340"/>
                  <a:pt x="149" y="340"/>
                  <a:pt x="149" y="340"/>
                </a:cubicBezTo>
                <a:cubicBezTo>
                  <a:pt x="146" y="336"/>
                  <a:pt x="140" y="337"/>
                  <a:pt x="134" y="337"/>
                </a:cubicBezTo>
                <a:cubicBezTo>
                  <a:pt x="132" y="337"/>
                  <a:pt x="130" y="337"/>
                  <a:pt x="128" y="338"/>
                </a:cubicBezTo>
                <a:cubicBezTo>
                  <a:pt x="126" y="338"/>
                  <a:pt x="122" y="340"/>
                  <a:pt x="122" y="345"/>
                </a:cubicBezTo>
                <a:cubicBezTo>
                  <a:pt x="122" y="347"/>
                  <a:pt x="122" y="348"/>
                  <a:pt x="122" y="348"/>
                </a:cubicBezTo>
                <a:cubicBezTo>
                  <a:pt x="123" y="349"/>
                  <a:pt x="123" y="354"/>
                  <a:pt x="126" y="359"/>
                </a:cubicBezTo>
                <a:cubicBezTo>
                  <a:pt x="129" y="365"/>
                  <a:pt x="136" y="369"/>
                  <a:pt x="146" y="369"/>
                </a:cubicBezTo>
                <a:cubicBezTo>
                  <a:pt x="155" y="369"/>
                  <a:pt x="158" y="370"/>
                  <a:pt x="161" y="372"/>
                </a:cubicBezTo>
                <a:cubicBezTo>
                  <a:pt x="163" y="373"/>
                  <a:pt x="166" y="377"/>
                  <a:pt x="172" y="378"/>
                </a:cubicBezTo>
                <a:cubicBezTo>
                  <a:pt x="176" y="379"/>
                  <a:pt x="178" y="379"/>
                  <a:pt x="179" y="379"/>
                </a:cubicBezTo>
                <a:cubicBezTo>
                  <a:pt x="180" y="380"/>
                  <a:pt x="182" y="381"/>
                  <a:pt x="186" y="385"/>
                </a:cubicBezTo>
                <a:cubicBezTo>
                  <a:pt x="188" y="387"/>
                  <a:pt x="189" y="388"/>
                  <a:pt x="189" y="390"/>
                </a:cubicBezTo>
                <a:cubicBezTo>
                  <a:pt x="189" y="390"/>
                  <a:pt x="189" y="390"/>
                  <a:pt x="189" y="390"/>
                </a:cubicBezTo>
                <a:cubicBezTo>
                  <a:pt x="179" y="388"/>
                  <a:pt x="168" y="385"/>
                  <a:pt x="163" y="380"/>
                </a:cubicBezTo>
                <a:cubicBezTo>
                  <a:pt x="156" y="373"/>
                  <a:pt x="156" y="373"/>
                  <a:pt x="156" y="373"/>
                </a:cubicBezTo>
                <a:cubicBezTo>
                  <a:pt x="155" y="372"/>
                  <a:pt x="152" y="371"/>
                  <a:pt x="149" y="372"/>
                </a:cubicBezTo>
                <a:cubicBezTo>
                  <a:pt x="138" y="379"/>
                  <a:pt x="138" y="379"/>
                  <a:pt x="138" y="379"/>
                </a:cubicBezTo>
                <a:cubicBezTo>
                  <a:pt x="120" y="381"/>
                  <a:pt x="100" y="390"/>
                  <a:pt x="100" y="390"/>
                </a:cubicBezTo>
                <a:cubicBezTo>
                  <a:pt x="97" y="392"/>
                  <a:pt x="96" y="395"/>
                  <a:pt x="97" y="398"/>
                </a:cubicBezTo>
                <a:cubicBezTo>
                  <a:pt x="97" y="399"/>
                  <a:pt x="104" y="412"/>
                  <a:pt x="116" y="421"/>
                </a:cubicBezTo>
                <a:cubicBezTo>
                  <a:pt x="129" y="431"/>
                  <a:pt x="152" y="430"/>
                  <a:pt x="156" y="431"/>
                </a:cubicBezTo>
                <a:cubicBezTo>
                  <a:pt x="156" y="431"/>
                  <a:pt x="156" y="431"/>
                  <a:pt x="156" y="431"/>
                </a:cubicBezTo>
                <a:cubicBezTo>
                  <a:pt x="148" y="433"/>
                  <a:pt x="145" y="435"/>
                  <a:pt x="141" y="439"/>
                </a:cubicBezTo>
                <a:cubicBezTo>
                  <a:pt x="137" y="443"/>
                  <a:pt x="133" y="445"/>
                  <a:pt x="130" y="448"/>
                </a:cubicBezTo>
                <a:cubicBezTo>
                  <a:pt x="126" y="451"/>
                  <a:pt x="122" y="455"/>
                  <a:pt x="122" y="461"/>
                </a:cubicBezTo>
                <a:cubicBezTo>
                  <a:pt x="122" y="463"/>
                  <a:pt x="123" y="466"/>
                  <a:pt x="124" y="468"/>
                </a:cubicBezTo>
                <a:cubicBezTo>
                  <a:pt x="126" y="473"/>
                  <a:pt x="129" y="477"/>
                  <a:pt x="132" y="481"/>
                </a:cubicBezTo>
                <a:cubicBezTo>
                  <a:pt x="131" y="480"/>
                  <a:pt x="129" y="480"/>
                  <a:pt x="128" y="480"/>
                </a:cubicBezTo>
                <a:cubicBezTo>
                  <a:pt x="127" y="480"/>
                  <a:pt x="127" y="480"/>
                  <a:pt x="127" y="480"/>
                </a:cubicBezTo>
                <a:cubicBezTo>
                  <a:pt x="123" y="480"/>
                  <a:pt x="121" y="480"/>
                  <a:pt x="119" y="481"/>
                </a:cubicBezTo>
                <a:cubicBezTo>
                  <a:pt x="116" y="482"/>
                  <a:pt x="115" y="483"/>
                  <a:pt x="110" y="485"/>
                </a:cubicBezTo>
                <a:cubicBezTo>
                  <a:pt x="108" y="485"/>
                  <a:pt x="105" y="489"/>
                  <a:pt x="105" y="492"/>
                </a:cubicBezTo>
                <a:cubicBezTo>
                  <a:pt x="105" y="496"/>
                  <a:pt x="107" y="497"/>
                  <a:pt x="108" y="499"/>
                </a:cubicBezTo>
                <a:cubicBezTo>
                  <a:pt x="110" y="501"/>
                  <a:pt x="113" y="503"/>
                  <a:pt x="115" y="505"/>
                </a:cubicBezTo>
                <a:cubicBezTo>
                  <a:pt x="118" y="506"/>
                  <a:pt x="121" y="508"/>
                  <a:pt x="125" y="508"/>
                </a:cubicBezTo>
                <a:cubicBezTo>
                  <a:pt x="130" y="507"/>
                  <a:pt x="132" y="504"/>
                  <a:pt x="135" y="501"/>
                </a:cubicBezTo>
                <a:cubicBezTo>
                  <a:pt x="137" y="498"/>
                  <a:pt x="138" y="495"/>
                  <a:pt x="138" y="491"/>
                </a:cubicBezTo>
                <a:cubicBezTo>
                  <a:pt x="138" y="490"/>
                  <a:pt x="138" y="489"/>
                  <a:pt x="138" y="488"/>
                </a:cubicBezTo>
                <a:cubicBezTo>
                  <a:pt x="140" y="491"/>
                  <a:pt x="142" y="493"/>
                  <a:pt x="144" y="495"/>
                </a:cubicBezTo>
                <a:cubicBezTo>
                  <a:pt x="145" y="496"/>
                  <a:pt x="145" y="497"/>
                  <a:pt x="146" y="498"/>
                </a:cubicBezTo>
                <a:cubicBezTo>
                  <a:pt x="146" y="498"/>
                  <a:pt x="146" y="499"/>
                  <a:pt x="146" y="499"/>
                </a:cubicBezTo>
                <a:cubicBezTo>
                  <a:pt x="147" y="503"/>
                  <a:pt x="152" y="506"/>
                  <a:pt x="155" y="506"/>
                </a:cubicBezTo>
                <a:cubicBezTo>
                  <a:pt x="161" y="506"/>
                  <a:pt x="165" y="503"/>
                  <a:pt x="170" y="500"/>
                </a:cubicBezTo>
                <a:cubicBezTo>
                  <a:pt x="174" y="497"/>
                  <a:pt x="178" y="495"/>
                  <a:pt x="180" y="490"/>
                </a:cubicBezTo>
                <a:cubicBezTo>
                  <a:pt x="180" y="491"/>
                  <a:pt x="180" y="492"/>
                  <a:pt x="180" y="494"/>
                </a:cubicBezTo>
                <a:cubicBezTo>
                  <a:pt x="179" y="495"/>
                  <a:pt x="179" y="497"/>
                  <a:pt x="179" y="499"/>
                </a:cubicBezTo>
                <a:cubicBezTo>
                  <a:pt x="179" y="507"/>
                  <a:pt x="184" y="513"/>
                  <a:pt x="188" y="515"/>
                </a:cubicBezTo>
                <a:cubicBezTo>
                  <a:pt x="192" y="518"/>
                  <a:pt x="196" y="519"/>
                  <a:pt x="196" y="519"/>
                </a:cubicBezTo>
                <a:cubicBezTo>
                  <a:pt x="199" y="519"/>
                  <a:pt x="201" y="518"/>
                  <a:pt x="202" y="515"/>
                </a:cubicBezTo>
                <a:cubicBezTo>
                  <a:pt x="202" y="515"/>
                  <a:pt x="204" y="513"/>
                  <a:pt x="205" y="510"/>
                </a:cubicBezTo>
                <a:cubicBezTo>
                  <a:pt x="206" y="510"/>
                  <a:pt x="206" y="510"/>
                  <a:pt x="206" y="509"/>
                </a:cubicBezTo>
                <a:cubicBezTo>
                  <a:pt x="208" y="511"/>
                  <a:pt x="210" y="513"/>
                  <a:pt x="212" y="515"/>
                </a:cubicBezTo>
                <a:cubicBezTo>
                  <a:pt x="215" y="518"/>
                  <a:pt x="218" y="521"/>
                  <a:pt x="218" y="521"/>
                </a:cubicBezTo>
                <a:cubicBezTo>
                  <a:pt x="220" y="523"/>
                  <a:pt x="224" y="524"/>
                  <a:pt x="226" y="522"/>
                </a:cubicBezTo>
                <a:cubicBezTo>
                  <a:pt x="226" y="522"/>
                  <a:pt x="228" y="520"/>
                  <a:pt x="231" y="519"/>
                </a:cubicBezTo>
                <a:cubicBezTo>
                  <a:pt x="233" y="517"/>
                  <a:pt x="236" y="516"/>
                  <a:pt x="237" y="516"/>
                </a:cubicBezTo>
                <a:cubicBezTo>
                  <a:pt x="237" y="516"/>
                  <a:pt x="237" y="516"/>
                  <a:pt x="237" y="517"/>
                </a:cubicBezTo>
                <a:cubicBezTo>
                  <a:pt x="237" y="517"/>
                  <a:pt x="236" y="519"/>
                  <a:pt x="234" y="521"/>
                </a:cubicBezTo>
                <a:cubicBezTo>
                  <a:pt x="231" y="523"/>
                  <a:pt x="228" y="525"/>
                  <a:pt x="225" y="527"/>
                </a:cubicBezTo>
                <a:cubicBezTo>
                  <a:pt x="222" y="529"/>
                  <a:pt x="214" y="532"/>
                  <a:pt x="206" y="536"/>
                </a:cubicBezTo>
                <a:cubicBezTo>
                  <a:pt x="198" y="540"/>
                  <a:pt x="191" y="544"/>
                  <a:pt x="187" y="546"/>
                </a:cubicBezTo>
                <a:cubicBezTo>
                  <a:pt x="184" y="548"/>
                  <a:pt x="177" y="552"/>
                  <a:pt x="171" y="556"/>
                </a:cubicBezTo>
                <a:cubicBezTo>
                  <a:pt x="167" y="558"/>
                  <a:pt x="164" y="559"/>
                  <a:pt x="161" y="560"/>
                </a:cubicBezTo>
                <a:cubicBezTo>
                  <a:pt x="160" y="561"/>
                  <a:pt x="159" y="560"/>
                  <a:pt x="158" y="561"/>
                </a:cubicBezTo>
                <a:cubicBezTo>
                  <a:pt x="157" y="561"/>
                  <a:pt x="157" y="560"/>
                  <a:pt x="157" y="560"/>
                </a:cubicBezTo>
                <a:cubicBezTo>
                  <a:pt x="157" y="560"/>
                  <a:pt x="157" y="560"/>
                  <a:pt x="157" y="560"/>
                </a:cubicBezTo>
                <a:cubicBezTo>
                  <a:pt x="152" y="560"/>
                  <a:pt x="149" y="564"/>
                  <a:pt x="148" y="567"/>
                </a:cubicBezTo>
                <a:cubicBezTo>
                  <a:pt x="147" y="569"/>
                  <a:pt x="146" y="573"/>
                  <a:pt x="146" y="576"/>
                </a:cubicBezTo>
                <a:cubicBezTo>
                  <a:pt x="146" y="578"/>
                  <a:pt x="146" y="582"/>
                  <a:pt x="148" y="584"/>
                </a:cubicBezTo>
                <a:cubicBezTo>
                  <a:pt x="150" y="587"/>
                  <a:pt x="154" y="589"/>
                  <a:pt x="158" y="589"/>
                </a:cubicBezTo>
                <a:cubicBezTo>
                  <a:pt x="158" y="589"/>
                  <a:pt x="159" y="589"/>
                  <a:pt x="160" y="589"/>
                </a:cubicBezTo>
                <a:cubicBezTo>
                  <a:pt x="172" y="587"/>
                  <a:pt x="200" y="576"/>
                  <a:pt x="209" y="571"/>
                </a:cubicBezTo>
                <a:cubicBezTo>
                  <a:pt x="210" y="571"/>
                  <a:pt x="210" y="572"/>
                  <a:pt x="210" y="572"/>
                </a:cubicBezTo>
                <a:cubicBezTo>
                  <a:pt x="210" y="572"/>
                  <a:pt x="210" y="572"/>
                  <a:pt x="210" y="572"/>
                </a:cubicBezTo>
                <a:cubicBezTo>
                  <a:pt x="210" y="572"/>
                  <a:pt x="210" y="571"/>
                  <a:pt x="211" y="571"/>
                </a:cubicBezTo>
                <a:cubicBezTo>
                  <a:pt x="212" y="571"/>
                  <a:pt x="213" y="571"/>
                  <a:pt x="215" y="571"/>
                </a:cubicBezTo>
                <a:cubicBezTo>
                  <a:pt x="220" y="571"/>
                  <a:pt x="225" y="569"/>
                  <a:pt x="235" y="564"/>
                </a:cubicBezTo>
                <a:cubicBezTo>
                  <a:pt x="245" y="558"/>
                  <a:pt x="253" y="552"/>
                  <a:pt x="259" y="548"/>
                </a:cubicBezTo>
                <a:cubicBezTo>
                  <a:pt x="262" y="546"/>
                  <a:pt x="265" y="544"/>
                  <a:pt x="267" y="543"/>
                </a:cubicBezTo>
                <a:cubicBezTo>
                  <a:pt x="268" y="543"/>
                  <a:pt x="269" y="542"/>
                  <a:pt x="269" y="542"/>
                </a:cubicBezTo>
                <a:cubicBezTo>
                  <a:pt x="270" y="542"/>
                  <a:pt x="270" y="542"/>
                  <a:pt x="270" y="543"/>
                </a:cubicBezTo>
                <a:cubicBezTo>
                  <a:pt x="272" y="544"/>
                  <a:pt x="275" y="553"/>
                  <a:pt x="285" y="556"/>
                </a:cubicBezTo>
                <a:cubicBezTo>
                  <a:pt x="287" y="556"/>
                  <a:pt x="288" y="557"/>
                  <a:pt x="290" y="557"/>
                </a:cubicBezTo>
                <a:cubicBezTo>
                  <a:pt x="302" y="556"/>
                  <a:pt x="309" y="545"/>
                  <a:pt x="313" y="543"/>
                </a:cubicBezTo>
                <a:cubicBezTo>
                  <a:pt x="320" y="537"/>
                  <a:pt x="323" y="529"/>
                  <a:pt x="323" y="522"/>
                </a:cubicBezTo>
                <a:cubicBezTo>
                  <a:pt x="323" y="520"/>
                  <a:pt x="323" y="518"/>
                  <a:pt x="322" y="516"/>
                </a:cubicBezTo>
                <a:cubicBezTo>
                  <a:pt x="321" y="514"/>
                  <a:pt x="318" y="512"/>
                  <a:pt x="315" y="512"/>
                </a:cubicBezTo>
                <a:cubicBezTo>
                  <a:pt x="314" y="512"/>
                  <a:pt x="314" y="512"/>
                  <a:pt x="313" y="512"/>
                </a:cubicBezTo>
                <a:cubicBezTo>
                  <a:pt x="312" y="513"/>
                  <a:pt x="311" y="513"/>
                  <a:pt x="310" y="513"/>
                </a:cubicBezTo>
                <a:cubicBezTo>
                  <a:pt x="313" y="510"/>
                  <a:pt x="315" y="506"/>
                  <a:pt x="316" y="500"/>
                </a:cubicBezTo>
                <a:cubicBezTo>
                  <a:pt x="316" y="496"/>
                  <a:pt x="317" y="489"/>
                  <a:pt x="321" y="486"/>
                </a:cubicBezTo>
                <a:cubicBezTo>
                  <a:pt x="321" y="487"/>
                  <a:pt x="320" y="489"/>
                  <a:pt x="319" y="492"/>
                </a:cubicBezTo>
                <a:cubicBezTo>
                  <a:pt x="318" y="494"/>
                  <a:pt x="318" y="497"/>
                  <a:pt x="318" y="499"/>
                </a:cubicBezTo>
                <a:cubicBezTo>
                  <a:pt x="318" y="502"/>
                  <a:pt x="318" y="505"/>
                  <a:pt x="321" y="507"/>
                </a:cubicBezTo>
                <a:cubicBezTo>
                  <a:pt x="323" y="509"/>
                  <a:pt x="326" y="510"/>
                  <a:pt x="328" y="510"/>
                </a:cubicBezTo>
                <a:cubicBezTo>
                  <a:pt x="336" y="509"/>
                  <a:pt x="342" y="505"/>
                  <a:pt x="347" y="501"/>
                </a:cubicBezTo>
                <a:cubicBezTo>
                  <a:pt x="350" y="498"/>
                  <a:pt x="350" y="499"/>
                  <a:pt x="354" y="498"/>
                </a:cubicBezTo>
                <a:cubicBezTo>
                  <a:pt x="358" y="497"/>
                  <a:pt x="364" y="495"/>
                  <a:pt x="371" y="490"/>
                </a:cubicBezTo>
                <a:cubicBezTo>
                  <a:pt x="378" y="485"/>
                  <a:pt x="381" y="481"/>
                  <a:pt x="384" y="478"/>
                </a:cubicBezTo>
                <a:cubicBezTo>
                  <a:pt x="386" y="476"/>
                  <a:pt x="385" y="476"/>
                  <a:pt x="387" y="476"/>
                </a:cubicBezTo>
                <a:cubicBezTo>
                  <a:pt x="387" y="476"/>
                  <a:pt x="387" y="476"/>
                  <a:pt x="387" y="476"/>
                </a:cubicBezTo>
                <a:cubicBezTo>
                  <a:pt x="389" y="477"/>
                  <a:pt x="392" y="479"/>
                  <a:pt x="396" y="482"/>
                </a:cubicBezTo>
                <a:cubicBezTo>
                  <a:pt x="400" y="484"/>
                  <a:pt x="404" y="487"/>
                  <a:pt x="410" y="487"/>
                </a:cubicBezTo>
                <a:cubicBezTo>
                  <a:pt x="412" y="487"/>
                  <a:pt x="415" y="488"/>
                  <a:pt x="417" y="484"/>
                </a:cubicBezTo>
                <a:cubicBezTo>
                  <a:pt x="417" y="484"/>
                  <a:pt x="417" y="484"/>
                  <a:pt x="417" y="484"/>
                </a:cubicBezTo>
                <a:cubicBezTo>
                  <a:pt x="417" y="484"/>
                  <a:pt x="418" y="484"/>
                  <a:pt x="418" y="484"/>
                </a:cubicBezTo>
                <a:cubicBezTo>
                  <a:pt x="421" y="484"/>
                  <a:pt x="427" y="486"/>
                  <a:pt x="433" y="488"/>
                </a:cubicBezTo>
                <a:cubicBezTo>
                  <a:pt x="439" y="490"/>
                  <a:pt x="445" y="492"/>
                  <a:pt x="451" y="493"/>
                </a:cubicBezTo>
                <a:cubicBezTo>
                  <a:pt x="455" y="492"/>
                  <a:pt x="467" y="497"/>
                  <a:pt x="479" y="501"/>
                </a:cubicBezTo>
                <a:cubicBezTo>
                  <a:pt x="484" y="503"/>
                  <a:pt x="490" y="506"/>
                  <a:pt x="495" y="507"/>
                </a:cubicBezTo>
                <a:cubicBezTo>
                  <a:pt x="500" y="509"/>
                  <a:pt x="503" y="510"/>
                  <a:pt x="507" y="511"/>
                </a:cubicBezTo>
                <a:cubicBezTo>
                  <a:pt x="508" y="510"/>
                  <a:pt x="514" y="512"/>
                  <a:pt x="520" y="516"/>
                </a:cubicBezTo>
                <a:cubicBezTo>
                  <a:pt x="525" y="520"/>
                  <a:pt x="529" y="526"/>
                  <a:pt x="529" y="532"/>
                </a:cubicBezTo>
                <a:cubicBezTo>
                  <a:pt x="530" y="541"/>
                  <a:pt x="531" y="546"/>
                  <a:pt x="535" y="550"/>
                </a:cubicBezTo>
                <a:cubicBezTo>
                  <a:pt x="539" y="555"/>
                  <a:pt x="544" y="555"/>
                  <a:pt x="548" y="555"/>
                </a:cubicBezTo>
                <a:cubicBezTo>
                  <a:pt x="549" y="555"/>
                  <a:pt x="550" y="555"/>
                  <a:pt x="550" y="555"/>
                </a:cubicBezTo>
                <a:cubicBezTo>
                  <a:pt x="552" y="555"/>
                  <a:pt x="558" y="556"/>
                  <a:pt x="562" y="558"/>
                </a:cubicBezTo>
                <a:cubicBezTo>
                  <a:pt x="564" y="559"/>
                  <a:pt x="565" y="561"/>
                  <a:pt x="566" y="562"/>
                </a:cubicBezTo>
                <a:cubicBezTo>
                  <a:pt x="567" y="562"/>
                  <a:pt x="567" y="562"/>
                  <a:pt x="567" y="563"/>
                </a:cubicBezTo>
                <a:cubicBezTo>
                  <a:pt x="567" y="565"/>
                  <a:pt x="566" y="573"/>
                  <a:pt x="566" y="580"/>
                </a:cubicBezTo>
                <a:cubicBezTo>
                  <a:pt x="567" y="590"/>
                  <a:pt x="567" y="602"/>
                  <a:pt x="577" y="609"/>
                </a:cubicBezTo>
                <a:cubicBezTo>
                  <a:pt x="582" y="612"/>
                  <a:pt x="587" y="616"/>
                  <a:pt x="591" y="619"/>
                </a:cubicBezTo>
                <a:cubicBezTo>
                  <a:pt x="596" y="622"/>
                  <a:pt x="599" y="625"/>
                  <a:pt x="605" y="625"/>
                </a:cubicBezTo>
                <a:cubicBezTo>
                  <a:pt x="607" y="625"/>
                  <a:pt x="608" y="625"/>
                  <a:pt x="610" y="624"/>
                </a:cubicBezTo>
                <a:cubicBezTo>
                  <a:pt x="615" y="620"/>
                  <a:pt x="614" y="616"/>
                  <a:pt x="615" y="613"/>
                </a:cubicBezTo>
                <a:cubicBezTo>
                  <a:pt x="615" y="610"/>
                  <a:pt x="614" y="607"/>
                  <a:pt x="614" y="604"/>
                </a:cubicBezTo>
                <a:cubicBezTo>
                  <a:pt x="614" y="605"/>
                  <a:pt x="615" y="605"/>
                  <a:pt x="616" y="606"/>
                </a:cubicBezTo>
                <a:cubicBezTo>
                  <a:pt x="618" y="608"/>
                  <a:pt x="620" y="611"/>
                  <a:pt x="625" y="611"/>
                </a:cubicBezTo>
                <a:cubicBezTo>
                  <a:pt x="625" y="611"/>
                  <a:pt x="626" y="612"/>
                  <a:pt x="627" y="613"/>
                </a:cubicBezTo>
                <a:cubicBezTo>
                  <a:pt x="630" y="616"/>
                  <a:pt x="635" y="624"/>
                  <a:pt x="635" y="628"/>
                </a:cubicBezTo>
                <a:cubicBezTo>
                  <a:pt x="635" y="628"/>
                  <a:pt x="635" y="629"/>
                  <a:pt x="634" y="629"/>
                </a:cubicBezTo>
                <a:cubicBezTo>
                  <a:pt x="634" y="632"/>
                  <a:pt x="633" y="634"/>
                  <a:pt x="633" y="637"/>
                </a:cubicBezTo>
                <a:cubicBezTo>
                  <a:pt x="633" y="648"/>
                  <a:pt x="641" y="660"/>
                  <a:pt x="654" y="661"/>
                </a:cubicBezTo>
                <a:cubicBezTo>
                  <a:pt x="655" y="660"/>
                  <a:pt x="661" y="664"/>
                  <a:pt x="666" y="669"/>
                </a:cubicBezTo>
                <a:cubicBezTo>
                  <a:pt x="668" y="671"/>
                  <a:pt x="670" y="674"/>
                  <a:pt x="672" y="676"/>
                </a:cubicBezTo>
                <a:cubicBezTo>
                  <a:pt x="675" y="678"/>
                  <a:pt x="676" y="680"/>
                  <a:pt x="680" y="681"/>
                </a:cubicBezTo>
                <a:cubicBezTo>
                  <a:pt x="680" y="681"/>
                  <a:pt x="682" y="683"/>
                  <a:pt x="684" y="684"/>
                </a:cubicBezTo>
                <a:cubicBezTo>
                  <a:pt x="685" y="685"/>
                  <a:pt x="685" y="686"/>
                  <a:pt x="685" y="687"/>
                </a:cubicBezTo>
                <a:cubicBezTo>
                  <a:pt x="686" y="687"/>
                  <a:pt x="686" y="688"/>
                  <a:pt x="686" y="688"/>
                </a:cubicBezTo>
                <a:cubicBezTo>
                  <a:pt x="686" y="688"/>
                  <a:pt x="686" y="688"/>
                  <a:pt x="686" y="688"/>
                </a:cubicBezTo>
                <a:cubicBezTo>
                  <a:pt x="686" y="692"/>
                  <a:pt x="687" y="698"/>
                  <a:pt x="689" y="706"/>
                </a:cubicBezTo>
                <a:cubicBezTo>
                  <a:pt x="690" y="713"/>
                  <a:pt x="692" y="721"/>
                  <a:pt x="692" y="725"/>
                </a:cubicBezTo>
                <a:cubicBezTo>
                  <a:pt x="692" y="734"/>
                  <a:pt x="688" y="773"/>
                  <a:pt x="687" y="788"/>
                </a:cubicBezTo>
                <a:cubicBezTo>
                  <a:pt x="687" y="789"/>
                  <a:pt x="687" y="790"/>
                  <a:pt x="687" y="791"/>
                </a:cubicBezTo>
                <a:cubicBezTo>
                  <a:pt x="687" y="809"/>
                  <a:pt x="697" y="833"/>
                  <a:pt x="709" y="847"/>
                </a:cubicBezTo>
                <a:cubicBezTo>
                  <a:pt x="714" y="854"/>
                  <a:pt x="720" y="863"/>
                  <a:pt x="725" y="872"/>
                </a:cubicBezTo>
                <a:cubicBezTo>
                  <a:pt x="730" y="881"/>
                  <a:pt x="733" y="889"/>
                  <a:pt x="739" y="894"/>
                </a:cubicBezTo>
                <a:cubicBezTo>
                  <a:pt x="741" y="895"/>
                  <a:pt x="744" y="900"/>
                  <a:pt x="747" y="904"/>
                </a:cubicBezTo>
                <a:cubicBezTo>
                  <a:pt x="750" y="909"/>
                  <a:pt x="755" y="914"/>
                  <a:pt x="763" y="915"/>
                </a:cubicBezTo>
                <a:cubicBezTo>
                  <a:pt x="764" y="915"/>
                  <a:pt x="764" y="914"/>
                  <a:pt x="765" y="914"/>
                </a:cubicBezTo>
                <a:cubicBezTo>
                  <a:pt x="766" y="914"/>
                  <a:pt x="766" y="914"/>
                  <a:pt x="766" y="914"/>
                </a:cubicBezTo>
                <a:cubicBezTo>
                  <a:pt x="769" y="914"/>
                  <a:pt x="771" y="915"/>
                  <a:pt x="774" y="919"/>
                </a:cubicBezTo>
                <a:cubicBezTo>
                  <a:pt x="777" y="923"/>
                  <a:pt x="781" y="930"/>
                  <a:pt x="785" y="939"/>
                </a:cubicBezTo>
                <a:cubicBezTo>
                  <a:pt x="790" y="948"/>
                  <a:pt x="794" y="961"/>
                  <a:pt x="799" y="971"/>
                </a:cubicBezTo>
                <a:cubicBezTo>
                  <a:pt x="801" y="977"/>
                  <a:pt x="803" y="982"/>
                  <a:pt x="805" y="986"/>
                </a:cubicBezTo>
                <a:cubicBezTo>
                  <a:pt x="808" y="990"/>
                  <a:pt x="809" y="993"/>
                  <a:pt x="814" y="995"/>
                </a:cubicBezTo>
                <a:cubicBezTo>
                  <a:pt x="816" y="996"/>
                  <a:pt x="819" y="998"/>
                  <a:pt x="821" y="1000"/>
                </a:cubicBezTo>
                <a:cubicBezTo>
                  <a:pt x="824" y="1002"/>
                  <a:pt x="824" y="1005"/>
                  <a:pt x="824" y="1005"/>
                </a:cubicBezTo>
                <a:cubicBezTo>
                  <a:pt x="824" y="1005"/>
                  <a:pt x="824" y="1005"/>
                  <a:pt x="824" y="1005"/>
                </a:cubicBezTo>
                <a:cubicBezTo>
                  <a:pt x="820" y="1011"/>
                  <a:pt x="814" y="1018"/>
                  <a:pt x="813" y="1027"/>
                </a:cubicBezTo>
                <a:cubicBezTo>
                  <a:pt x="813" y="1029"/>
                  <a:pt x="814" y="1032"/>
                  <a:pt x="816" y="1034"/>
                </a:cubicBezTo>
                <a:cubicBezTo>
                  <a:pt x="819" y="1037"/>
                  <a:pt x="822" y="1037"/>
                  <a:pt x="824" y="1037"/>
                </a:cubicBezTo>
                <a:cubicBezTo>
                  <a:pt x="831" y="1037"/>
                  <a:pt x="836" y="1035"/>
                  <a:pt x="836" y="1035"/>
                </a:cubicBezTo>
                <a:cubicBezTo>
                  <a:pt x="837" y="1035"/>
                  <a:pt x="837" y="1035"/>
                  <a:pt x="841" y="1040"/>
                </a:cubicBezTo>
                <a:cubicBezTo>
                  <a:pt x="845" y="1046"/>
                  <a:pt x="849" y="1051"/>
                  <a:pt x="852" y="1055"/>
                </a:cubicBezTo>
                <a:cubicBezTo>
                  <a:pt x="856" y="1059"/>
                  <a:pt x="856" y="1062"/>
                  <a:pt x="856" y="1063"/>
                </a:cubicBezTo>
                <a:cubicBezTo>
                  <a:pt x="856" y="1063"/>
                  <a:pt x="856" y="1063"/>
                  <a:pt x="856" y="1063"/>
                </a:cubicBezTo>
                <a:cubicBezTo>
                  <a:pt x="856" y="1064"/>
                  <a:pt x="856" y="1065"/>
                  <a:pt x="856" y="1065"/>
                </a:cubicBezTo>
                <a:cubicBezTo>
                  <a:pt x="856" y="1072"/>
                  <a:pt x="861" y="1076"/>
                  <a:pt x="865" y="1079"/>
                </a:cubicBezTo>
                <a:cubicBezTo>
                  <a:pt x="869" y="1080"/>
                  <a:pt x="872" y="1082"/>
                  <a:pt x="875" y="1082"/>
                </a:cubicBezTo>
                <a:cubicBezTo>
                  <a:pt x="875" y="1082"/>
                  <a:pt x="875" y="1082"/>
                  <a:pt x="875" y="1083"/>
                </a:cubicBezTo>
                <a:cubicBezTo>
                  <a:pt x="877" y="1084"/>
                  <a:pt x="879" y="1088"/>
                  <a:pt x="883" y="1092"/>
                </a:cubicBezTo>
                <a:cubicBezTo>
                  <a:pt x="886" y="1096"/>
                  <a:pt x="890" y="1100"/>
                  <a:pt x="897" y="1101"/>
                </a:cubicBezTo>
                <a:cubicBezTo>
                  <a:pt x="901" y="1101"/>
                  <a:pt x="904" y="1099"/>
                  <a:pt x="907" y="1096"/>
                </a:cubicBezTo>
                <a:cubicBezTo>
                  <a:pt x="910" y="1093"/>
                  <a:pt x="911" y="1089"/>
                  <a:pt x="911" y="1086"/>
                </a:cubicBezTo>
                <a:cubicBezTo>
                  <a:pt x="911" y="1077"/>
                  <a:pt x="905" y="1071"/>
                  <a:pt x="900" y="1065"/>
                </a:cubicBezTo>
                <a:cubicBezTo>
                  <a:pt x="894" y="1060"/>
                  <a:pt x="888" y="1055"/>
                  <a:pt x="886" y="1053"/>
                </a:cubicBezTo>
                <a:cubicBezTo>
                  <a:pt x="885" y="1052"/>
                  <a:pt x="884" y="1048"/>
                  <a:pt x="883" y="1041"/>
                </a:cubicBezTo>
                <a:cubicBezTo>
                  <a:pt x="882" y="1034"/>
                  <a:pt x="879" y="1024"/>
                  <a:pt x="870" y="1016"/>
                </a:cubicBezTo>
                <a:cubicBezTo>
                  <a:pt x="863" y="1009"/>
                  <a:pt x="860" y="1004"/>
                  <a:pt x="857" y="999"/>
                </a:cubicBezTo>
                <a:cubicBezTo>
                  <a:pt x="866" y="1010"/>
                  <a:pt x="877" y="1020"/>
                  <a:pt x="883" y="1027"/>
                </a:cubicBezTo>
                <a:cubicBezTo>
                  <a:pt x="887" y="1031"/>
                  <a:pt x="895" y="1044"/>
                  <a:pt x="901" y="1055"/>
                </a:cubicBezTo>
                <a:cubicBezTo>
                  <a:pt x="905" y="1060"/>
                  <a:pt x="908" y="1066"/>
                  <a:pt x="911" y="1070"/>
                </a:cubicBezTo>
                <a:cubicBezTo>
                  <a:pt x="912" y="1072"/>
                  <a:pt x="914" y="1074"/>
                  <a:pt x="915" y="1075"/>
                </a:cubicBezTo>
                <a:cubicBezTo>
                  <a:pt x="917" y="1076"/>
                  <a:pt x="918" y="1078"/>
                  <a:pt x="921" y="1078"/>
                </a:cubicBezTo>
                <a:cubicBezTo>
                  <a:pt x="923" y="1079"/>
                  <a:pt x="928" y="1084"/>
                  <a:pt x="931" y="1088"/>
                </a:cubicBezTo>
                <a:cubicBezTo>
                  <a:pt x="935" y="1092"/>
                  <a:pt x="938" y="1096"/>
                  <a:pt x="939" y="1098"/>
                </a:cubicBezTo>
                <a:cubicBezTo>
                  <a:pt x="939" y="1099"/>
                  <a:pt x="940" y="1101"/>
                  <a:pt x="942" y="1104"/>
                </a:cubicBezTo>
                <a:cubicBezTo>
                  <a:pt x="943" y="1108"/>
                  <a:pt x="944" y="1113"/>
                  <a:pt x="944" y="1114"/>
                </a:cubicBezTo>
                <a:cubicBezTo>
                  <a:pt x="944" y="1115"/>
                  <a:pt x="944" y="1115"/>
                  <a:pt x="944" y="1115"/>
                </a:cubicBezTo>
                <a:cubicBezTo>
                  <a:pt x="943" y="1117"/>
                  <a:pt x="943" y="1120"/>
                  <a:pt x="943" y="1122"/>
                </a:cubicBezTo>
                <a:cubicBezTo>
                  <a:pt x="943" y="1133"/>
                  <a:pt x="949" y="1147"/>
                  <a:pt x="959" y="1155"/>
                </a:cubicBezTo>
                <a:cubicBezTo>
                  <a:pt x="968" y="1161"/>
                  <a:pt x="999" y="1178"/>
                  <a:pt x="1004" y="1181"/>
                </a:cubicBezTo>
                <a:cubicBezTo>
                  <a:pt x="1005" y="1182"/>
                  <a:pt x="1009" y="1188"/>
                  <a:pt x="1013" y="1193"/>
                </a:cubicBezTo>
                <a:cubicBezTo>
                  <a:pt x="1018" y="1199"/>
                  <a:pt x="1024" y="1205"/>
                  <a:pt x="1034" y="1205"/>
                </a:cubicBezTo>
                <a:cubicBezTo>
                  <a:pt x="1046" y="1205"/>
                  <a:pt x="1054" y="1208"/>
                  <a:pt x="1054" y="1209"/>
                </a:cubicBezTo>
                <a:cubicBezTo>
                  <a:pt x="1055" y="1210"/>
                  <a:pt x="1058" y="1214"/>
                  <a:pt x="1061" y="1217"/>
                </a:cubicBezTo>
                <a:cubicBezTo>
                  <a:pt x="1064" y="1220"/>
                  <a:pt x="1068" y="1224"/>
                  <a:pt x="1075" y="1225"/>
                </a:cubicBezTo>
                <a:cubicBezTo>
                  <a:pt x="1079" y="1225"/>
                  <a:pt x="1082" y="1223"/>
                  <a:pt x="1085" y="1219"/>
                </a:cubicBezTo>
                <a:cubicBezTo>
                  <a:pt x="1088" y="1214"/>
                  <a:pt x="1090" y="1211"/>
                  <a:pt x="1092" y="1210"/>
                </a:cubicBezTo>
                <a:cubicBezTo>
                  <a:pt x="1093" y="1209"/>
                  <a:pt x="1094" y="1208"/>
                  <a:pt x="1098" y="1208"/>
                </a:cubicBezTo>
                <a:cubicBezTo>
                  <a:pt x="1101" y="1208"/>
                  <a:pt x="1103" y="1209"/>
                  <a:pt x="1106" y="1212"/>
                </a:cubicBezTo>
                <a:cubicBezTo>
                  <a:pt x="1108" y="1215"/>
                  <a:pt x="1111" y="1219"/>
                  <a:pt x="1114" y="1222"/>
                </a:cubicBezTo>
                <a:cubicBezTo>
                  <a:pt x="1117" y="1226"/>
                  <a:pt x="1122" y="1232"/>
                  <a:pt x="1128" y="1237"/>
                </a:cubicBezTo>
                <a:cubicBezTo>
                  <a:pt x="1134" y="1243"/>
                  <a:pt x="1140" y="1248"/>
                  <a:pt x="1148" y="1248"/>
                </a:cubicBezTo>
                <a:cubicBezTo>
                  <a:pt x="1148" y="1248"/>
                  <a:pt x="1149" y="1248"/>
                  <a:pt x="1150" y="1248"/>
                </a:cubicBezTo>
                <a:cubicBezTo>
                  <a:pt x="1150" y="1248"/>
                  <a:pt x="1150" y="1248"/>
                  <a:pt x="1150" y="1248"/>
                </a:cubicBezTo>
                <a:cubicBezTo>
                  <a:pt x="1151" y="1248"/>
                  <a:pt x="1154" y="1249"/>
                  <a:pt x="1158" y="1251"/>
                </a:cubicBezTo>
                <a:cubicBezTo>
                  <a:pt x="1161" y="1253"/>
                  <a:pt x="1165" y="1256"/>
                  <a:pt x="1170" y="1256"/>
                </a:cubicBezTo>
                <a:cubicBezTo>
                  <a:pt x="1172" y="1256"/>
                  <a:pt x="1175" y="1255"/>
                  <a:pt x="1176" y="1254"/>
                </a:cubicBezTo>
                <a:cubicBezTo>
                  <a:pt x="1177" y="1254"/>
                  <a:pt x="1177" y="1254"/>
                  <a:pt x="1177" y="1254"/>
                </a:cubicBezTo>
                <a:cubicBezTo>
                  <a:pt x="1179" y="1253"/>
                  <a:pt x="1186" y="1257"/>
                  <a:pt x="1189" y="1260"/>
                </a:cubicBezTo>
                <a:cubicBezTo>
                  <a:pt x="1194" y="1262"/>
                  <a:pt x="1206" y="1271"/>
                  <a:pt x="1206" y="1282"/>
                </a:cubicBezTo>
                <a:cubicBezTo>
                  <a:pt x="1206" y="1282"/>
                  <a:pt x="1206" y="1283"/>
                  <a:pt x="1206" y="1283"/>
                </a:cubicBezTo>
                <a:cubicBezTo>
                  <a:pt x="1206" y="1284"/>
                  <a:pt x="1206" y="1285"/>
                  <a:pt x="1206" y="1286"/>
                </a:cubicBezTo>
                <a:cubicBezTo>
                  <a:pt x="1206" y="1304"/>
                  <a:pt x="1219" y="1310"/>
                  <a:pt x="1225" y="1313"/>
                </a:cubicBezTo>
                <a:cubicBezTo>
                  <a:pt x="1231" y="1317"/>
                  <a:pt x="1240" y="1326"/>
                  <a:pt x="1245" y="1333"/>
                </a:cubicBezTo>
                <a:cubicBezTo>
                  <a:pt x="1250" y="1338"/>
                  <a:pt x="1255" y="1340"/>
                  <a:pt x="1260" y="1342"/>
                </a:cubicBezTo>
                <a:cubicBezTo>
                  <a:pt x="1262" y="1343"/>
                  <a:pt x="1264" y="1343"/>
                  <a:pt x="1265" y="1344"/>
                </a:cubicBezTo>
                <a:cubicBezTo>
                  <a:pt x="1266" y="1344"/>
                  <a:pt x="1267" y="1345"/>
                  <a:pt x="1267" y="1345"/>
                </a:cubicBezTo>
                <a:cubicBezTo>
                  <a:pt x="1267" y="1345"/>
                  <a:pt x="1267" y="1345"/>
                  <a:pt x="1267" y="1345"/>
                </a:cubicBezTo>
                <a:cubicBezTo>
                  <a:pt x="1268" y="1346"/>
                  <a:pt x="1269" y="1348"/>
                  <a:pt x="1271" y="1350"/>
                </a:cubicBezTo>
                <a:cubicBezTo>
                  <a:pt x="1273" y="1353"/>
                  <a:pt x="1276" y="1355"/>
                  <a:pt x="1281" y="1355"/>
                </a:cubicBezTo>
                <a:cubicBezTo>
                  <a:pt x="1285" y="1355"/>
                  <a:pt x="1288" y="1354"/>
                  <a:pt x="1291" y="1351"/>
                </a:cubicBezTo>
                <a:cubicBezTo>
                  <a:pt x="1299" y="1346"/>
                  <a:pt x="1302" y="1340"/>
                  <a:pt x="1302" y="1332"/>
                </a:cubicBezTo>
                <a:cubicBezTo>
                  <a:pt x="1302" y="1332"/>
                  <a:pt x="1302" y="1332"/>
                  <a:pt x="1302" y="1332"/>
                </a:cubicBezTo>
                <a:cubicBezTo>
                  <a:pt x="1305" y="1332"/>
                  <a:pt x="1308" y="1333"/>
                  <a:pt x="1309" y="1334"/>
                </a:cubicBezTo>
                <a:cubicBezTo>
                  <a:pt x="1310" y="1335"/>
                  <a:pt x="1313" y="1341"/>
                  <a:pt x="1315" y="1346"/>
                </a:cubicBezTo>
                <a:cubicBezTo>
                  <a:pt x="1316" y="1349"/>
                  <a:pt x="1317" y="1352"/>
                  <a:pt x="1318" y="1354"/>
                </a:cubicBezTo>
                <a:cubicBezTo>
                  <a:pt x="1319" y="1357"/>
                  <a:pt x="1319" y="1359"/>
                  <a:pt x="1322" y="1361"/>
                </a:cubicBezTo>
                <a:cubicBezTo>
                  <a:pt x="1322" y="1361"/>
                  <a:pt x="1322" y="1361"/>
                  <a:pt x="1322" y="1361"/>
                </a:cubicBezTo>
                <a:cubicBezTo>
                  <a:pt x="1322" y="1362"/>
                  <a:pt x="1324" y="1365"/>
                  <a:pt x="1325" y="1369"/>
                </a:cubicBezTo>
                <a:cubicBezTo>
                  <a:pt x="1326" y="1373"/>
                  <a:pt x="1327" y="1378"/>
                  <a:pt x="1327" y="1384"/>
                </a:cubicBezTo>
                <a:cubicBezTo>
                  <a:pt x="1327" y="1387"/>
                  <a:pt x="1327" y="1390"/>
                  <a:pt x="1326" y="1393"/>
                </a:cubicBezTo>
                <a:cubicBezTo>
                  <a:pt x="1323" y="1402"/>
                  <a:pt x="1323" y="1409"/>
                  <a:pt x="1322" y="1415"/>
                </a:cubicBezTo>
                <a:cubicBezTo>
                  <a:pt x="1321" y="1417"/>
                  <a:pt x="1321" y="1419"/>
                  <a:pt x="1321" y="1420"/>
                </a:cubicBezTo>
                <a:cubicBezTo>
                  <a:pt x="1318" y="1421"/>
                  <a:pt x="1316" y="1423"/>
                  <a:pt x="1315" y="1425"/>
                </a:cubicBezTo>
                <a:cubicBezTo>
                  <a:pt x="1313" y="1428"/>
                  <a:pt x="1311" y="1432"/>
                  <a:pt x="1308" y="1435"/>
                </a:cubicBezTo>
                <a:cubicBezTo>
                  <a:pt x="1306" y="1439"/>
                  <a:pt x="1304" y="1442"/>
                  <a:pt x="1303" y="1442"/>
                </a:cubicBezTo>
                <a:cubicBezTo>
                  <a:pt x="1299" y="1445"/>
                  <a:pt x="1293" y="1451"/>
                  <a:pt x="1287" y="1457"/>
                </a:cubicBezTo>
                <a:cubicBezTo>
                  <a:pt x="1282" y="1464"/>
                  <a:pt x="1277" y="1469"/>
                  <a:pt x="1276" y="1477"/>
                </a:cubicBezTo>
                <a:cubicBezTo>
                  <a:pt x="1276" y="1478"/>
                  <a:pt x="1276" y="1478"/>
                  <a:pt x="1276" y="1479"/>
                </a:cubicBezTo>
                <a:cubicBezTo>
                  <a:pt x="1277" y="1483"/>
                  <a:pt x="1279" y="1489"/>
                  <a:pt x="1282" y="1495"/>
                </a:cubicBezTo>
                <a:cubicBezTo>
                  <a:pt x="1284" y="1501"/>
                  <a:pt x="1286" y="1508"/>
                  <a:pt x="1286" y="1512"/>
                </a:cubicBezTo>
                <a:cubicBezTo>
                  <a:pt x="1286" y="1513"/>
                  <a:pt x="1286" y="1513"/>
                  <a:pt x="1286" y="1514"/>
                </a:cubicBezTo>
                <a:cubicBezTo>
                  <a:pt x="1285" y="1516"/>
                  <a:pt x="1282" y="1520"/>
                  <a:pt x="1278" y="1526"/>
                </a:cubicBezTo>
                <a:cubicBezTo>
                  <a:pt x="1275" y="1531"/>
                  <a:pt x="1271" y="1538"/>
                  <a:pt x="1271" y="1546"/>
                </a:cubicBezTo>
                <a:cubicBezTo>
                  <a:pt x="1271" y="1548"/>
                  <a:pt x="1271" y="1550"/>
                  <a:pt x="1272" y="1552"/>
                </a:cubicBezTo>
                <a:cubicBezTo>
                  <a:pt x="1274" y="1563"/>
                  <a:pt x="1283" y="1568"/>
                  <a:pt x="1289" y="1573"/>
                </a:cubicBezTo>
                <a:cubicBezTo>
                  <a:pt x="1296" y="1577"/>
                  <a:pt x="1300" y="1581"/>
                  <a:pt x="1300" y="1584"/>
                </a:cubicBezTo>
                <a:cubicBezTo>
                  <a:pt x="1301" y="1593"/>
                  <a:pt x="1306" y="1604"/>
                  <a:pt x="1311" y="1615"/>
                </a:cubicBezTo>
                <a:cubicBezTo>
                  <a:pt x="1316" y="1626"/>
                  <a:pt x="1320" y="1637"/>
                  <a:pt x="1321" y="1643"/>
                </a:cubicBezTo>
                <a:cubicBezTo>
                  <a:pt x="1323" y="1652"/>
                  <a:pt x="1329" y="1659"/>
                  <a:pt x="1334" y="1667"/>
                </a:cubicBezTo>
                <a:cubicBezTo>
                  <a:pt x="1339" y="1675"/>
                  <a:pt x="1343" y="1682"/>
                  <a:pt x="1343" y="1690"/>
                </a:cubicBezTo>
                <a:cubicBezTo>
                  <a:pt x="1343" y="1703"/>
                  <a:pt x="1352" y="1712"/>
                  <a:pt x="1360" y="1718"/>
                </a:cubicBezTo>
                <a:cubicBezTo>
                  <a:pt x="1368" y="1724"/>
                  <a:pt x="1377" y="1728"/>
                  <a:pt x="1381" y="1729"/>
                </a:cubicBezTo>
                <a:cubicBezTo>
                  <a:pt x="1381" y="1729"/>
                  <a:pt x="1385" y="1732"/>
                  <a:pt x="1390" y="1736"/>
                </a:cubicBezTo>
                <a:cubicBezTo>
                  <a:pt x="1394" y="1739"/>
                  <a:pt x="1399" y="1744"/>
                  <a:pt x="1404" y="1746"/>
                </a:cubicBezTo>
                <a:cubicBezTo>
                  <a:pt x="1410" y="1750"/>
                  <a:pt x="1416" y="1757"/>
                  <a:pt x="1422" y="1767"/>
                </a:cubicBezTo>
                <a:cubicBezTo>
                  <a:pt x="1425" y="1773"/>
                  <a:pt x="1426" y="1784"/>
                  <a:pt x="1426" y="1790"/>
                </a:cubicBezTo>
                <a:cubicBezTo>
                  <a:pt x="1426" y="1793"/>
                  <a:pt x="1426" y="1795"/>
                  <a:pt x="1426" y="1796"/>
                </a:cubicBezTo>
                <a:cubicBezTo>
                  <a:pt x="1426" y="1799"/>
                  <a:pt x="1422" y="1843"/>
                  <a:pt x="1419" y="1867"/>
                </a:cubicBezTo>
                <a:cubicBezTo>
                  <a:pt x="1418" y="1872"/>
                  <a:pt x="1418" y="1877"/>
                  <a:pt x="1418" y="1882"/>
                </a:cubicBezTo>
                <a:cubicBezTo>
                  <a:pt x="1418" y="1893"/>
                  <a:pt x="1420" y="1902"/>
                  <a:pt x="1419" y="1909"/>
                </a:cubicBezTo>
                <a:cubicBezTo>
                  <a:pt x="1420" y="1913"/>
                  <a:pt x="1419" y="1914"/>
                  <a:pt x="1418" y="1915"/>
                </a:cubicBezTo>
                <a:cubicBezTo>
                  <a:pt x="1414" y="1920"/>
                  <a:pt x="1406" y="1925"/>
                  <a:pt x="1405" y="1935"/>
                </a:cubicBezTo>
                <a:cubicBezTo>
                  <a:pt x="1405" y="1938"/>
                  <a:pt x="1406" y="1942"/>
                  <a:pt x="1409" y="1945"/>
                </a:cubicBezTo>
                <a:cubicBezTo>
                  <a:pt x="1409" y="1945"/>
                  <a:pt x="1409" y="1945"/>
                  <a:pt x="1409" y="1945"/>
                </a:cubicBezTo>
                <a:cubicBezTo>
                  <a:pt x="1409" y="1946"/>
                  <a:pt x="1407" y="1948"/>
                  <a:pt x="1405" y="1949"/>
                </a:cubicBezTo>
                <a:cubicBezTo>
                  <a:pt x="1404" y="1950"/>
                  <a:pt x="1403" y="1951"/>
                  <a:pt x="1402" y="1952"/>
                </a:cubicBezTo>
                <a:cubicBezTo>
                  <a:pt x="1401" y="1954"/>
                  <a:pt x="1399" y="1955"/>
                  <a:pt x="1399" y="1959"/>
                </a:cubicBezTo>
                <a:cubicBezTo>
                  <a:pt x="1399" y="1963"/>
                  <a:pt x="1401" y="1966"/>
                  <a:pt x="1402" y="1972"/>
                </a:cubicBezTo>
                <a:cubicBezTo>
                  <a:pt x="1404" y="1977"/>
                  <a:pt x="1405" y="1983"/>
                  <a:pt x="1405" y="1988"/>
                </a:cubicBezTo>
                <a:cubicBezTo>
                  <a:pt x="1405" y="1990"/>
                  <a:pt x="1405" y="1991"/>
                  <a:pt x="1404" y="1992"/>
                </a:cubicBezTo>
                <a:cubicBezTo>
                  <a:pt x="1399" y="2003"/>
                  <a:pt x="1396" y="2016"/>
                  <a:pt x="1393" y="2024"/>
                </a:cubicBezTo>
                <a:cubicBezTo>
                  <a:pt x="1391" y="2030"/>
                  <a:pt x="1383" y="2038"/>
                  <a:pt x="1383" y="2051"/>
                </a:cubicBezTo>
                <a:cubicBezTo>
                  <a:pt x="1383" y="2053"/>
                  <a:pt x="1383" y="2055"/>
                  <a:pt x="1383" y="2056"/>
                </a:cubicBezTo>
                <a:cubicBezTo>
                  <a:pt x="1383" y="2057"/>
                  <a:pt x="1384" y="2058"/>
                  <a:pt x="1384" y="2058"/>
                </a:cubicBezTo>
                <a:cubicBezTo>
                  <a:pt x="1383" y="2060"/>
                  <a:pt x="1384" y="2059"/>
                  <a:pt x="1381" y="2062"/>
                </a:cubicBezTo>
                <a:cubicBezTo>
                  <a:pt x="1378" y="2063"/>
                  <a:pt x="1374" y="2069"/>
                  <a:pt x="1374" y="2076"/>
                </a:cubicBezTo>
                <a:cubicBezTo>
                  <a:pt x="1374" y="2083"/>
                  <a:pt x="1378" y="2088"/>
                  <a:pt x="1380" y="2090"/>
                </a:cubicBezTo>
                <a:cubicBezTo>
                  <a:pt x="1382" y="2092"/>
                  <a:pt x="1382" y="2091"/>
                  <a:pt x="1382" y="2094"/>
                </a:cubicBezTo>
                <a:cubicBezTo>
                  <a:pt x="1382" y="2095"/>
                  <a:pt x="1382" y="2096"/>
                  <a:pt x="1382" y="2097"/>
                </a:cubicBezTo>
                <a:cubicBezTo>
                  <a:pt x="1381" y="2104"/>
                  <a:pt x="1379" y="2108"/>
                  <a:pt x="1378" y="2113"/>
                </a:cubicBezTo>
                <a:cubicBezTo>
                  <a:pt x="1376" y="2117"/>
                  <a:pt x="1374" y="2122"/>
                  <a:pt x="1374" y="2128"/>
                </a:cubicBezTo>
                <a:cubicBezTo>
                  <a:pt x="1374" y="2135"/>
                  <a:pt x="1376" y="2142"/>
                  <a:pt x="1377" y="2148"/>
                </a:cubicBezTo>
                <a:cubicBezTo>
                  <a:pt x="1379" y="2153"/>
                  <a:pt x="1380" y="2159"/>
                  <a:pt x="1380" y="2159"/>
                </a:cubicBezTo>
                <a:cubicBezTo>
                  <a:pt x="1380" y="2159"/>
                  <a:pt x="1379" y="2163"/>
                  <a:pt x="1376" y="2168"/>
                </a:cubicBezTo>
                <a:cubicBezTo>
                  <a:pt x="1374" y="2173"/>
                  <a:pt x="1371" y="2179"/>
                  <a:pt x="1367" y="2184"/>
                </a:cubicBezTo>
                <a:cubicBezTo>
                  <a:pt x="1360" y="2194"/>
                  <a:pt x="1354" y="2201"/>
                  <a:pt x="1353" y="2211"/>
                </a:cubicBezTo>
                <a:cubicBezTo>
                  <a:pt x="1353" y="2212"/>
                  <a:pt x="1353" y="2213"/>
                  <a:pt x="1353" y="2214"/>
                </a:cubicBezTo>
                <a:cubicBezTo>
                  <a:pt x="1354" y="2218"/>
                  <a:pt x="1357" y="2222"/>
                  <a:pt x="1359" y="2226"/>
                </a:cubicBezTo>
                <a:cubicBezTo>
                  <a:pt x="1360" y="2227"/>
                  <a:pt x="1360" y="2229"/>
                  <a:pt x="1361" y="2230"/>
                </a:cubicBezTo>
                <a:cubicBezTo>
                  <a:pt x="1361" y="2230"/>
                  <a:pt x="1361" y="2231"/>
                  <a:pt x="1361" y="2231"/>
                </a:cubicBezTo>
                <a:cubicBezTo>
                  <a:pt x="1361" y="2232"/>
                  <a:pt x="1358" y="2236"/>
                  <a:pt x="1356" y="2240"/>
                </a:cubicBezTo>
                <a:cubicBezTo>
                  <a:pt x="1354" y="2245"/>
                  <a:pt x="1351" y="2251"/>
                  <a:pt x="1351" y="2258"/>
                </a:cubicBezTo>
                <a:cubicBezTo>
                  <a:pt x="1351" y="2259"/>
                  <a:pt x="1351" y="2259"/>
                  <a:pt x="1351" y="2260"/>
                </a:cubicBezTo>
                <a:cubicBezTo>
                  <a:pt x="1352" y="2268"/>
                  <a:pt x="1358" y="2272"/>
                  <a:pt x="1361" y="2272"/>
                </a:cubicBezTo>
                <a:cubicBezTo>
                  <a:pt x="1363" y="2273"/>
                  <a:pt x="1364" y="2273"/>
                  <a:pt x="1365" y="2273"/>
                </a:cubicBezTo>
                <a:cubicBezTo>
                  <a:pt x="1364" y="2274"/>
                  <a:pt x="1363" y="2276"/>
                  <a:pt x="1361" y="2277"/>
                </a:cubicBezTo>
                <a:cubicBezTo>
                  <a:pt x="1359" y="2279"/>
                  <a:pt x="1356" y="2282"/>
                  <a:pt x="1356" y="2287"/>
                </a:cubicBezTo>
                <a:cubicBezTo>
                  <a:pt x="1356" y="2290"/>
                  <a:pt x="1358" y="2293"/>
                  <a:pt x="1360" y="2295"/>
                </a:cubicBezTo>
                <a:cubicBezTo>
                  <a:pt x="1364" y="2299"/>
                  <a:pt x="1368" y="2301"/>
                  <a:pt x="1370" y="2302"/>
                </a:cubicBezTo>
                <a:cubicBezTo>
                  <a:pt x="1371" y="2304"/>
                  <a:pt x="1372" y="2304"/>
                  <a:pt x="1372" y="2308"/>
                </a:cubicBezTo>
                <a:cubicBezTo>
                  <a:pt x="1372" y="2310"/>
                  <a:pt x="1372" y="2311"/>
                  <a:pt x="1372" y="2312"/>
                </a:cubicBezTo>
                <a:cubicBezTo>
                  <a:pt x="1372" y="2314"/>
                  <a:pt x="1371" y="2315"/>
                  <a:pt x="1371" y="2317"/>
                </a:cubicBezTo>
                <a:cubicBezTo>
                  <a:pt x="1371" y="2335"/>
                  <a:pt x="1390" y="2341"/>
                  <a:pt x="1389" y="2342"/>
                </a:cubicBezTo>
                <a:cubicBezTo>
                  <a:pt x="1391" y="2344"/>
                  <a:pt x="1393" y="2347"/>
                  <a:pt x="1397" y="2351"/>
                </a:cubicBezTo>
                <a:cubicBezTo>
                  <a:pt x="1400" y="2354"/>
                  <a:pt x="1403" y="2357"/>
                  <a:pt x="1409" y="2358"/>
                </a:cubicBezTo>
                <a:cubicBezTo>
                  <a:pt x="1409" y="2359"/>
                  <a:pt x="1410" y="2361"/>
                  <a:pt x="1412" y="2362"/>
                </a:cubicBezTo>
                <a:cubicBezTo>
                  <a:pt x="1413" y="2363"/>
                  <a:pt x="1414" y="2363"/>
                  <a:pt x="1415" y="2363"/>
                </a:cubicBezTo>
                <a:cubicBezTo>
                  <a:pt x="1416" y="2364"/>
                  <a:pt x="1422" y="2366"/>
                  <a:pt x="1427" y="2369"/>
                </a:cubicBezTo>
                <a:cubicBezTo>
                  <a:pt x="1433" y="2371"/>
                  <a:pt x="1439" y="2374"/>
                  <a:pt x="1446" y="2374"/>
                </a:cubicBezTo>
                <a:cubicBezTo>
                  <a:pt x="1457" y="2374"/>
                  <a:pt x="1474" y="2369"/>
                  <a:pt x="1479" y="2367"/>
                </a:cubicBezTo>
                <a:cubicBezTo>
                  <a:pt x="1479" y="2367"/>
                  <a:pt x="1487" y="2365"/>
                  <a:pt x="1494" y="2363"/>
                </a:cubicBezTo>
                <a:cubicBezTo>
                  <a:pt x="1498" y="2363"/>
                  <a:pt x="1501" y="2362"/>
                  <a:pt x="1504" y="2360"/>
                </a:cubicBezTo>
                <a:cubicBezTo>
                  <a:pt x="1508" y="2359"/>
                  <a:pt x="1510" y="2359"/>
                  <a:pt x="1513" y="2355"/>
                </a:cubicBezTo>
                <a:cubicBezTo>
                  <a:pt x="1514" y="2354"/>
                  <a:pt x="1514" y="2352"/>
                  <a:pt x="1514" y="2351"/>
                </a:cubicBezTo>
                <a:cubicBezTo>
                  <a:pt x="1514" y="2347"/>
                  <a:pt x="1511" y="2345"/>
                  <a:pt x="1510" y="2345"/>
                </a:cubicBezTo>
                <a:cubicBezTo>
                  <a:pt x="1505" y="2343"/>
                  <a:pt x="1501" y="2343"/>
                  <a:pt x="1495" y="2342"/>
                </a:cubicBezTo>
                <a:cubicBezTo>
                  <a:pt x="1489" y="2341"/>
                  <a:pt x="1483" y="2340"/>
                  <a:pt x="1480" y="2339"/>
                </a:cubicBezTo>
                <a:cubicBezTo>
                  <a:pt x="1477" y="2338"/>
                  <a:pt x="1469" y="2332"/>
                  <a:pt x="1464" y="2326"/>
                </a:cubicBezTo>
                <a:cubicBezTo>
                  <a:pt x="1458" y="2320"/>
                  <a:pt x="1453" y="2312"/>
                  <a:pt x="1453" y="2310"/>
                </a:cubicBezTo>
                <a:cubicBezTo>
                  <a:pt x="1452" y="2308"/>
                  <a:pt x="1451" y="2304"/>
                  <a:pt x="1451" y="2301"/>
                </a:cubicBezTo>
                <a:cubicBezTo>
                  <a:pt x="1451" y="2294"/>
                  <a:pt x="1454" y="2288"/>
                  <a:pt x="1456" y="2286"/>
                </a:cubicBezTo>
                <a:cubicBezTo>
                  <a:pt x="1465" y="2280"/>
                  <a:pt x="1484" y="2261"/>
                  <a:pt x="1489" y="2257"/>
                </a:cubicBezTo>
                <a:cubicBezTo>
                  <a:pt x="1492" y="2254"/>
                  <a:pt x="1494" y="2249"/>
                  <a:pt x="1496" y="2244"/>
                </a:cubicBezTo>
                <a:cubicBezTo>
                  <a:pt x="1498" y="2239"/>
                  <a:pt x="1500" y="2234"/>
                  <a:pt x="1500" y="2229"/>
                </a:cubicBezTo>
                <a:cubicBezTo>
                  <a:pt x="1500" y="2227"/>
                  <a:pt x="1500" y="2225"/>
                  <a:pt x="1497" y="2221"/>
                </a:cubicBezTo>
                <a:cubicBezTo>
                  <a:pt x="1493" y="2219"/>
                  <a:pt x="1491" y="2219"/>
                  <a:pt x="1489" y="2219"/>
                </a:cubicBezTo>
                <a:cubicBezTo>
                  <a:pt x="1485" y="2219"/>
                  <a:pt x="1481" y="2219"/>
                  <a:pt x="1478" y="2219"/>
                </a:cubicBezTo>
                <a:cubicBezTo>
                  <a:pt x="1477" y="2218"/>
                  <a:pt x="1476" y="2218"/>
                  <a:pt x="1476" y="2218"/>
                </a:cubicBezTo>
                <a:cubicBezTo>
                  <a:pt x="1476" y="2218"/>
                  <a:pt x="1476" y="2218"/>
                  <a:pt x="1476" y="2218"/>
                </a:cubicBezTo>
                <a:cubicBezTo>
                  <a:pt x="1476" y="2217"/>
                  <a:pt x="1476" y="2214"/>
                  <a:pt x="1484" y="2208"/>
                </a:cubicBezTo>
                <a:cubicBezTo>
                  <a:pt x="1490" y="2202"/>
                  <a:pt x="1494" y="2196"/>
                  <a:pt x="1498" y="2190"/>
                </a:cubicBezTo>
                <a:cubicBezTo>
                  <a:pt x="1501" y="2185"/>
                  <a:pt x="1504" y="2180"/>
                  <a:pt x="1505" y="2180"/>
                </a:cubicBezTo>
                <a:cubicBezTo>
                  <a:pt x="1510" y="2176"/>
                  <a:pt x="1520" y="2167"/>
                  <a:pt x="1524" y="2155"/>
                </a:cubicBezTo>
                <a:cubicBezTo>
                  <a:pt x="1525" y="2153"/>
                  <a:pt x="1525" y="2152"/>
                  <a:pt x="1525" y="2149"/>
                </a:cubicBezTo>
                <a:cubicBezTo>
                  <a:pt x="1525" y="2148"/>
                  <a:pt x="1525" y="2145"/>
                  <a:pt x="1523" y="2143"/>
                </a:cubicBezTo>
                <a:cubicBezTo>
                  <a:pt x="1521" y="2142"/>
                  <a:pt x="1519" y="2141"/>
                  <a:pt x="1517" y="2141"/>
                </a:cubicBezTo>
                <a:cubicBezTo>
                  <a:pt x="1513" y="2142"/>
                  <a:pt x="1510" y="2143"/>
                  <a:pt x="1508" y="2143"/>
                </a:cubicBezTo>
                <a:cubicBezTo>
                  <a:pt x="1508" y="2143"/>
                  <a:pt x="1508" y="2142"/>
                  <a:pt x="1507" y="2142"/>
                </a:cubicBezTo>
                <a:cubicBezTo>
                  <a:pt x="1506" y="2139"/>
                  <a:pt x="1504" y="2135"/>
                  <a:pt x="1504" y="2131"/>
                </a:cubicBezTo>
                <a:cubicBezTo>
                  <a:pt x="1506" y="2132"/>
                  <a:pt x="1508" y="2133"/>
                  <a:pt x="1510" y="2133"/>
                </a:cubicBezTo>
                <a:cubicBezTo>
                  <a:pt x="1515" y="2135"/>
                  <a:pt x="1521" y="2137"/>
                  <a:pt x="1526" y="2138"/>
                </a:cubicBezTo>
                <a:cubicBezTo>
                  <a:pt x="1528" y="2139"/>
                  <a:pt x="1529" y="2139"/>
                  <a:pt x="1531" y="2139"/>
                </a:cubicBezTo>
                <a:cubicBezTo>
                  <a:pt x="1534" y="2139"/>
                  <a:pt x="1537" y="2138"/>
                  <a:pt x="1539" y="2136"/>
                </a:cubicBezTo>
                <a:cubicBezTo>
                  <a:pt x="1541" y="2134"/>
                  <a:pt x="1541" y="2131"/>
                  <a:pt x="1541" y="2129"/>
                </a:cubicBezTo>
                <a:cubicBezTo>
                  <a:pt x="1541" y="2124"/>
                  <a:pt x="1539" y="2120"/>
                  <a:pt x="1539" y="2117"/>
                </a:cubicBezTo>
                <a:cubicBezTo>
                  <a:pt x="1539" y="2116"/>
                  <a:pt x="1539" y="2115"/>
                  <a:pt x="1539" y="2114"/>
                </a:cubicBezTo>
                <a:cubicBezTo>
                  <a:pt x="1539" y="2111"/>
                  <a:pt x="1539" y="2108"/>
                  <a:pt x="1540" y="2106"/>
                </a:cubicBezTo>
                <a:cubicBezTo>
                  <a:pt x="1540" y="2106"/>
                  <a:pt x="1540" y="2106"/>
                  <a:pt x="1541" y="2105"/>
                </a:cubicBezTo>
                <a:cubicBezTo>
                  <a:pt x="1544" y="2107"/>
                  <a:pt x="1548" y="2107"/>
                  <a:pt x="1553" y="2107"/>
                </a:cubicBezTo>
                <a:cubicBezTo>
                  <a:pt x="1567" y="2107"/>
                  <a:pt x="1586" y="2104"/>
                  <a:pt x="1591" y="2103"/>
                </a:cubicBezTo>
                <a:cubicBezTo>
                  <a:pt x="1596" y="2101"/>
                  <a:pt x="1597" y="2098"/>
                  <a:pt x="1599" y="2095"/>
                </a:cubicBezTo>
                <a:cubicBezTo>
                  <a:pt x="1605" y="2087"/>
                  <a:pt x="1613" y="2072"/>
                  <a:pt x="1616" y="2067"/>
                </a:cubicBezTo>
                <a:cubicBezTo>
                  <a:pt x="1619" y="2063"/>
                  <a:pt x="1621" y="2058"/>
                  <a:pt x="1621" y="2053"/>
                </a:cubicBezTo>
                <a:cubicBezTo>
                  <a:pt x="1621" y="2049"/>
                  <a:pt x="1619" y="2044"/>
                  <a:pt x="1615" y="2041"/>
                </a:cubicBezTo>
                <a:cubicBezTo>
                  <a:pt x="1614" y="2041"/>
                  <a:pt x="1614" y="2040"/>
                  <a:pt x="1613" y="2039"/>
                </a:cubicBezTo>
                <a:cubicBezTo>
                  <a:pt x="1618" y="2041"/>
                  <a:pt x="1624" y="2042"/>
                  <a:pt x="1629" y="2042"/>
                </a:cubicBezTo>
                <a:cubicBezTo>
                  <a:pt x="1639" y="2042"/>
                  <a:pt x="1647" y="2038"/>
                  <a:pt x="1656" y="2028"/>
                </a:cubicBezTo>
                <a:cubicBezTo>
                  <a:pt x="1671" y="2011"/>
                  <a:pt x="1683" y="2000"/>
                  <a:pt x="1685" y="1986"/>
                </a:cubicBezTo>
                <a:cubicBezTo>
                  <a:pt x="1686" y="1977"/>
                  <a:pt x="1689" y="1968"/>
                  <a:pt x="1692" y="1965"/>
                </a:cubicBezTo>
                <a:cubicBezTo>
                  <a:pt x="1693" y="1965"/>
                  <a:pt x="1695" y="1967"/>
                  <a:pt x="1699" y="1967"/>
                </a:cubicBezTo>
                <a:cubicBezTo>
                  <a:pt x="1702" y="1967"/>
                  <a:pt x="1705" y="1965"/>
                  <a:pt x="1707" y="1963"/>
                </a:cubicBezTo>
                <a:cubicBezTo>
                  <a:pt x="1708" y="1961"/>
                  <a:pt x="1710" y="1958"/>
                  <a:pt x="1711" y="1954"/>
                </a:cubicBezTo>
                <a:cubicBezTo>
                  <a:pt x="1715" y="1946"/>
                  <a:pt x="1717" y="1943"/>
                  <a:pt x="1720" y="1939"/>
                </a:cubicBezTo>
                <a:cubicBezTo>
                  <a:pt x="1724" y="1936"/>
                  <a:pt x="1728" y="1931"/>
                  <a:pt x="1732" y="1923"/>
                </a:cubicBezTo>
                <a:cubicBezTo>
                  <a:pt x="1733" y="1919"/>
                  <a:pt x="1734" y="1916"/>
                  <a:pt x="1734" y="1912"/>
                </a:cubicBezTo>
                <a:cubicBezTo>
                  <a:pt x="1734" y="1902"/>
                  <a:pt x="1729" y="1892"/>
                  <a:pt x="1729" y="1886"/>
                </a:cubicBezTo>
                <a:cubicBezTo>
                  <a:pt x="1730" y="1883"/>
                  <a:pt x="1730" y="1882"/>
                  <a:pt x="1732" y="1880"/>
                </a:cubicBezTo>
                <a:cubicBezTo>
                  <a:pt x="1746" y="1869"/>
                  <a:pt x="1770" y="1855"/>
                  <a:pt x="1770" y="1855"/>
                </a:cubicBezTo>
                <a:cubicBezTo>
                  <a:pt x="1770" y="1855"/>
                  <a:pt x="1771" y="1854"/>
                  <a:pt x="1774" y="1853"/>
                </a:cubicBezTo>
                <a:cubicBezTo>
                  <a:pt x="1778" y="1851"/>
                  <a:pt x="1782" y="1849"/>
                  <a:pt x="1789" y="1847"/>
                </a:cubicBezTo>
                <a:cubicBezTo>
                  <a:pt x="1795" y="1846"/>
                  <a:pt x="1802" y="1845"/>
                  <a:pt x="1808" y="1844"/>
                </a:cubicBezTo>
                <a:cubicBezTo>
                  <a:pt x="1815" y="1844"/>
                  <a:pt x="1822" y="1842"/>
                  <a:pt x="1826" y="1835"/>
                </a:cubicBezTo>
                <a:cubicBezTo>
                  <a:pt x="1831" y="1825"/>
                  <a:pt x="1836" y="1808"/>
                  <a:pt x="1842" y="1800"/>
                </a:cubicBezTo>
                <a:cubicBezTo>
                  <a:pt x="1848" y="1791"/>
                  <a:pt x="1855" y="1779"/>
                  <a:pt x="1855" y="1769"/>
                </a:cubicBezTo>
                <a:cubicBezTo>
                  <a:pt x="1855" y="1766"/>
                  <a:pt x="1855" y="1764"/>
                  <a:pt x="1854" y="1762"/>
                </a:cubicBezTo>
                <a:cubicBezTo>
                  <a:pt x="1854" y="1762"/>
                  <a:pt x="1854" y="1761"/>
                  <a:pt x="1854" y="1761"/>
                </a:cubicBezTo>
                <a:cubicBezTo>
                  <a:pt x="1854" y="1758"/>
                  <a:pt x="1856" y="1749"/>
                  <a:pt x="1858" y="1742"/>
                </a:cubicBezTo>
                <a:cubicBezTo>
                  <a:pt x="1860" y="1734"/>
                  <a:pt x="1862" y="1726"/>
                  <a:pt x="1863" y="1720"/>
                </a:cubicBezTo>
                <a:cubicBezTo>
                  <a:pt x="1863" y="1720"/>
                  <a:pt x="1862" y="1719"/>
                  <a:pt x="1862" y="1718"/>
                </a:cubicBezTo>
                <a:cubicBezTo>
                  <a:pt x="1861" y="1712"/>
                  <a:pt x="1858" y="1705"/>
                  <a:pt x="1858" y="1697"/>
                </a:cubicBezTo>
                <a:cubicBezTo>
                  <a:pt x="1858" y="1691"/>
                  <a:pt x="1860" y="1686"/>
                  <a:pt x="1866" y="1679"/>
                </a:cubicBezTo>
                <a:cubicBezTo>
                  <a:pt x="1875" y="1671"/>
                  <a:pt x="1884" y="1660"/>
                  <a:pt x="1891" y="1651"/>
                </a:cubicBezTo>
                <a:cubicBezTo>
                  <a:pt x="1899" y="1641"/>
                  <a:pt x="1904" y="1634"/>
                  <a:pt x="1905" y="1628"/>
                </a:cubicBezTo>
                <a:cubicBezTo>
                  <a:pt x="1905" y="1626"/>
                  <a:pt x="1909" y="1617"/>
                  <a:pt x="1913" y="1608"/>
                </a:cubicBezTo>
                <a:cubicBezTo>
                  <a:pt x="1916" y="1598"/>
                  <a:pt x="1920" y="1588"/>
                  <a:pt x="1920" y="1579"/>
                </a:cubicBezTo>
                <a:cubicBezTo>
                  <a:pt x="1920" y="1578"/>
                  <a:pt x="1920" y="1577"/>
                  <a:pt x="1920" y="1577"/>
                </a:cubicBezTo>
                <a:cubicBezTo>
                  <a:pt x="1916" y="1560"/>
                  <a:pt x="1905" y="1543"/>
                  <a:pt x="1894" y="1537"/>
                </a:cubicBezTo>
                <a:close/>
                <a:moveTo>
                  <a:pt x="1322" y="737"/>
                </a:moveTo>
                <a:cubicBezTo>
                  <a:pt x="1322" y="736"/>
                  <a:pt x="1322" y="736"/>
                  <a:pt x="1322" y="736"/>
                </a:cubicBezTo>
                <a:cubicBezTo>
                  <a:pt x="1322" y="737"/>
                  <a:pt x="1322" y="737"/>
                  <a:pt x="1322" y="737"/>
                </a:cubicBezTo>
                <a:close/>
                <a:moveTo>
                  <a:pt x="1311" y="755"/>
                </a:moveTo>
                <a:cubicBezTo>
                  <a:pt x="1314" y="751"/>
                  <a:pt x="1318" y="748"/>
                  <a:pt x="1320" y="745"/>
                </a:cubicBezTo>
                <a:cubicBezTo>
                  <a:pt x="1321" y="744"/>
                  <a:pt x="1322" y="743"/>
                  <a:pt x="1323" y="743"/>
                </a:cubicBezTo>
                <a:cubicBezTo>
                  <a:pt x="1324" y="743"/>
                  <a:pt x="1325" y="743"/>
                  <a:pt x="1326" y="743"/>
                </a:cubicBezTo>
                <a:cubicBezTo>
                  <a:pt x="1331" y="743"/>
                  <a:pt x="1338" y="742"/>
                  <a:pt x="1344" y="742"/>
                </a:cubicBezTo>
                <a:cubicBezTo>
                  <a:pt x="1345" y="742"/>
                  <a:pt x="1347" y="742"/>
                  <a:pt x="1348" y="742"/>
                </a:cubicBezTo>
                <a:cubicBezTo>
                  <a:pt x="1345" y="743"/>
                  <a:pt x="1341" y="745"/>
                  <a:pt x="1336" y="747"/>
                </a:cubicBezTo>
                <a:cubicBezTo>
                  <a:pt x="1331" y="750"/>
                  <a:pt x="1327" y="751"/>
                  <a:pt x="1324" y="752"/>
                </a:cubicBezTo>
                <a:cubicBezTo>
                  <a:pt x="1320" y="753"/>
                  <a:pt x="1317" y="756"/>
                  <a:pt x="1314" y="760"/>
                </a:cubicBezTo>
                <a:cubicBezTo>
                  <a:pt x="1313" y="762"/>
                  <a:pt x="1309" y="764"/>
                  <a:pt x="1304" y="767"/>
                </a:cubicBezTo>
                <a:cubicBezTo>
                  <a:pt x="1303" y="767"/>
                  <a:pt x="1302" y="768"/>
                  <a:pt x="1301" y="768"/>
                </a:cubicBezTo>
                <a:cubicBezTo>
                  <a:pt x="1303" y="765"/>
                  <a:pt x="1307" y="760"/>
                  <a:pt x="1311" y="755"/>
                </a:cubicBezTo>
                <a:close/>
                <a:moveTo>
                  <a:pt x="1293" y="718"/>
                </a:moveTo>
                <a:cubicBezTo>
                  <a:pt x="1294" y="720"/>
                  <a:pt x="1295" y="722"/>
                  <a:pt x="1296" y="724"/>
                </a:cubicBezTo>
                <a:cubicBezTo>
                  <a:pt x="1296" y="724"/>
                  <a:pt x="1296" y="724"/>
                  <a:pt x="1296" y="724"/>
                </a:cubicBezTo>
                <a:cubicBezTo>
                  <a:pt x="1294" y="722"/>
                  <a:pt x="1293" y="720"/>
                  <a:pt x="1293" y="717"/>
                </a:cubicBezTo>
                <a:cubicBezTo>
                  <a:pt x="1293" y="718"/>
                  <a:pt x="1293" y="718"/>
                  <a:pt x="1293" y="718"/>
                </a:cubicBezTo>
                <a:close/>
                <a:moveTo>
                  <a:pt x="1290" y="776"/>
                </a:moveTo>
                <a:cubicBezTo>
                  <a:pt x="1289" y="776"/>
                  <a:pt x="1289" y="777"/>
                  <a:pt x="1288" y="778"/>
                </a:cubicBezTo>
                <a:cubicBezTo>
                  <a:pt x="1285" y="781"/>
                  <a:pt x="1280" y="784"/>
                  <a:pt x="1277" y="785"/>
                </a:cubicBezTo>
                <a:cubicBezTo>
                  <a:pt x="1278" y="784"/>
                  <a:pt x="1278" y="784"/>
                  <a:pt x="1279" y="783"/>
                </a:cubicBezTo>
                <a:cubicBezTo>
                  <a:pt x="1279" y="783"/>
                  <a:pt x="1279" y="782"/>
                  <a:pt x="1279" y="782"/>
                </a:cubicBezTo>
                <a:cubicBezTo>
                  <a:pt x="1281" y="781"/>
                  <a:pt x="1286" y="778"/>
                  <a:pt x="1290" y="776"/>
                </a:cubicBezTo>
                <a:close/>
                <a:moveTo>
                  <a:pt x="1259" y="711"/>
                </a:moveTo>
                <a:cubicBezTo>
                  <a:pt x="1260" y="711"/>
                  <a:pt x="1261" y="711"/>
                  <a:pt x="1262" y="710"/>
                </a:cubicBezTo>
                <a:cubicBezTo>
                  <a:pt x="1260" y="704"/>
                  <a:pt x="1260" y="704"/>
                  <a:pt x="1260" y="704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4" y="710"/>
                  <a:pt x="1268" y="709"/>
                  <a:pt x="1272" y="709"/>
                </a:cubicBezTo>
                <a:cubicBezTo>
                  <a:pt x="1276" y="709"/>
                  <a:pt x="1280" y="710"/>
                  <a:pt x="1283" y="710"/>
                </a:cubicBezTo>
                <a:cubicBezTo>
                  <a:pt x="1281" y="711"/>
                  <a:pt x="1281" y="712"/>
                  <a:pt x="1281" y="712"/>
                </a:cubicBezTo>
                <a:cubicBezTo>
                  <a:pt x="1279" y="715"/>
                  <a:pt x="1278" y="718"/>
                  <a:pt x="1277" y="722"/>
                </a:cubicBezTo>
                <a:cubicBezTo>
                  <a:pt x="1277" y="726"/>
                  <a:pt x="1276" y="731"/>
                  <a:pt x="1276" y="735"/>
                </a:cubicBezTo>
                <a:cubicBezTo>
                  <a:pt x="1276" y="739"/>
                  <a:pt x="1276" y="742"/>
                  <a:pt x="1278" y="746"/>
                </a:cubicBezTo>
                <a:cubicBezTo>
                  <a:pt x="1278" y="746"/>
                  <a:pt x="1278" y="746"/>
                  <a:pt x="1278" y="747"/>
                </a:cubicBezTo>
                <a:cubicBezTo>
                  <a:pt x="1278" y="747"/>
                  <a:pt x="1277" y="751"/>
                  <a:pt x="1274" y="753"/>
                </a:cubicBezTo>
                <a:cubicBezTo>
                  <a:pt x="1273" y="754"/>
                  <a:pt x="1272" y="752"/>
                  <a:pt x="1271" y="756"/>
                </a:cubicBezTo>
                <a:cubicBezTo>
                  <a:pt x="1271" y="756"/>
                  <a:pt x="1271" y="756"/>
                  <a:pt x="1271" y="756"/>
                </a:cubicBezTo>
                <a:cubicBezTo>
                  <a:pt x="1270" y="752"/>
                  <a:pt x="1268" y="747"/>
                  <a:pt x="1268" y="742"/>
                </a:cubicBezTo>
                <a:cubicBezTo>
                  <a:pt x="1268" y="740"/>
                  <a:pt x="1269" y="739"/>
                  <a:pt x="1269" y="737"/>
                </a:cubicBezTo>
                <a:cubicBezTo>
                  <a:pt x="1269" y="736"/>
                  <a:pt x="1269" y="735"/>
                  <a:pt x="1269" y="734"/>
                </a:cubicBezTo>
                <a:cubicBezTo>
                  <a:pt x="1269" y="724"/>
                  <a:pt x="1264" y="714"/>
                  <a:pt x="1255" y="710"/>
                </a:cubicBezTo>
                <a:cubicBezTo>
                  <a:pt x="1257" y="711"/>
                  <a:pt x="1258" y="711"/>
                  <a:pt x="1259" y="711"/>
                </a:cubicBezTo>
                <a:close/>
                <a:moveTo>
                  <a:pt x="1246" y="708"/>
                </a:moveTo>
                <a:cubicBezTo>
                  <a:pt x="1246" y="708"/>
                  <a:pt x="1246" y="708"/>
                  <a:pt x="1245" y="708"/>
                </a:cubicBezTo>
                <a:cubicBezTo>
                  <a:pt x="1244" y="708"/>
                  <a:pt x="1243" y="708"/>
                  <a:pt x="1242" y="708"/>
                </a:cubicBezTo>
                <a:cubicBezTo>
                  <a:pt x="1226" y="710"/>
                  <a:pt x="1219" y="726"/>
                  <a:pt x="1216" y="727"/>
                </a:cubicBezTo>
                <a:cubicBezTo>
                  <a:pt x="1212" y="731"/>
                  <a:pt x="1212" y="736"/>
                  <a:pt x="1211" y="740"/>
                </a:cubicBezTo>
                <a:cubicBezTo>
                  <a:pt x="1210" y="745"/>
                  <a:pt x="1210" y="750"/>
                  <a:pt x="1210" y="755"/>
                </a:cubicBezTo>
                <a:cubicBezTo>
                  <a:pt x="1210" y="760"/>
                  <a:pt x="1210" y="764"/>
                  <a:pt x="1211" y="766"/>
                </a:cubicBezTo>
                <a:cubicBezTo>
                  <a:pt x="1211" y="767"/>
                  <a:pt x="1211" y="769"/>
                  <a:pt x="1211" y="771"/>
                </a:cubicBezTo>
                <a:cubicBezTo>
                  <a:pt x="1211" y="774"/>
                  <a:pt x="1211" y="779"/>
                  <a:pt x="1210" y="781"/>
                </a:cubicBezTo>
                <a:cubicBezTo>
                  <a:pt x="1208" y="783"/>
                  <a:pt x="1208" y="784"/>
                  <a:pt x="1207" y="784"/>
                </a:cubicBezTo>
                <a:cubicBezTo>
                  <a:pt x="1207" y="784"/>
                  <a:pt x="1207" y="784"/>
                  <a:pt x="1207" y="784"/>
                </a:cubicBezTo>
                <a:cubicBezTo>
                  <a:pt x="1207" y="784"/>
                  <a:pt x="1207" y="783"/>
                  <a:pt x="1206" y="781"/>
                </a:cubicBezTo>
                <a:cubicBezTo>
                  <a:pt x="1205" y="778"/>
                  <a:pt x="1204" y="774"/>
                  <a:pt x="1204" y="770"/>
                </a:cubicBezTo>
                <a:cubicBezTo>
                  <a:pt x="1204" y="765"/>
                  <a:pt x="1205" y="759"/>
                  <a:pt x="1205" y="756"/>
                </a:cubicBezTo>
                <a:cubicBezTo>
                  <a:pt x="1206" y="755"/>
                  <a:pt x="1206" y="754"/>
                  <a:pt x="1206" y="752"/>
                </a:cubicBezTo>
                <a:cubicBezTo>
                  <a:pt x="1206" y="746"/>
                  <a:pt x="1204" y="737"/>
                  <a:pt x="1204" y="730"/>
                </a:cubicBezTo>
                <a:cubicBezTo>
                  <a:pt x="1204" y="725"/>
                  <a:pt x="1205" y="720"/>
                  <a:pt x="1206" y="718"/>
                </a:cubicBezTo>
                <a:cubicBezTo>
                  <a:pt x="1209" y="710"/>
                  <a:pt x="1220" y="706"/>
                  <a:pt x="1229" y="705"/>
                </a:cubicBezTo>
                <a:cubicBezTo>
                  <a:pt x="1229" y="705"/>
                  <a:pt x="1230" y="705"/>
                  <a:pt x="1230" y="705"/>
                </a:cubicBezTo>
                <a:cubicBezTo>
                  <a:pt x="1234" y="705"/>
                  <a:pt x="1239" y="706"/>
                  <a:pt x="1245" y="708"/>
                </a:cubicBezTo>
                <a:cubicBezTo>
                  <a:pt x="1245" y="708"/>
                  <a:pt x="1246" y="708"/>
                  <a:pt x="1246" y="708"/>
                </a:cubicBezTo>
                <a:close/>
                <a:moveTo>
                  <a:pt x="1157" y="679"/>
                </a:moveTo>
                <a:cubicBezTo>
                  <a:pt x="1158" y="679"/>
                  <a:pt x="1158" y="679"/>
                  <a:pt x="1158" y="679"/>
                </a:cubicBezTo>
                <a:cubicBezTo>
                  <a:pt x="1158" y="678"/>
                  <a:pt x="1164" y="677"/>
                  <a:pt x="1173" y="673"/>
                </a:cubicBezTo>
                <a:cubicBezTo>
                  <a:pt x="1171" y="667"/>
                  <a:pt x="1171" y="667"/>
                  <a:pt x="1171" y="667"/>
                </a:cubicBezTo>
                <a:cubicBezTo>
                  <a:pt x="1173" y="673"/>
                  <a:pt x="1173" y="673"/>
                  <a:pt x="1173" y="673"/>
                </a:cubicBezTo>
                <a:cubicBezTo>
                  <a:pt x="1180" y="669"/>
                  <a:pt x="1187" y="664"/>
                  <a:pt x="1193" y="660"/>
                </a:cubicBezTo>
                <a:cubicBezTo>
                  <a:pt x="1198" y="656"/>
                  <a:pt x="1203" y="653"/>
                  <a:pt x="1204" y="653"/>
                </a:cubicBezTo>
                <a:cubicBezTo>
                  <a:pt x="1211" y="662"/>
                  <a:pt x="1222" y="671"/>
                  <a:pt x="1233" y="674"/>
                </a:cubicBezTo>
                <a:cubicBezTo>
                  <a:pt x="1232" y="675"/>
                  <a:pt x="1232" y="677"/>
                  <a:pt x="1231" y="679"/>
                </a:cubicBezTo>
                <a:cubicBezTo>
                  <a:pt x="1230" y="680"/>
                  <a:pt x="1229" y="681"/>
                  <a:pt x="1228" y="682"/>
                </a:cubicBezTo>
                <a:cubicBezTo>
                  <a:pt x="1228" y="682"/>
                  <a:pt x="1228" y="682"/>
                  <a:pt x="1228" y="682"/>
                </a:cubicBezTo>
                <a:cubicBezTo>
                  <a:pt x="1224" y="682"/>
                  <a:pt x="1214" y="679"/>
                  <a:pt x="1204" y="679"/>
                </a:cubicBezTo>
                <a:cubicBezTo>
                  <a:pt x="1201" y="679"/>
                  <a:pt x="1201" y="679"/>
                  <a:pt x="1201" y="678"/>
                </a:cubicBezTo>
                <a:cubicBezTo>
                  <a:pt x="1200" y="678"/>
                  <a:pt x="1200" y="677"/>
                  <a:pt x="1199" y="675"/>
                </a:cubicBezTo>
                <a:cubicBezTo>
                  <a:pt x="1198" y="674"/>
                  <a:pt x="1195" y="672"/>
                  <a:pt x="1192" y="672"/>
                </a:cubicBezTo>
                <a:cubicBezTo>
                  <a:pt x="1191" y="672"/>
                  <a:pt x="1190" y="672"/>
                  <a:pt x="1189" y="672"/>
                </a:cubicBezTo>
                <a:cubicBezTo>
                  <a:pt x="1185" y="674"/>
                  <a:pt x="1174" y="677"/>
                  <a:pt x="1166" y="681"/>
                </a:cubicBezTo>
                <a:cubicBezTo>
                  <a:pt x="1165" y="682"/>
                  <a:pt x="1162" y="683"/>
                  <a:pt x="1160" y="683"/>
                </a:cubicBezTo>
                <a:cubicBezTo>
                  <a:pt x="1159" y="683"/>
                  <a:pt x="1157" y="682"/>
                  <a:pt x="1157" y="682"/>
                </a:cubicBezTo>
                <a:cubicBezTo>
                  <a:pt x="1157" y="680"/>
                  <a:pt x="1157" y="679"/>
                  <a:pt x="1157" y="679"/>
                </a:cubicBezTo>
                <a:close/>
                <a:moveTo>
                  <a:pt x="1239" y="392"/>
                </a:moveTo>
                <a:cubicBezTo>
                  <a:pt x="1238" y="392"/>
                  <a:pt x="1238" y="392"/>
                  <a:pt x="1237" y="393"/>
                </a:cubicBezTo>
                <a:cubicBezTo>
                  <a:pt x="1236" y="393"/>
                  <a:pt x="1235" y="393"/>
                  <a:pt x="1234" y="393"/>
                </a:cubicBezTo>
                <a:cubicBezTo>
                  <a:pt x="1233" y="393"/>
                  <a:pt x="1233" y="393"/>
                  <a:pt x="1232" y="392"/>
                </a:cubicBezTo>
                <a:cubicBezTo>
                  <a:pt x="1232" y="392"/>
                  <a:pt x="1232" y="392"/>
                  <a:pt x="1231" y="391"/>
                </a:cubicBezTo>
                <a:cubicBezTo>
                  <a:pt x="1234" y="391"/>
                  <a:pt x="1236" y="392"/>
                  <a:pt x="1239" y="392"/>
                </a:cubicBezTo>
                <a:close/>
                <a:moveTo>
                  <a:pt x="1190" y="333"/>
                </a:moveTo>
                <a:cubicBezTo>
                  <a:pt x="1192" y="333"/>
                  <a:pt x="1194" y="333"/>
                  <a:pt x="1196" y="333"/>
                </a:cubicBezTo>
                <a:cubicBezTo>
                  <a:pt x="1198" y="333"/>
                  <a:pt x="1200" y="332"/>
                  <a:pt x="1202" y="332"/>
                </a:cubicBezTo>
                <a:cubicBezTo>
                  <a:pt x="1208" y="332"/>
                  <a:pt x="1213" y="333"/>
                  <a:pt x="1217" y="334"/>
                </a:cubicBezTo>
                <a:cubicBezTo>
                  <a:pt x="1218" y="334"/>
                  <a:pt x="1219" y="334"/>
                  <a:pt x="1219" y="334"/>
                </a:cubicBezTo>
                <a:cubicBezTo>
                  <a:pt x="1219" y="335"/>
                  <a:pt x="1219" y="336"/>
                  <a:pt x="1219" y="337"/>
                </a:cubicBezTo>
                <a:cubicBezTo>
                  <a:pt x="1219" y="339"/>
                  <a:pt x="1218" y="341"/>
                  <a:pt x="1218" y="342"/>
                </a:cubicBezTo>
                <a:cubicBezTo>
                  <a:pt x="1218" y="343"/>
                  <a:pt x="1217" y="343"/>
                  <a:pt x="1217" y="343"/>
                </a:cubicBezTo>
                <a:cubicBezTo>
                  <a:pt x="1215" y="344"/>
                  <a:pt x="1212" y="345"/>
                  <a:pt x="1208" y="347"/>
                </a:cubicBezTo>
                <a:cubicBezTo>
                  <a:pt x="1204" y="348"/>
                  <a:pt x="1199" y="352"/>
                  <a:pt x="1197" y="358"/>
                </a:cubicBezTo>
                <a:cubicBezTo>
                  <a:pt x="1197" y="358"/>
                  <a:pt x="1197" y="359"/>
                  <a:pt x="1197" y="359"/>
                </a:cubicBezTo>
                <a:cubicBezTo>
                  <a:pt x="1197" y="357"/>
                  <a:pt x="1197" y="356"/>
                  <a:pt x="1197" y="354"/>
                </a:cubicBezTo>
                <a:cubicBezTo>
                  <a:pt x="1197" y="349"/>
                  <a:pt x="1196" y="343"/>
                  <a:pt x="1191" y="339"/>
                </a:cubicBezTo>
                <a:cubicBezTo>
                  <a:pt x="1188" y="336"/>
                  <a:pt x="1185" y="334"/>
                  <a:pt x="1182" y="332"/>
                </a:cubicBezTo>
                <a:cubicBezTo>
                  <a:pt x="1184" y="333"/>
                  <a:pt x="1187" y="333"/>
                  <a:pt x="1190" y="333"/>
                </a:cubicBezTo>
                <a:close/>
                <a:moveTo>
                  <a:pt x="1102" y="289"/>
                </a:moveTo>
                <a:cubicBezTo>
                  <a:pt x="1101" y="287"/>
                  <a:pt x="1101" y="287"/>
                  <a:pt x="1101" y="287"/>
                </a:cubicBezTo>
                <a:cubicBezTo>
                  <a:pt x="1102" y="289"/>
                  <a:pt x="1102" y="289"/>
                  <a:pt x="1102" y="289"/>
                </a:cubicBezTo>
                <a:cubicBezTo>
                  <a:pt x="1102" y="289"/>
                  <a:pt x="1102" y="289"/>
                  <a:pt x="1102" y="289"/>
                </a:cubicBezTo>
                <a:close/>
                <a:moveTo>
                  <a:pt x="190" y="423"/>
                </a:moveTo>
                <a:cubicBezTo>
                  <a:pt x="188" y="425"/>
                  <a:pt x="186" y="427"/>
                  <a:pt x="184" y="427"/>
                </a:cubicBezTo>
                <a:cubicBezTo>
                  <a:pt x="183" y="427"/>
                  <a:pt x="183" y="427"/>
                  <a:pt x="183" y="427"/>
                </a:cubicBezTo>
                <a:cubicBezTo>
                  <a:pt x="181" y="427"/>
                  <a:pt x="180" y="427"/>
                  <a:pt x="179" y="426"/>
                </a:cubicBezTo>
                <a:cubicBezTo>
                  <a:pt x="180" y="426"/>
                  <a:pt x="182" y="425"/>
                  <a:pt x="183" y="423"/>
                </a:cubicBezTo>
                <a:cubicBezTo>
                  <a:pt x="186" y="420"/>
                  <a:pt x="188" y="420"/>
                  <a:pt x="191" y="420"/>
                </a:cubicBezTo>
                <a:cubicBezTo>
                  <a:pt x="192" y="420"/>
                  <a:pt x="192" y="420"/>
                  <a:pt x="193" y="420"/>
                </a:cubicBezTo>
                <a:cubicBezTo>
                  <a:pt x="192" y="421"/>
                  <a:pt x="191" y="422"/>
                  <a:pt x="190" y="423"/>
                </a:cubicBezTo>
                <a:close/>
                <a:moveTo>
                  <a:pt x="692" y="653"/>
                </a:moveTo>
                <a:cubicBezTo>
                  <a:pt x="692" y="653"/>
                  <a:pt x="692" y="652"/>
                  <a:pt x="692" y="652"/>
                </a:cubicBezTo>
                <a:cubicBezTo>
                  <a:pt x="692" y="652"/>
                  <a:pt x="692" y="652"/>
                  <a:pt x="692" y="652"/>
                </a:cubicBezTo>
                <a:cubicBezTo>
                  <a:pt x="692" y="653"/>
                  <a:pt x="693" y="653"/>
                  <a:pt x="693" y="653"/>
                </a:cubicBezTo>
                <a:cubicBezTo>
                  <a:pt x="693" y="653"/>
                  <a:pt x="692" y="653"/>
                  <a:pt x="692" y="653"/>
                </a:cubicBezTo>
                <a:close/>
                <a:moveTo>
                  <a:pt x="714" y="672"/>
                </a:moveTo>
                <a:cubicBezTo>
                  <a:pt x="714" y="673"/>
                  <a:pt x="716" y="676"/>
                  <a:pt x="716" y="680"/>
                </a:cubicBezTo>
                <a:cubicBezTo>
                  <a:pt x="715" y="677"/>
                  <a:pt x="714" y="675"/>
                  <a:pt x="714" y="672"/>
                </a:cubicBezTo>
                <a:close/>
                <a:moveTo>
                  <a:pt x="832" y="962"/>
                </a:moveTo>
                <a:cubicBezTo>
                  <a:pt x="832" y="961"/>
                  <a:pt x="832" y="960"/>
                  <a:pt x="835" y="957"/>
                </a:cubicBezTo>
                <a:cubicBezTo>
                  <a:pt x="835" y="957"/>
                  <a:pt x="836" y="957"/>
                  <a:pt x="836" y="956"/>
                </a:cubicBezTo>
                <a:cubicBezTo>
                  <a:pt x="837" y="957"/>
                  <a:pt x="838" y="960"/>
                  <a:pt x="839" y="963"/>
                </a:cubicBezTo>
                <a:cubicBezTo>
                  <a:pt x="840" y="967"/>
                  <a:pt x="841" y="972"/>
                  <a:pt x="843" y="977"/>
                </a:cubicBezTo>
                <a:cubicBezTo>
                  <a:pt x="843" y="977"/>
                  <a:pt x="843" y="977"/>
                  <a:pt x="843" y="977"/>
                </a:cubicBezTo>
                <a:cubicBezTo>
                  <a:pt x="836" y="970"/>
                  <a:pt x="831" y="964"/>
                  <a:pt x="832" y="962"/>
                </a:cubicBezTo>
                <a:close/>
                <a:moveTo>
                  <a:pt x="897" y="270"/>
                </a:moveTo>
                <a:cubicBezTo>
                  <a:pt x="897" y="270"/>
                  <a:pt x="896" y="270"/>
                  <a:pt x="896" y="270"/>
                </a:cubicBezTo>
                <a:cubicBezTo>
                  <a:pt x="892" y="270"/>
                  <a:pt x="888" y="270"/>
                  <a:pt x="883" y="271"/>
                </a:cubicBezTo>
                <a:cubicBezTo>
                  <a:pt x="873" y="272"/>
                  <a:pt x="857" y="275"/>
                  <a:pt x="850" y="275"/>
                </a:cubicBezTo>
                <a:cubicBezTo>
                  <a:pt x="849" y="275"/>
                  <a:pt x="849" y="275"/>
                  <a:pt x="849" y="275"/>
                </a:cubicBezTo>
                <a:cubicBezTo>
                  <a:pt x="848" y="275"/>
                  <a:pt x="847" y="275"/>
                  <a:pt x="847" y="275"/>
                </a:cubicBezTo>
                <a:cubicBezTo>
                  <a:pt x="846" y="274"/>
                  <a:pt x="844" y="271"/>
                  <a:pt x="836" y="268"/>
                </a:cubicBezTo>
                <a:cubicBezTo>
                  <a:pt x="824" y="261"/>
                  <a:pt x="818" y="261"/>
                  <a:pt x="812" y="258"/>
                </a:cubicBezTo>
                <a:cubicBezTo>
                  <a:pt x="816" y="256"/>
                  <a:pt x="818" y="254"/>
                  <a:pt x="821" y="252"/>
                </a:cubicBezTo>
                <a:cubicBezTo>
                  <a:pt x="823" y="251"/>
                  <a:pt x="824" y="250"/>
                  <a:pt x="825" y="249"/>
                </a:cubicBezTo>
                <a:cubicBezTo>
                  <a:pt x="826" y="249"/>
                  <a:pt x="827" y="249"/>
                  <a:pt x="827" y="249"/>
                </a:cubicBezTo>
                <a:cubicBezTo>
                  <a:pt x="828" y="250"/>
                  <a:pt x="829" y="253"/>
                  <a:pt x="831" y="256"/>
                </a:cubicBezTo>
                <a:cubicBezTo>
                  <a:pt x="832" y="259"/>
                  <a:pt x="834" y="264"/>
                  <a:pt x="839" y="267"/>
                </a:cubicBezTo>
                <a:cubicBezTo>
                  <a:pt x="844" y="269"/>
                  <a:pt x="849" y="270"/>
                  <a:pt x="855" y="270"/>
                </a:cubicBezTo>
                <a:cubicBezTo>
                  <a:pt x="860" y="270"/>
                  <a:pt x="866" y="269"/>
                  <a:pt x="871" y="268"/>
                </a:cubicBezTo>
                <a:cubicBezTo>
                  <a:pt x="873" y="267"/>
                  <a:pt x="881" y="266"/>
                  <a:pt x="887" y="266"/>
                </a:cubicBezTo>
                <a:cubicBezTo>
                  <a:pt x="893" y="266"/>
                  <a:pt x="899" y="266"/>
                  <a:pt x="902" y="267"/>
                </a:cubicBezTo>
                <a:cubicBezTo>
                  <a:pt x="904" y="267"/>
                  <a:pt x="908" y="268"/>
                  <a:pt x="913" y="269"/>
                </a:cubicBezTo>
                <a:cubicBezTo>
                  <a:pt x="913" y="270"/>
                  <a:pt x="913" y="271"/>
                  <a:pt x="913" y="272"/>
                </a:cubicBezTo>
                <a:cubicBezTo>
                  <a:pt x="913" y="273"/>
                  <a:pt x="913" y="274"/>
                  <a:pt x="913" y="276"/>
                </a:cubicBezTo>
                <a:cubicBezTo>
                  <a:pt x="908" y="272"/>
                  <a:pt x="902" y="270"/>
                  <a:pt x="897" y="270"/>
                </a:cubicBezTo>
                <a:close/>
                <a:moveTo>
                  <a:pt x="1692" y="1468"/>
                </a:moveTo>
                <a:cubicBezTo>
                  <a:pt x="1691" y="1470"/>
                  <a:pt x="1691" y="1471"/>
                  <a:pt x="1682" y="1473"/>
                </a:cubicBezTo>
                <a:cubicBezTo>
                  <a:pt x="1680" y="1474"/>
                  <a:pt x="1679" y="1474"/>
                  <a:pt x="1678" y="1474"/>
                </a:cubicBezTo>
                <a:cubicBezTo>
                  <a:pt x="1677" y="1474"/>
                  <a:pt x="1676" y="1474"/>
                  <a:pt x="1676" y="1474"/>
                </a:cubicBezTo>
                <a:cubicBezTo>
                  <a:pt x="1676" y="1473"/>
                  <a:pt x="1677" y="1473"/>
                  <a:pt x="1678" y="1473"/>
                </a:cubicBezTo>
                <a:cubicBezTo>
                  <a:pt x="1683" y="1472"/>
                  <a:pt x="1688" y="1470"/>
                  <a:pt x="1692" y="1467"/>
                </a:cubicBezTo>
                <a:cubicBezTo>
                  <a:pt x="1692" y="1467"/>
                  <a:pt x="1692" y="1468"/>
                  <a:pt x="1692" y="1468"/>
                </a:cubicBezTo>
                <a:close/>
                <a:moveTo>
                  <a:pt x="1712" y="1500"/>
                </a:move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lose/>
                <a:moveTo>
                  <a:pt x="1024" y="266"/>
                </a:moveTo>
                <a:cubicBezTo>
                  <a:pt x="1021" y="266"/>
                  <a:pt x="1014" y="264"/>
                  <a:pt x="1008" y="264"/>
                </a:cubicBezTo>
                <a:cubicBezTo>
                  <a:pt x="1003" y="264"/>
                  <a:pt x="998" y="265"/>
                  <a:pt x="994" y="268"/>
                </a:cubicBezTo>
                <a:cubicBezTo>
                  <a:pt x="990" y="271"/>
                  <a:pt x="989" y="276"/>
                  <a:pt x="989" y="279"/>
                </a:cubicBezTo>
                <a:cubicBezTo>
                  <a:pt x="989" y="287"/>
                  <a:pt x="993" y="296"/>
                  <a:pt x="1003" y="297"/>
                </a:cubicBezTo>
                <a:cubicBezTo>
                  <a:pt x="1004" y="297"/>
                  <a:pt x="1005" y="297"/>
                  <a:pt x="1005" y="297"/>
                </a:cubicBezTo>
                <a:cubicBezTo>
                  <a:pt x="1012" y="297"/>
                  <a:pt x="1019" y="295"/>
                  <a:pt x="1023" y="294"/>
                </a:cubicBezTo>
                <a:cubicBezTo>
                  <a:pt x="1024" y="297"/>
                  <a:pt x="1025" y="302"/>
                  <a:pt x="1027" y="307"/>
                </a:cubicBezTo>
                <a:cubicBezTo>
                  <a:pt x="1030" y="312"/>
                  <a:pt x="1034" y="320"/>
                  <a:pt x="1044" y="320"/>
                </a:cubicBezTo>
                <a:cubicBezTo>
                  <a:pt x="1047" y="320"/>
                  <a:pt x="1049" y="319"/>
                  <a:pt x="1052" y="318"/>
                </a:cubicBezTo>
                <a:cubicBezTo>
                  <a:pt x="1060" y="313"/>
                  <a:pt x="1064" y="308"/>
                  <a:pt x="1066" y="305"/>
                </a:cubicBezTo>
                <a:cubicBezTo>
                  <a:pt x="1067" y="303"/>
                  <a:pt x="1068" y="302"/>
                  <a:pt x="1068" y="301"/>
                </a:cubicBezTo>
                <a:cubicBezTo>
                  <a:pt x="1071" y="300"/>
                  <a:pt x="1072" y="298"/>
                  <a:pt x="1073" y="297"/>
                </a:cubicBezTo>
                <a:cubicBezTo>
                  <a:pt x="1073" y="295"/>
                  <a:pt x="1073" y="294"/>
                  <a:pt x="1073" y="292"/>
                </a:cubicBezTo>
                <a:cubicBezTo>
                  <a:pt x="1073" y="284"/>
                  <a:pt x="1070" y="272"/>
                  <a:pt x="1063" y="265"/>
                </a:cubicBezTo>
                <a:cubicBezTo>
                  <a:pt x="1058" y="262"/>
                  <a:pt x="1053" y="262"/>
                  <a:pt x="1047" y="262"/>
                </a:cubicBezTo>
                <a:cubicBezTo>
                  <a:pt x="1039" y="262"/>
                  <a:pt x="1030" y="263"/>
                  <a:pt x="1025" y="266"/>
                </a:cubicBezTo>
                <a:cubicBezTo>
                  <a:pt x="1025" y="266"/>
                  <a:pt x="1025" y="266"/>
                  <a:pt x="1025" y="266"/>
                </a:cubicBezTo>
                <a:cubicBezTo>
                  <a:pt x="1025" y="266"/>
                  <a:pt x="1024" y="266"/>
                  <a:pt x="1024" y="266"/>
                </a:cubicBezTo>
                <a:close/>
                <a:moveTo>
                  <a:pt x="2576" y="835"/>
                </a:moveTo>
                <a:cubicBezTo>
                  <a:pt x="2575" y="835"/>
                  <a:pt x="2567" y="833"/>
                  <a:pt x="2559" y="833"/>
                </a:cubicBezTo>
                <a:cubicBezTo>
                  <a:pt x="2556" y="833"/>
                  <a:pt x="2552" y="833"/>
                  <a:pt x="2548" y="836"/>
                </a:cubicBezTo>
                <a:cubicBezTo>
                  <a:pt x="2546" y="837"/>
                  <a:pt x="2544" y="840"/>
                  <a:pt x="2544" y="843"/>
                </a:cubicBezTo>
                <a:cubicBezTo>
                  <a:pt x="2545" y="849"/>
                  <a:pt x="2548" y="851"/>
                  <a:pt x="2551" y="854"/>
                </a:cubicBezTo>
                <a:cubicBezTo>
                  <a:pt x="2555" y="857"/>
                  <a:pt x="2558" y="860"/>
                  <a:pt x="2562" y="862"/>
                </a:cubicBezTo>
                <a:cubicBezTo>
                  <a:pt x="2563" y="862"/>
                  <a:pt x="2565" y="864"/>
                  <a:pt x="2568" y="867"/>
                </a:cubicBezTo>
                <a:cubicBezTo>
                  <a:pt x="2570" y="869"/>
                  <a:pt x="2572" y="873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9" y="875"/>
                  <a:pt x="2581" y="875"/>
                  <a:pt x="2583" y="875"/>
                </a:cubicBezTo>
                <a:cubicBezTo>
                  <a:pt x="2586" y="875"/>
                  <a:pt x="2590" y="874"/>
                  <a:pt x="2594" y="872"/>
                </a:cubicBezTo>
                <a:cubicBezTo>
                  <a:pt x="2598" y="870"/>
                  <a:pt x="2601" y="865"/>
                  <a:pt x="2601" y="859"/>
                </a:cubicBezTo>
                <a:cubicBezTo>
                  <a:pt x="2601" y="857"/>
                  <a:pt x="2600" y="855"/>
                  <a:pt x="2600" y="853"/>
                </a:cubicBezTo>
                <a:cubicBezTo>
                  <a:pt x="2594" y="836"/>
                  <a:pt x="2579" y="834"/>
                  <a:pt x="2576" y="835"/>
                </a:cubicBezTo>
                <a:close/>
                <a:moveTo>
                  <a:pt x="4079" y="1252"/>
                </a:moveTo>
                <a:cubicBezTo>
                  <a:pt x="4079" y="1252"/>
                  <a:pt x="4079" y="1252"/>
                  <a:pt x="4078" y="1252"/>
                </a:cubicBezTo>
                <a:cubicBezTo>
                  <a:pt x="4074" y="1252"/>
                  <a:pt x="4073" y="1255"/>
                  <a:pt x="4071" y="1256"/>
                </a:cubicBezTo>
                <a:cubicBezTo>
                  <a:pt x="4067" y="1261"/>
                  <a:pt x="4063" y="1269"/>
                  <a:pt x="4063" y="1277"/>
                </a:cubicBezTo>
                <a:cubicBezTo>
                  <a:pt x="4063" y="1280"/>
                  <a:pt x="4063" y="1282"/>
                  <a:pt x="4064" y="1284"/>
                </a:cubicBezTo>
                <a:cubicBezTo>
                  <a:pt x="4064" y="1284"/>
                  <a:pt x="4064" y="1284"/>
                  <a:pt x="4064" y="1284"/>
                </a:cubicBezTo>
                <a:cubicBezTo>
                  <a:pt x="4059" y="1279"/>
                  <a:pt x="4054" y="1273"/>
                  <a:pt x="4045" y="1272"/>
                </a:cubicBezTo>
                <a:cubicBezTo>
                  <a:pt x="4042" y="1272"/>
                  <a:pt x="4040" y="1273"/>
                  <a:pt x="4038" y="1274"/>
                </a:cubicBezTo>
                <a:cubicBezTo>
                  <a:pt x="4035" y="1275"/>
                  <a:pt x="4034" y="1277"/>
                  <a:pt x="4033" y="1278"/>
                </a:cubicBezTo>
                <a:cubicBezTo>
                  <a:pt x="4030" y="1283"/>
                  <a:pt x="4027" y="1290"/>
                  <a:pt x="4027" y="1298"/>
                </a:cubicBezTo>
                <a:cubicBezTo>
                  <a:pt x="4027" y="1301"/>
                  <a:pt x="4027" y="1304"/>
                  <a:pt x="4030" y="1307"/>
                </a:cubicBezTo>
                <a:cubicBezTo>
                  <a:pt x="4032" y="1310"/>
                  <a:pt x="4036" y="1312"/>
                  <a:pt x="4039" y="1311"/>
                </a:cubicBezTo>
                <a:cubicBezTo>
                  <a:pt x="4046" y="1311"/>
                  <a:pt x="4055" y="1313"/>
                  <a:pt x="4062" y="1313"/>
                </a:cubicBezTo>
                <a:cubicBezTo>
                  <a:pt x="4065" y="1313"/>
                  <a:pt x="4067" y="1313"/>
                  <a:pt x="4069" y="1312"/>
                </a:cubicBezTo>
                <a:cubicBezTo>
                  <a:pt x="4071" y="1312"/>
                  <a:pt x="4072" y="1311"/>
                  <a:pt x="4073" y="1310"/>
                </a:cubicBezTo>
                <a:cubicBezTo>
                  <a:pt x="4075" y="1309"/>
                  <a:pt x="4076" y="1307"/>
                  <a:pt x="4076" y="1304"/>
                </a:cubicBezTo>
                <a:cubicBezTo>
                  <a:pt x="4076" y="1302"/>
                  <a:pt x="4075" y="1301"/>
                  <a:pt x="4074" y="1299"/>
                </a:cubicBezTo>
                <a:cubicBezTo>
                  <a:pt x="4073" y="1297"/>
                  <a:pt x="4070" y="1293"/>
                  <a:pt x="4067" y="1289"/>
                </a:cubicBezTo>
                <a:cubicBezTo>
                  <a:pt x="4070" y="1291"/>
                  <a:pt x="4074" y="1292"/>
                  <a:pt x="4078" y="1292"/>
                </a:cubicBezTo>
                <a:cubicBezTo>
                  <a:pt x="4079" y="1292"/>
                  <a:pt x="4079" y="1292"/>
                  <a:pt x="4080" y="1292"/>
                </a:cubicBezTo>
                <a:cubicBezTo>
                  <a:pt x="4092" y="1292"/>
                  <a:pt x="4099" y="1283"/>
                  <a:pt x="4099" y="1274"/>
                </a:cubicBezTo>
                <a:cubicBezTo>
                  <a:pt x="4099" y="1264"/>
                  <a:pt x="4091" y="1252"/>
                  <a:pt x="4079" y="1252"/>
                </a:cubicBezTo>
                <a:close/>
                <a:moveTo>
                  <a:pt x="4392" y="2119"/>
                </a:moveTo>
                <a:cubicBezTo>
                  <a:pt x="4385" y="2120"/>
                  <a:pt x="4381" y="2124"/>
                  <a:pt x="4375" y="2127"/>
                </a:cubicBezTo>
                <a:cubicBezTo>
                  <a:pt x="4372" y="2129"/>
                  <a:pt x="4369" y="2131"/>
                  <a:pt x="4367" y="2132"/>
                </a:cubicBezTo>
                <a:cubicBezTo>
                  <a:pt x="4366" y="2133"/>
                  <a:pt x="4365" y="2133"/>
                  <a:pt x="4365" y="2133"/>
                </a:cubicBezTo>
                <a:cubicBezTo>
                  <a:pt x="4365" y="2133"/>
                  <a:pt x="4364" y="2133"/>
                  <a:pt x="4364" y="2133"/>
                </a:cubicBezTo>
                <a:cubicBezTo>
                  <a:pt x="4359" y="2132"/>
                  <a:pt x="4348" y="2127"/>
                  <a:pt x="4348" y="2127"/>
                </a:cubicBezTo>
                <a:cubicBezTo>
                  <a:pt x="4345" y="2126"/>
                  <a:pt x="4343" y="2127"/>
                  <a:pt x="4341" y="2129"/>
                </a:cubicBezTo>
                <a:cubicBezTo>
                  <a:pt x="4338" y="2132"/>
                  <a:pt x="4336" y="2136"/>
                  <a:pt x="4336" y="2140"/>
                </a:cubicBezTo>
                <a:cubicBezTo>
                  <a:pt x="4336" y="2148"/>
                  <a:pt x="4342" y="2151"/>
                  <a:pt x="4344" y="2154"/>
                </a:cubicBezTo>
                <a:cubicBezTo>
                  <a:pt x="4348" y="2157"/>
                  <a:pt x="4349" y="2158"/>
                  <a:pt x="4349" y="2160"/>
                </a:cubicBezTo>
                <a:cubicBezTo>
                  <a:pt x="4349" y="2161"/>
                  <a:pt x="4349" y="2161"/>
                  <a:pt x="4349" y="2162"/>
                </a:cubicBezTo>
                <a:cubicBezTo>
                  <a:pt x="4348" y="2163"/>
                  <a:pt x="4348" y="2165"/>
                  <a:pt x="4348" y="2166"/>
                </a:cubicBezTo>
                <a:cubicBezTo>
                  <a:pt x="4348" y="2170"/>
                  <a:pt x="4350" y="2175"/>
                  <a:pt x="4354" y="2177"/>
                </a:cubicBezTo>
                <a:cubicBezTo>
                  <a:pt x="4357" y="2179"/>
                  <a:pt x="4360" y="2179"/>
                  <a:pt x="4363" y="2179"/>
                </a:cubicBezTo>
                <a:cubicBezTo>
                  <a:pt x="4370" y="2179"/>
                  <a:pt x="4376" y="2177"/>
                  <a:pt x="4380" y="2175"/>
                </a:cubicBezTo>
                <a:cubicBezTo>
                  <a:pt x="4384" y="2173"/>
                  <a:pt x="4385" y="2171"/>
                  <a:pt x="4388" y="2167"/>
                </a:cubicBezTo>
                <a:cubicBezTo>
                  <a:pt x="4394" y="2157"/>
                  <a:pt x="4401" y="2140"/>
                  <a:pt x="4401" y="2129"/>
                </a:cubicBezTo>
                <a:cubicBezTo>
                  <a:pt x="4401" y="2128"/>
                  <a:pt x="4401" y="2127"/>
                  <a:pt x="4401" y="2125"/>
                </a:cubicBezTo>
                <a:cubicBezTo>
                  <a:pt x="4400" y="2122"/>
                  <a:pt x="4395" y="2119"/>
                  <a:pt x="4392" y="2119"/>
                </a:cubicBezTo>
                <a:close/>
                <a:moveTo>
                  <a:pt x="4086" y="1305"/>
                </a:moveTo>
                <a:cubicBezTo>
                  <a:pt x="4085" y="1304"/>
                  <a:pt x="4083" y="1303"/>
                  <a:pt x="4081" y="1304"/>
                </a:cubicBezTo>
                <a:cubicBezTo>
                  <a:pt x="4079" y="1304"/>
                  <a:pt x="4078" y="1305"/>
                  <a:pt x="4077" y="1306"/>
                </a:cubicBezTo>
                <a:cubicBezTo>
                  <a:pt x="4072" y="1313"/>
                  <a:pt x="4069" y="1318"/>
                  <a:pt x="4067" y="1320"/>
                </a:cubicBezTo>
                <a:cubicBezTo>
                  <a:pt x="4066" y="1321"/>
                  <a:pt x="4066" y="1322"/>
                  <a:pt x="4065" y="1322"/>
                </a:cubicBezTo>
                <a:cubicBezTo>
                  <a:pt x="4064" y="1321"/>
                  <a:pt x="4062" y="1320"/>
                  <a:pt x="4058" y="1318"/>
                </a:cubicBezTo>
                <a:cubicBezTo>
                  <a:pt x="4056" y="1317"/>
                  <a:pt x="4053" y="1316"/>
                  <a:pt x="4051" y="1316"/>
                </a:cubicBezTo>
                <a:cubicBezTo>
                  <a:pt x="4043" y="1316"/>
                  <a:pt x="4037" y="1320"/>
                  <a:pt x="4032" y="1324"/>
                </a:cubicBezTo>
                <a:cubicBezTo>
                  <a:pt x="4027" y="1329"/>
                  <a:pt x="4023" y="1334"/>
                  <a:pt x="4022" y="1341"/>
                </a:cubicBezTo>
                <a:cubicBezTo>
                  <a:pt x="4022" y="1342"/>
                  <a:pt x="4023" y="1344"/>
                  <a:pt x="4024" y="1346"/>
                </a:cubicBezTo>
                <a:cubicBezTo>
                  <a:pt x="4026" y="1350"/>
                  <a:pt x="4031" y="1351"/>
                  <a:pt x="4034" y="1352"/>
                </a:cubicBezTo>
                <a:cubicBezTo>
                  <a:pt x="4040" y="1352"/>
                  <a:pt x="4045" y="1352"/>
                  <a:pt x="4050" y="1353"/>
                </a:cubicBezTo>
                <a:cubicBezTo>
                  <a:pt x="4055" y="1353"/>
                  <a:pt x="4057" y="1355"/>
                  <a:pt x="4058" y="1356"/>
                </a:cubicBezTo>
                <a:cubicBezTo>
                  <a:pt x="4060" y="1361"/>
                  <a:pt x="4061" y="1364"/>
                  <a:pt x="4063" y="1367"/>
                </a:cubicBezTo>
                <a:cubicBezTo>
                  <a:pt x="4065" y="1370"/>
                  <a:pt x="4069" y="1372"/>
                  <a:pt x="4073" y="1372"/>
                </a:cubicBezTo>
                <a:cubicBezTo>
                  <a:pt x="4073" y="1372"/>
                  <a:pt x="4073" y="1372"/>
                  <a:pt x="4074" y="1372"/>
                </a:cubicBezTo>
                <a:cubicBezTo>
                  <a:pt x="4076" y="1372"/>
                  <a:pt x="4079" y="1371"/>
                  <a:pt x="4082" y="1371"/>
                </a:cubicBezTo>
                <a:cubicBezTo>
                  <a:pt x="4090" y="1369"/>
                  <a:pt x="4095" y="1363"/>
                  <a:pt x="4100" y="1357"/>
                </a:cubicBezTo>
                <a:cubicBezTo>
                  <a:pt x="4104" y="1351"/>
                  <a:pt x="4107" y="1344"/>
                  <a:pt x="4107" y="1337"/>
                </a:cubicBezTo>
                <a:cubicBezTo>
                  <a:pt x="4107" y="1335"/>
                  <a:pt x="4107" y="1333"/>
                  <a:pt x="4106" y="1331"/>
                </a:cubicBezTo>
                <a:cubicBezTo>
                  <a:pt x="4101" y="1319"/>
                  <a:pt x="4086" y="1306"/>
                  <a:pt x="4086" y="1305"/>
                </a:cubicBezTo>
                <a:close/>
                <a:moveTo>
                  <a:pt x="4425" y="1824"/>
                </a:moveTo>
                <a:cubicBezTo>
                  <a:pt x="4417" y="1815"/>
                  <a:pt x="4412" y="1805"/>
                  <a:pt x="4412" y="1803"/>
                </a:cubicBezTo>
                <a:cubicBezTo>
                  <a:pt x="4412" y="1803"/>
                  <a:pt x="4412" y="1803"/>
                  <a:pt x="4412" y="1803"/>
                </a:cubicBezTo>
                <a:cubicBezTo>
                  <a:pt x="4412" y="1802"/>
                  <a:pt x="4412" y="1802"/>
                  <a:pt x="4412" y="1802"/>
                </a:cubicBezTo>
                <a:cubicBezTo>
                  <a:pt x="4412" y="1802"/>
                  <a:pt x="4412" y="1801"/>
                  <a:pt x="4412" y="1801"/>
                </a:cubicBezTo>
                <a:cubicBezTo>
                  <a:pt x="4413" y="1796"/>
                  <a:pt x="4410" y="1792"/>
                  <a:pt x="4407" y="1789"/>
                </a:cubicBezTo>
                <a:cubicBezTo>
                  <a:pt x="4398" y="1782"/>
                  <a:pt x="4386" y="1781"/>
                  <a:pt x="4381" y="1775"/>
                </a:cubicBezTo>
                <a:cubicBezTo>
                  <a:pt x="4377" y="1772"/>
                  <a:pt x="4374" y="1764"/>
                  <a:pt x="4372" y="1753"/>
                </a:cubicBezTo>
                <a:cubicBezTo>
                  <a:pt x="4370" y="1743"/>
                  <a:pt x="4368" y="1732"/>
                  <a:pt x="4365" y="1722"/>
                </a:cubicBezTo>
                <a:cubicBezTo>
                  <a:pt x="4359" y="1704"/>
                  <a:pt x="4346" y="1693"/>
                  <a:pt x="4335" y="1678"/>
                </a:cubicBezTo>
                <a:cubicBezTo>
                  <a:pt x="4331" y="1672"/>
                  <a:pt x="4326" y="1661"/>
                  <a:pt x="4323" y="1651"/>
                </a:cubicBezTo>
                <a:cubicBezTo>
                  <a:pt x="4322" y="1646"/>
                  <a:pt x="4320" y="1642"/>
                  <a:pt x="4319" y="1638"/>
                </a:cubicBezTo>
                <a:cubicBezTo>
                  <a:pt x="4318" y="1636"/>
                  <a:pt x="4318" y="1635"/>
                  <a:pt x="4317" y="1633"/>
                </a:cubicBezTo>
                <a:cubicBezTo>
                  <a:pt x="4316" y="1633"/>
                  <a:pt x="4316" y="1631"/>
                  <a:pt x="4315" y="1630"/>
                </a:cubicBezTo>
                <a:cubicBezTo>
                  <a:pt x="4320" y="1627"/>
                  <a:pt x="4324" y="1621"/>
                  <a:pt x="4327" y="1615"/>
                </a:cubicBezTo>
                <a:cubicBezTo>
                  <a:pt x="4331" y="1607"/>
                  <a:pt x="4335" y="1599"/>
                  <a:pt x="4336" y="1597"/>
                </a:cubicBezTo>
                <a:cubicBezTo>
                  <a:pt x="4337" y="1596"/>
                  <a:pt x="4344" y="1593"/>
                  <a:pt x="4350" y="1593"/>
                </a:cubicBezTo>
                <a:cubicBezTo>
                  <a:pt x="4352" y="1593"/>
                  <a:pt x="4354" y="1594"/>
                  <a:pt x="4355" y="1594"/>
                </a:cubicBezTo>
                <a:cubicBezTo>
                  <a:pt x="4356" y="1595"/>
                  <a:pt x="4356" y="1595"/>
                  <a:pt x="4357" y="1596"/>
                </a:cubicBezTo>
                <a:cubicBezTo>
                  <a:pt x="4359" y="1610"/>
                  <a:pt x="4367" y="1624"/>
                  <a:pt x="4383" y="1633"/>
                </a:cubicBezTo>
                <a:cubicBezTo>
                  <a:pt x="4393" y="1639"/>
                  <a:pt x="4404" y="1646"/>
                  <a:pt x="4413" y="1646"/>
                </a:cubicBezTo>
                <a:cubicBezTo>
                  <a:pt x="4416" y="1647"/>
                  <a:pt x="4422" y="1644"/>
                  <a:pt x="4423" y="1639"/>
                </a:cubicBezTo>
                <a:cubicBezTo>
                  <a:pt x="4423" y="1638"/>
                  <a:pt x="4423" y="1637"/>
                  <a:pt x="4423" y="1636"/>
                </a:cubicBezTo>
                <a:cubicBezTo>
                  <a:pt x="4423" y="1630"/>
                  <a:pt x="4421" y="1622"/>
                  <a:pt x="4418" y="1614"/>
                </a:cubicBezTo>
                <a:cubicBezTo>
                  <a:pt x="4414" y="1606"/>
                  <a:pt x="4411" y="1599"/>
                  <a:pt x="4403" y="1595"/>
                </a:cubicBezTo>
                <a:cubicBezTo>
                  <a:pt x="4401" y="1594"/>
                  <a:pt x="4394" y="1588"/>
                  <a:pt x="4390" y="1580"/>
                </a:cubicBezTo>
                <a:cubicBezTo>
                  <a:pt x="4385" y="1574"/>
                  <a:pt x="4381" y="1565"/>
                  <a:pt x="4381" y="1563"/>
                </a:cubicBezTo>
                <a:cubicBezTo>
                  <a:pt x="4381" y="1555"/>
                  <a:pt x="4375" y="1550"/>
                  <a:pt x="4371" y="1547"/>
                </a:cubicBezTo>
                <a:cubicBezTo>
                  <a:pt x="4366" y="1544"/>
                  <a:pt x="4361" y="1542"/>
                  <a:pt x="4359" y="1540"/>
                </a:cubicBezTo>
                <a:cubicBezTo>
                  <a:pt x="4354" y="1536"/>
                  <a:pt x="4347" y="1513"/>
                  <a:pt x="4326" y="1508"/>
                </a:cubicBezTo>
                <a:cubicBezTo>
                  <a:pt x="4310" y="1504"/>
                  <a:pt x="4307" y="1498"/>
                  <a:pt x="4288" y="1486"/>
                </a:cubicBezTo>
                <a:cubicBezTo>
                  <a:pt x="4275" y="1479"/>
                  <a:pt x="4258" y="1477"/>
                  <a:pt x="4243" y="1477"/>
                </a:cubicBezTo>
                <a:cubicBezTo>
                  <a:pt x="4237" y="1477"/>
                  <a:pt x="4232" y="1477"/>
                  <a:pt x="4228" y="1478"/>
                </a:cubicBezTo>
                <a:cubicBezTo>
                  <a:pt x="4226" y="1478"/>
                  <a:pt x="4224" y="1479"/>
                  <a:pt x="4222" y="1480"/>
                </a:cubicBezTo>
                <a:cubicBezTo>
                  <a:pt x="4222" y="1480"/>
                  <a:pt x="4221" y="1481"/>
                  <a:pt x="4221" y="1481"/>
                </a:cubicBezTo>
                <a:cubicBezTo>
                  <a:pt x="4219" y="1479"/>
                  <a:pt x="4216" y="1478"/>
                  <a:pt x="4212" y="1476"/>
                </a:cubicBezTo>
                <a:cubicBezTo>
                  <a:pt x="4204" y="1473"/>
                  <a:pt x="4197" y="1473"/>
                  <a:pt x="4193" y="1473"/>
                </a:cubicBezTo>
                <a:cubicBezTo>
                  <a:pt x="4191" y="1472"/>
                  <a:pt x="4189" y="1472"/>
                  <a:pt x="4189" y="1472"/>
                </a:cubicBezTo>
                <a:cubicBezTo>
                  <a:pt x="4188" y="1471"/>
                  <a:pt x="4188" y="1472"/>
                  <a:pt x="4188" y="1470"/>
                </a:cubicBezTo>
                <a:cubicBezTo>
                  <a:pt x="4186" y="1464"/>
                  <a:pt x="4181" y="1458"/>
                  <a:pt x="4173" y="1458"/>
                </a:cubicBezTo>
                <a:cubicBezTo>
                  <a:pt x="4166" y="1458"/>
                  <a:pt x="4161" y="1462"/>
                  <a:pt x="4156" y="1468"/>
                </a:cubicBezTo>
                <a:cubicBezTo>
                  <a:pt x="4154" y="1471"/>
                  <a:pt x="4152" y="1473"/>
                  <a:pt x="4150" y="1474"/>
                </a:cubicBezTo>
                <a:cubicBezTo>
                  <a:pt x="4149" y="1476"/>
                  <a:pt x="4147" y="1478"/>
                  <a:pt x="4147" y="1482"/>
                </a:cubicBezTo>
                <a:cubicBezTo>
                  <a:pt x="4147" y="1484"/>
                  <a:pt x="4148" y="1487"/>
                  <a:pt x="4150" y="1488"/>
                </a:cubicBezTo>
                <a:cubicBezTo>
                  <a:pt x="4154" y="1491"/>
                  <a:pt x="4158" y="1491"/>
                  <a:pt x="4166" y="1493"/>
                </a:cubicBezTo>
                <a:cubicBezTo>
                  <a:pt x="4173" y="1495"/>
                  <a:pt x="4178" y="1496"/>
                  <a:pt x="4181" y="1497"/>
                </a:cubicBezTo>
                <a:cubicBezTo>
                  <a:pt x="4181" y="1497"/>
                  <a:pt x="4181" y="1497"/>
                  <a:pt x="4181" y="1497"/>
                </a:cubicBezTo>
                <a:cubicBezTo>
                  <a:pt x="4181" y="1497"/>
                  <a:pt x="4180" y="1498"/>
                  <a:pt x="4179" y="1499"/>
                </a:cubicBezTo>
                <a:cubicBezTo>
                  <a:pt x="4174" y="1507"/>
                  <a:pt x="4169" y="1516"/>
                  <a:pt x="4168" y="1524"/>
                </a:cubicBezTo>
                <a:cubicBezTo>
                  <a:pt x="4168" y="1528"/>
                  <a:pt x="4171" y="1534"/>
                  <a:pt x="4176" y="1535"/>
                </a:cubicBezTo>
                <a:cubicBezTo>
                  <a:pt x="4177" y="1535"/>
                  <a:pt x="4179" y="1535"/>
                  <a:pt x="4180" y="1535"/>
                </a:cubicBezTo>
                <a:cubicBezTo>
                  <a:pt x="4187" y="1535"/>
                  <a:pt x="4196" y="1533"/>
                  <a:pt x="4201" y="1533"/>
                </a:cubicBezTo>
                <a:cubicBezTo>
                  <a:pt x="4202" y="1533"/>
                  <a:pt x="4202" y="1533"/>
                  <a:pt x="4202" y="1533"/>
                </a:cubicBezTo>
                <a:cubicBezTo>
                  <a:pt x="4202" y="1533"/>
                  <a:pt x="4202" y="1535"/>
                  <a:pt x="4203" y="1537"/>
                </a:cubicBezTo>
                <a:cubicBezTo>
                  <a:pt x="4205" y="1540"/>
                  <a:pt x="4208" y="1541"/>
                  <a:pt x="4211" y="1543"/>
                </a:cubicBezTo>
                <a:cubicBezTo>
                  <a:pt x="4214" y="1544"/>
                  <a:pt x="4218" y="1545"/>
                  <a:pt x="4225" y="1546"/>
                </a:cubicBezTo>
                <a:cubicBezTo>
                  <a:pt x="4246" y="1550"/>
                  <a:pt x="4248" y="1557"/>
                  <a:pt x="4253" y="1563"/>
                </a:cubicBezTo>
                <a:cubicBezTo>
                  <a:pt x="4255" y="1565"/>
                  <a:pt x="4258" y="1569"/>
                  <a:pt x="4260" y="1572"/>
                </a:cubicBezTo>
                <a:cubicBezTo>
                  <a:pt x="4261" y="1574"/>
                  <a:pt x="4262" y="1576"/>
                  <a:pt x="4263" y="1577"/>
                </a:cubicBezTo>
                <a:cubicBezTo>
                  <a:pt x="4259" y="1578"/>
                  <a:pt x="4256" y="1580"/>
                  <a:pt x="4253" y="1583"/>
                </a:cubicBezTo>
                <a:cubicBezTo>
                  <a:pt x="4250" y="1586"/>
                  <a:pt x="4247" y="1590"/>
                  <a:pt x="4246" y="1595"/>
                </a:cubicBezTo>
                <a:cubicBezTo>
                  <a:pt x="4246" y="1599"/>
                  <a:pt x="4250" y="1603"/>
                  <a:pt x="4253" y="1604"/>
                </a:cubicBezTo>
                <a:cubicBezTo>
                  <a:pt x="4255" y="1604"/>
                  <a:pt x="4256" y="1605"/>
                  <a:pt x="4257" y="1605"/>
                </a:cubicBezTo>
                <a:cubicBezTo>
                  <a:pt x="4264" y="1605"/>
                  <a:pt x="4274" y="1604"/>
                  <a:pt x="4278" y="1604"/>
                </a:cubicBezTo>
                <a:cubicBezTo>
                  <a:pt x="4278" y="1604"/>
                  <a:pt x="4278" y="1604"/>
                  <a:pt x="4278" y="1604"/>
                </a:cubicBezTo>
                <a:cubicBezTo>
                  <a:pt x="4280" y="1604"/>
                  <a:pt x="4282" y="1612"/>
                  <a:pt x="4286" y="1618"/>
                </a:cubicBezTo>
                <a:cubicBezTo>
                  <a:pt x="4290" y="1624"/>
                  <a:pt x="4295" y="1631"/>
                  <a:pt x="4304" y="1633"/>
                </a:cubicBezTo>
                <a:cubicBezTo>
                  <a:pt x="4303" y="1635"/>
                  <a:pt x="4303" y="1636"/>
                  <a:pt x="4302" y="1638"/>
                </a:cubicBezTo>
                <a:cubicBezTo>
                  <a:pt x="4299" y="1647"/>
                  <a:pt x="4295" y="1662"/>
                  <a:pt x="4295" y="1675"/>
                </a:cubicBezTo>
                <a:cubicBezTo>
                  <a:pt x="4295" y="1682"/>
                  <a:pt x="4296" y="1688"/>
                  <a:pt x="4299" y="1693"/>
                </a:cubicBezTo>
                <a:cubicBezTo>
                  <a:pt x="4300" y="1695"/>
                  <a:pt x="4301" y="1698"/>
                  <a:pt x="4301" y="1701"/>
                </a:cubicBezTo>
                <a:cubicBezTo>
                  <a:pt x="4301" y="1712"/>
                  <a:pt x="4294" y="1729"/>
                  <a:pt x="4289" y="1742"/>
                </a:cubicBezTo>
                <a:cubicBezTo>
                  <a:pt x="4289" y="1743"/>
                  <a:pt x="4288" y="1744"/>
                  <a:pt x="4288" y="1744"/>
                </a:cubicBezTo>
                <a:cubicBezTo>
                  <a:pt x="4288" y="1744"/>
                  <a:pt x="4287" y="1744"/>
                  <a:pt x="4286" y="1743"/>
                </a:cubicBezTo>
                <a:cubicBezTo>
                  <a:pt x="4281" y="1740"/>
                  <a:pt x="4274" y="1733"/>
                  <a:pt x="4267" y="1728"/>
                </a:cubicBezTo>
                <a:cubicBezTo>
                  <a:pt x="4255" y="1719"/>
                  <a:pt x="4239" y="1713"/>
                  <a:pt x="4233" y="1705"/>
                </a:cubicBezTo>
                <a:cubicBezTo>
                  <a:pt x="4233" y="1705"/>
                  <a:pt x="4232" y="1705"/>
                  <a:pt x="4232" y="1704"/>
                </a:cubicBezTo>
                <a:cubicBezTo>
                  <a:pt x="4232" y="1701"/>
                  <a:pt x="4234" y="1694"/>
                  <a:pt x="4237" y="1688"/>
                </a:cubicBezTo>
                <a:cubicBezTo>
                  <a:pt x="4240" y="1681"/>
                  <a:pt x="4243" y="1675"/>
                  <a:pt x="4243" y="1668"/>
                </a:cubicBezTo>
                <a:cubicBezTo>
                  <a:pt x="4243" y="1666"/>
                  <a:pt x="4243" y="1663"/>
                  <a:pt x="4241" y="1661"/>
                </a:cubicBezTo>
                <a:cubicBezTo>
                  <a:pt x="4236" y="1654"/>
                  <a:pt x="4229" y="1653"/>
                  <a:pt x="4222" y="1653"/>
                </a:cubicBezTo>
                <a:cubicBezTo>
                  <a:pt x="4216" y="1653"/>
                  <a:pt x="4210" y="1654"/>
                  <a:pt x="4205" y="1655"/>
                </a:cubicBezTo>
                <a:cubicBezTo>
                  <a:pt x="4202" y="1655"/>
                  <a:pt x="4200" y="1656"/>
                  <a:pt x="4198" y="1656"/>
                </a:cubicBezTo>
                <a:cubicBezTo>
                  <a:pt x="4198" y="1656"/>
                  <a:pt x="4197" y="1656"/>
                  <a:pt x="4197" y="1656"/>
                </a:cubicBezTo>
                <a:cubicBezTo>
                  <a:pt x="4196" y="1655"/>
                  <a:pt x="4194" y="1653"/>
                  <a:pt x="4192" y="1650"/>
                </a:cubicBezTo>
                <a:cubicBezTo>
                  <a:pt x="4189" y="1647"/>
                  <a:pt x="4185" y="1643"/>
                  <a:pt x="4179" y="1643"/>
                </a:cubicBezTo>
                <a:cubicBezTo>
                  <a:pt x="4174" y="1643"/>
                  <a:pt x="4171" y="1646"/>
                  <a:pt x="4170" y="1649"/>
                </a:cubicBezTo>
                <a:cubicBezTo>
                  <a:pt x="4169" y="1652"/>
                  <a:pt x="4168" y="1655"/>
                  <a:pt x="4167" y="1659"/>
                </a:cubicBezTo>
                <a:cubicBezTo>
                  <a:pt x="4165" y="1656"/>
                  <a:pt x="4163" y="1653"/>
                  <a:pt x="4160" y="1650"/>
                </a:cubicBezTo>
                <a:cubicBezTo>
                  <a:pt x="4159" y="1649"/>
                  <a:pt x="4158" y="1648"/>
                  <a:pt x="4157" y="1647"/>
                </a:cubicBezTo>
                <a:cubicBezTo>
                  <a:pt x="4156" y="1646"/>
                  <a:pt x="4155" y="1645"/>
                  <a:pt x="4151" y="1644"/>
                </a:cubicBezTo>
                <a:cubicBezTo>
                  <a:pt x="4148" y="1644"/>
                  <a:pt x="4145" y="1648"/>
                  <a:pt x="4145" y="1649"/>
                </a:cubicBezTo>
                <a:cubicBezTo>
                  <a:pt x="4145" y="1650"/>
                  <a:pt x="4145" y="1651"/>
                  <a:pt x="4145" y="1652"/>
                </a:cubicBezTo>
                <a:cubicBezTo>
                  <a:pt x="4145" y="1654"/>
                  <a:pt x="4145" y="1657"/>
                  <a:pt x="4145" y="1659"/>
                </a:cubicBezTo>
                <a:cubicBezTo>
                  <a:pt x="4145" y="1663"/>
                  <a:pt x="4144" y="1668"/>
                  <a:pt x="4142" y="1671"/>
                </a:cubicBezTo>
                <a:cubicBezTo>
                  <a:pt x="4137" y="1677"/>
                  <a:pt x="4135" y="1679"/>
                  <a:pt x="4133" y="1683"/>
                </a:cubicBezTo>
                <a:cubicBezTo>
                  <a:pt x="4131" y="1686"/>
                  <a:pt x="4131" y="1688"/>
                  <a:pt x="4129" y="1695"/>
                </a:cubicBezTo>
                <a:cubicBezTo>
                  <a:pt x="4128" y="1697"/>
                  <a:pt x="4128" y="1699"/>
                  <a:pt x="4127" y="1699"/>
                </a:cubicBezTo>
                <a:cubicBezTo>
                  <a:pt x="4127" y="1699"/>
                  <a:pt x="4127" y="1700"/>
                  <a:pt x="4127" y="1700"/>
                </a:cubicBezTo>
                <a:cubicBezTo>
                  <a:pt x="4127" y="1700"/>
                  <a:pt x="4127" y="1700"/>
                  <a:pt x="4127" y="1700"/>
                </a:cubicBezTo>
                <a:cubicBezTo>
                  <a:pt x="4126" y="1700"/>
                  <a:pt x="4120" y="1696"/>
                  <a:pt x="4114" y="1688"/>
                </a:cubicBezTo>
                <a:cubicBezTo>
                  <a:pt x="4110" y="1682"/>
                  <a:pt x="4105" y="1679"/>
                  <a:pt x="4099" y="1678"/>
                </a:cubicBezTo>
                <a:cubicBezTo>
                  <a:pt x="4090" y="1679"/>
                  <a:pt x="4087" y="1685"/>
                  <a:pt x="4083" y="1686"/>
                </a:cubicBezTo>
                <a:cubicBezTo>
                  <a:pt x="4077" y="1691"/>
                  <a:pt x="4074" y="1698"/>
                  <a:pt x="4071" y="1705"/>
                </a:cubicBezTo>
                <a:cubicBezTo>
                  <a:pt x="4068" y="1712"/>
                  <a:pt x="4068" y="1720"/>
                  <a:pt x="4064" y="1721"/>
                </a:cubicBezTo>
                <a:cubicBezTo>
                  <a:pt x="4064" y="1721"/>
                  <a:pt x="4064" y="1721"/>
                  <a:pt x="4064" y="1721"/>
                </a:cubicBezTo>
                <a:cubicBezTo>
                  <a:pt x="4064" y="1722"/>
                  <a:pt x="4057" y="1726"/>
                  <a:pt x="4050" y="1729"/>
                </a:cubicBezTo>
                <a:cubicBezTo>
                  <a:pt x="4043" y="1732"/>
                  <a:pt x="4037" y="1735"/>
                  <a:pt x="4032" y="1740"/>
                </a:cubicBezTo>
                <a:cubicBezTo>
                  <a:pt x="4028" y="1745"/>
                  <a:pt x="4026" y="1753"/>
                  <a:pt x="4025" y="1760"/>
                </a:cubicBezTo>
                <a:cubicBezTo>
                  <a:pt x="4024" y="1766"/>
                  <a:pt x="4023" y="1772"/>
                  <a:pt x="4023" y="1775"/>
                </a:cubicBezTo>
                <a:cubicBezTo>
                  <a:pt x="4021" y="1776"/>
                  <a:pt x="4016" y="1777"/>
                  <a:pt x="4011" y="1777"/>
                </a:cubicBezTo>
                <a:cubicBezTo>
                  <a:pt x="4005" y="1778"/>
                  <a:pt x="3998" y="1779"/>
                  <a:pt x="3993" y="1783"/>
                </a:cubicBezTo>
                <a:cubicBezTo>
                  <a:pt x="3991" y="1785"/>
                  <a:pt x="3988" y="1786"/>
                  <a:pt x="3984" y="1786"/>
                </a:cubicBezTo>
                <a:cubicBezTo>
                  <a:pt x="3979" y="1786"/>
                  <a:pt x="3973" y="1785"/>
                  <a:pt x="3968" y="1785"/>
                </a:cubicBezTo>
                <a:cubicBezTo>
                  <a:pt x="3963" y="1785"/>
                  <a:pt x="3960" y="1787"/>
                  <a:pt x="3956" y="1790"/>
                </a:cubicBezTo>
                <a:cubicBezTo>
                  <a:pt x="3943" y="1798"/>
                  <a:pt x="3926" y="1814"/>
                  <a:pt x="3920" y="1819"/>
                </a:cubicBezTo>
                <a:cubicBezTo>
                  <a:pt x="3911" y="1826"/>
                  <a:pt x="3910" y="1837"/>
                  <a:pt x="3909" y="1847"/>
                </a:cubicBezTo>
                <a:cubicBezTo>
                  <a:pt x="3910" y="1854"/>
                  <a:pt x="3910" y="1861"/>
                  <a:pt x="3914" y="1866"/>
                </a:cubicBezTo>
                <a:cubicBezTo>
                  <a:pt x="3917" y="1870"/>
                  <a:pt x="3922" y="1881"/>
                  <a:pt x="3922" y="1884"/>
                </a:cubicBezTo>
                <a:cubicBezTo>
                  <a:pt x="3917" y="1888"/>
                  <a:pt x="3916" y="1895"/>
                  <a:pt x="3915" y="1902"/>
                </a:cubicBezTo>
                <a:cubicBezTo>
                  <a:pt x="3915" y="1911"/>
                  <a:pt x="3918" y="1921"/>
                  <a:pt x="3927" y="1931"/>
                </a:cubicBezTo>
                <a:cubicBezTo>
                  <a:pt x="3935" y="1942"/>
                  <a:pt x="3935" y="1945"/>
                  <a:pt x="3935" y="1949"/>
                </a:cubicBezTo>
                <a:cubicBezTo>
                  <a:pt x="3935" y="1950"/>
                  <a:pt x="3935" y="1951"/>
                  <a:pt x="3935" y="1953"/>
                </a:cubicBezTo>
                <a:cubicBezTo>
                  <a:pt x="3935" y="1954"/>
                  <a:pt x="3935" y="1955"/>
                  <a:pt x="3936" y="1957"/>
                </a:cubicBezTo>
                <a:cubicBezTo>
                  <a:pt x="3936" y="1962"/>
                  <a:pt x="3939" y="1967"/>
                  <a:pt x="3942" y="1970"/>
                </a:cubicBezTo>
                <a:cubicBezTo>
                  <a:pt x="3945" y="1974"/>
                  <a:pt x="3948" y="1978"/>
                  <a:pt x="3953" y="1984"/>
                </a:cubicBezTo>
                <a:cubicBezTo>
                  <a:pt x="3953" y="1985"/>
                  <a:pt x="3954" y="1986"/>
                  <a:pt x="3954" y="1987"/>
                </a:cubicBezTo>
                <a:cubicBezTo>
                  <a:pt x="3954" y="1989"/>
                  <a:pt x="3951" y="1993"/>
                  <a:pt x="3946" y="1997"/>
                </a:cubicBezTo>
                <a:cubicBezTo>
                  <a:pt x="3941" y="2002"/>
                  <a:pt x="3936" y="2005"/>
                  <a:pt x="3932" y="2012"/>
                </a:cubicBezTo>
                <a:cubicBezTo>
                  <a:pt x="3932" y="2013"/>
                  <a:pt x="3931" y="2015"/>
                  <a:pt x="3931" y="2017"/>
                </a:cubicBezTo>
                <a:cubicBezTo>
                  <a:pt x="3932" y="2030"/>
                  <a:pt x="3943" y="2039"/>
                  <a:pt x="3949" y="2046"/>
                </a:cubicBezTo>
                <a:cubicBezTo>
                  <a:pt x="3953" y="2050"/>
                  <a:pt x="3959" y="2051"/>
                  <a:pt x="3965" y="2051"/>
                </a:cubicBezTo>
                <a:cubicBezTo>
                  <a:pt x="3974" y="2051"/>
                  <a:pt x="3983" y="2049"/>
                  <a:pt x="3990" y="2046"/>
                </a:cubicBezTo>
                <a:cubicBezTo>
                  <a:pt x="3996" y="2043"/>
                  <a:pt x="4002" y="2039"/>
                  <a:pt x="4007" y="2036"/>
                </a:cubicBezTo>
                <a:cubicBezTo>
                  <a:pt x="4012" y="2032"/>
                  <a:pt x="4016" y="2030"/>
                  <a:pt x="4017" y="2030"/>
                </a:cubicBezTo>
                <a:cubicBezTo>
                  <a:pt x="4020" y="2029"/>
                  <a:pt x="4030" y="2028"/>
                  <a:pt x="4039" y="2028"/>
                </a:cubicBezTo>
                <a:cubicBezTo>
                  <a:pt x="4048" y="2027"/>
                  <a:pt x="4056" y="2027"/>
                  <a:pt x="4056" y="2027"/>
                </a:cubicBezTo>
                <a:cubicBezTo>
                  <a:pt x="4058" y="2027"/>
                  <a:pt x="4060" y="2026"/>
                  <a:pt x="4061" y="2024"/>
                </a:cubicBezTo>
                <a:cubicBezTo>
                  <a:pt x="4061" y="2024"/>
                  <a:pt x="4072" y="2003"/>
                  <a:pt x="4080" y="1993"/>
                </a:cubicBezTo>
                <a:cubicBezTo>
                  <a:pt x="4081" y="1991"/>
                  <a:pt x="4084" y="1990"/>
                  <a:pt x="4089" y="1990"/>
                </a:cubicBezTo>
                <a:cubicBezTo>
                  <a:pt x="4093" y="1990"/>
                  <a:pt x="4097" y="1991"/>
                  <a:pt x="4101" y="1992"/>
                </a:cubicBezTo>
                <a:cubicBezTo>
                  <a:pt x="4104" y="1993"/>
                  <a:pt x="4106" y="1993"/>
                  <a:pt x="4106" y="1993"/>
                </a:cubicBezTo>
                <a:cubicBezTo>
                  <a:pt x="4108" y="1994"/>
                  <a:pt x="4110" y="1994"/>
                  <a:pt x="4112" y="1993"/>
                </a:cubicBezTo>
                <a:cubicBezTo>
                  <a:pt x="4112" y="1993"/>
                  <a:pt x="4113" y="1992"/>
                  <a:pt x="4114" y="1992"/>
                </a:cubicBezTo>
                <a:cubicBezTo>
                  <a:pt x="4117" y="1989"/>
                  <a:pt x="4128" y="1984"/>
                  <a:pt x="4148" y="1978"/>
                </a:cubicBezTo>
                <a:cubicBezTo>
                  <a:pt x="4153" y="1977"/>
                  <a:pt x="4156" y="1977"/>
                  <a:pt x="4158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2" y="1978"/>
                  <a:pt x="4163" y="1986"/>
                  <a:pt x="4171" y="1989"/>
                </a:cubicBezTo>
                <a:cubicBezTo>
                  <a:pt x="4182" y="1994"/>
                  <a:pt x="4195" y="1997"/>
                  <a:pt x="4201" y="2002"/>
                </a:cubicBezTo>
                <a:cubicBezTo>
                  <a:pt x="4202" y="2003"/>
                  <a:pt x="4202" y="2004"/>
                  <a:pt x="4203" y="2007"/>
                </a:cubicBezTo>
                <a:cubicBezTo>
                  <a:pt x="4203" y="2012"/>
                  <a:pt x="4199" y="2021"/>
                  <a:pt x="4198" y="2027"/>
                </a:cubicBezTo>
                <a:cubicBezTo>
                  <a:pt x="4198" y="2027"/>
                  <a:pt x="4198" y="2028"/>
                  <a:pt x="4198" y="2028"/>
                </a:cubicBezTo>
                <a:cubicBezTo>
                  <a:pt x="4198" y="2032"/>
                  <a:pt x="4201" y="2036"/>
                  <a:pt x="4203" y="2036"/>
                </a:cubicBezTo>
                <a:cubicBezTo>
                  <a:pt x="4206" y="2038"/>
                  <a:pt x="4208" y="2038"/>
                  <a:pt x="4210" y="2038"/>
                </a:cubicBezTo>
                <a:cubicBezTo>
                  <a:pt x="4214" y="2038"/>
                  <a:pt x="4218" y="2037"/>
                  <a:pt x="4222" y="2036"/>
                </a:cubicBezTo>
                <a:cubicBezTo>
                  <a:pt x="4225" y="2034"/>
                  <a:pt x="4229" y="2032"/>
                  <a:pt x="4231" y="2026"/>
                </a:cubicBezTo>
                <a:cubicBezTo>
                  <a:pt x="4231" y="2022"/>
                  <a:pt x="4234" y="2017"/>
                  <a:pt x="4243" y="2011"/>
                </a:cubicBezTo>
                <a:cubicBezTo>
                  <a:pt x="4243" y="2013"/>
                  <a:pt x="4242" y="2015"/>
                  <a:pt x="4242" y="2018"/>
                </a:cubicBezTo>
                <a:cubicBezTo>
                  <a:pt x="4242" y="2022"/>
                  <a:pt x="4243" y="2026"/>
                  <a:pt x="4244" y="2030"/>
                </a:cubicBezTo>
                <a:cubicBezTo>
                  <a:pt x="4245" y="2032"/>
                  <a:pt x="4246" y="2033"/>
                  <a:pt x="4247" y="2034"/>
                </a:cubicBezTo>
                <a:cubicBezTo>
                  <a:pt x="4248" y="2036"/>
                  <a:pt x="4250" y="2037"/>
                  <a:pt x="4253" y="2037"/>
                </a:cubicBezTo>
                <a:cubicBezTo>
                  <a:pt x="4255" y="2037"/>
                  <a:pt x="4257" y="2036"/>
                  <a:pt x="4258" y="2035"/>
                </a:cubicBezTo>
                <a:cubicBezTo>
                  <a:pt x="4259" y="2037"/>
                  <a:pt x="4260" y="2038"/>
                  <a:pt x="4260" y="2039"/>
                </a:cubicBezTo>
                <a:cubicBezTo>
                  <a:pt x="4262" y="2043"/>
                  <a:pt x="4264" y="2044"/>
                  <a:pt x="4266" y="2045"/>
                </a:cubicBezTo>
                <a:cubicBezTo>
                  <a:pt x="4269" y="2047"/>
                  <a:pt x="4271" y="2048"/>
                  <a:pt x="4273" y="2050"/>
                </a:cubicBezTo>
                <a:cubicBezTo>
                  <a:pt x="4275" y="2052"/>
                  <a:pt x="4276" y="2053"/>
                  <a:pt x="4276" y="2057"/>
                </a:cubicBezTo>
                <a:cubicBezTo>
                  <a:pt x="4276" y="2064"/>
                  <a:pt x="4276" y="2069"/>
                  <a:pt x="4277" y="2074"/>
                </a:cubicBezTo>
                <a:cubicBezTo>
                  <a:pt x="4277" y="2078"/>
                  <a:pt x="4278" y="2083"/>
                  <a:pt x="4282" y="2086"/>
                </a:cubicBezTo>
                <a:cubicBezTo>
                  <a:pt x="4285" y="2089"/>
                  <a:pt x="4287" y="2088"/>
                  <a:pt x="4290" y="2089"/>
                </a:cubicBezTo>
                <a:cubicBezTo>
                  <a:pt x="4297" y="2090"/>
                  <a:pt x="4305" y="2091"/>
                  <a:pt x="4310" y="2101"/>
                </a:cubicBezTo>
                <a:cubicBezTo>
                  <a:pt x="4313" y="2107"/>
                  <a:pt x="4316" y="2111"/>
                  <a:pt x="4323" y="2112"/>
                </a:cubicBezTo>
                <a:cubicBezTo>
                  <a:pt x="4329" y="2111"/>
                  <a:pt x="4332" y="2107"/>
                  <a:pt x="4334" y="2104"/>
                </a:cubicBezTo>
                <a:cubicBezTo>
                  <a:pt x="4336" y="2101"/>
                  <a:pt x="4338" y="2100"/>
                  <a:pt x="4339" y="2096"/>
                </a:cubicBezTo>
                <a:cubicBezTo>
                  <a:pt x="4339" y="2096"/>
                  <a:pt x="4339" y="2096"/>
                  <a:pt x="4339" y="2096"/>
                </a:cubicBezTo>
                <a:cubicBezTo>
                  <a:pt x="4342" y="2096"/>
                  <a:pt x="4353" y="2102"/>
                  <a:pt x="4355" y="2105"/>
                </a:cubicBezTo>
                <a:cubicBezTo>
                  <a:pt x="4356" y="2107"/>
                  <a:pt x="4359" y="2108"/>
                  <a:pt x="4362" y="2108"/>
                </a:cubicBezTo>
                <a:cubicBezTo>
                  <a:pt x="4369" y="2107"/>
                  <a:pt x="4372" y="2103"/>
                  <a:pt x="4378" y="2100"/>
                </a:cubicBezTo>
                <a:cubicBezTo>
                  <a:pt x="4383" y="2096"/>
                  <a:pt x="4389" y="2092"/>
                  <a:pt x="4396" y="2090"/>
                </a:cubicBezTo>
                <a:cubicBezTo>
                  <a:pt x="4404" y="2087"/>
                  <a:pt x="4408" y="2086"/>
                  <a:pt x="4412" y="2084"/>
                </a:cubicBezTo>
                <a:cubicBezTo>
                  <a:pt x="4416" y="2082"/>
                  <a:pt x="4417" y="2078"/>
                  <a:pt x="4419" y="2075"/>
                </a:cubicBezTo>
                <a:cubicBezTo>
                  <a:pt x="4424" y="2064"/>
                  <a:pt x="4427" y="2043"/>
                  <a:pt x="4437" y="2028"/>
                </a:cubicBezTo>
                <a:cubicBezTo>
                  <a:pt x="4447" y="2011"/>
                  <a:pt x="4462" y="1982"/>
                  <a:pt x="4462" y="1957"/>
                </a:cubicBezTo>
                <a:cubicBezTo>
                  <a:pt x="4462" y="1935"/>
                  <a:pt x="4461" y="1884"/>
                  <a:pt x="4447" y="1858"/>
                </a:cubicBezTo>
                <a:cubicBezTo>
                  <a:pt x="4441" y="1846"/>
                  <a:pt x="4432" y="1834"/>
                  <a:pt x="4425" y="1824"/>
                </a:cubicBezTo>
                <a:close/>
                <a:moveTo>
                  <a:pt x="4055" y="1637"/>
                </a:moveTo>
                <a:cubicBezTo>
                  <a:pt x="4057" y="1639"/>
                  <a:pt x="4060" y="1640"/>
                  <a:pt x="4062" y="1640"/>
                </a:cubicBezTo>
                <a:cubicBezTo>
                  <a:pt x="4062" y="1640"/>
                  <a:pt x="4062" y="1640"/>
                  <a:pt x="4062" y="1640"/>
                </a:cubicBezTo>
                <a:cubicBezTo>
                  <a:pt x="4069" y="1640"/>
                  <a:pt x="4074" y="1635"/>
                  <a:pt x="4079" y="1632"/>
                </a:cubicBezTo>
                <a:cubicBezTo>
                  <a:pt x="4082" y="1629"/>
                  <a:pt x="4085" y="1627"/>
                  <a:pt x="4086" y="1626"/>
                </a:cubicBezTo>
                <a:cubicBezTo>
                  <a:pt x="4088" y="1625"/>
                  <a:pt x="4091" y="1624"/>
                  <a:pt x="4095" y="1623"/>
                </a:cubicBezTo>
                <a:cubicBezTo>
                  <a:pt x="4097" y="1622"/>
                  <a:pt x="4100" y="1620"/>
                  <a:pt x="4103" y="1618"/>
                </a:cubicBezTo>
                <a:cubicBezTo>
                  <a:pt x="4105" y="1616"/>
                  <a:pt x="4108" y="1612"/>
                  <a:pt x="4108" y="1607"/>
                </a:cubicBezTo>
                <a:cubicBezTo>
                  <a:pt x="4107" y="1601"/>
                  <a:pt x="4104" y="1596"/>
                  <a:pt x="4100" y="1592"/>
                </a:cubicBezTo>
                <a:cubicBezTo>
                  <a:pt x="4095" y="1589"/>
                  <a:pt x="4090" y="1586"/>
                  <a:pt x="4084" y="1586"/>
                </a:cubicBezTo>
                <a:cubicBezTo>
                  <a:pt x="4079" y="1586"/>
                  <a:pt x="4074" y="1588"/>
                  <a:pt x="4071" y="1593"/>
                </a:cubicBezTo>
                <a:cubicBezTo>
                  <a:pt x="4068" y="1598"/>
                  <a:pt x="4064" y="1603"/>
                  <a:pt x="4060" y="1608"/>
                </a:cubicBezTo>
                <a:cubicBezTo>
                  <a:pt x="4056" y="1614"/>
                  <a:pt x="4052" y="1619"/>
                  <a:pt x="4052" y="1627"/>
                </a:cubicBezTo>
                <a:cubicBezTo>
                  <a:pt x="4052" y="1627"/>
                  <a:pt x="4052" y="1628"/>
                  <a:pt x="4052" y="1629"/>
                </a:cubicBezTo>
                <a:cubicBezTo>
                  <a:pt x="4052" y="1632"/>
                  <a:pt x="4053" y="1634"/>
                  <a:pt x="4055" y="1637"/>
                </a:cubicBezTo>
                <a:close/>
                <a:moveTo>
                  <a:pt x="4022" y="1470"/>
                </a:moveTo>
                <a:cubicBezTo>
                  <a:pt x="4023" y="1470"/>
                  <a:pt x="4024" y="1470"/>
                  <a:pt x="4025" y="1470"/>
                </a:cubicBezTo>
                <a:cubicBezTo>
                  <a:pt x="4038" y="1469"/>
                  <a:pt x="4065" y="1464"/>
                  <a:pt x="4069" y="1464"/>
                </a:cubicBezTo>
                <a:cubicBezTo>
                  <a:pt x="4076" y="1464"/>
                  <a:pt x="4079" y="1459"/>
                  <a:pt x="4081" y="1455"/>
                </a:cubicBezTo>
                <a:cubicBezTo>
                  <a:pt x="4084" y="1451"/>
                  <a:pt x="4086" y="1447"/>
                  <a:pt x="4086" y="1442"/>
                </a:cubicBezTo>
                <a:cubicBezTo>
                  <a:pt x="4086" y="1441"/>
                  <a:pt x="4086" y="1440"/>
                  <a:pt x="4085" y="1438"/>
                </a:cubicBezTo>
                <a:cubicBezTo>
                  <a:pt x="4083" y="1436"/>
                  <a:pt x="4081" y="1434"/>
                  <a:pt x="4078" y="1434"/>
                </a:cubicBezTo>
                <a:cubicBezTo>
                  <a:pt x="4072" y="1435"/>
                  <a:pt x="4043" y="1441"/>
                  <a:pt x="4036" y="1443"/>
                </a:cubicBezTo>
                <a:cubicBezTo>
                  <a:pt x="4036" y="1443"/>
                  <a:pt x="4036" y="1443"/>
                  <a:pt x="4036" y="1443"/>
                </a:cubicBezTo>
                <a:cubicBezTo>
                  <a:pt x="4033" y="1443"/>
                  <a:pt x="4028" y="1442"/>
                  <a:pt x="4023" y="1442"/>
                </a:cubicBezTo>
                <a:cubicBezTo>
                  <a:pt x="4019" y="1441"/>
                  <a:pt x="4015" y="1440"/>
                  <a:pt x="4015" y="1440"/>
                </a:cubicBezTo>
                <a:cubicBezTo>
                  <a:pt x="4013" y="1440"/>
                  <a:pt x="4011" y="1440"/>
                  <a:pt x="4009" y="1442"/>
                </a:cubicBezTo>
                <a:cubicBezTo>
                  <a:pt x="4006" y="1446"/>
                  <a:pt x="4004" y="1450"/>
                  <a:pt x="4004" y="1455"/>
                </a:cubicBezTo>
                <a:cubicBezTo>
                  <a:pt x="4004" y="1459"/>
                  <a:pt x="4006" y="1463"/>
                  <a:pt x="4010" y="1466"/>
                </a:cubicBezTo>
                <a:cubicBezTo>
                  <a:pt x="4013" y="1469"/>
                  <a:pt x="4017" y="1470"/>
                  <a:pt x="4022" y="1470"/>
                </a:cubicBezTo>
                <a:close/>
                <a:moveTo>
                  <a:pt x="4825" y="1720"/>
                </a:moveTo>
                <a:cubicBezTo>
                  <a:pt x="4825" y="1720"/>
                  <a:pt x="4825" y="1720"/>
                  <a:pt x="4825" y="1720"/>
                </a:cubicBezTo>
                <a:cubicBezTo>
                  <a:pt x="4824" y="1720"/>
                  <a:pt x="4822" y="1719"/>
                  <a:pt x="4821" y="1719"/>
                </a:cubicBezTo>
                <a:cubicBezTo>
                  <a:pt x="4816" y="1720"/>
                  <a:pt x="4812" y="1722"/>
                  <a:pt x="4808" y="1725"/>
                </a:cubicBezTo>
                <a:cubicBezTo>
                  <a:pt x="4797" y="1735"/>
                  <a:pt x="4787" y="1751"/>
                  <a:pt x="4787" y="1752"/>
                </a:cubicBezTo>
                <a:cubicBezTo>
                  <a:pt x="4786" y="1753"/>
                  <a:pt x="4786" y="1755"/>
                  <a:pt x="4786" y="1757"/>
                </a:cubicBezTo>
                <a:cubicBezTo>
                  <a:pt x="4787" y="1758"/>
                  <a:pt x="4788" y="1759"/>
                  <a:pt x="4789" y="1759"/>
                </a:cubicBezTo>
                <a:cubicBezTo>
                  <a:pt x="4792" y="1760"/>
                  <a:pt x="4794" y="1760"/>
                  <a:pt x="4796" y="1760"/>
                </a:cubicBezTo>
                <a:cubicBezTo>
                  <a:pt x="4797" y="1760"/>
                  <a:pt x="4797" y="1760"/>
                  <a:pt x="4797" y="1760"/>
                </a:cubicBezTo>
                <a:cubicBezTo>
                  <a:pt x="4806" y="1760"/>
                  <a:pt x="4813" y="1755"/>
                  <a:pt x="4820" y="1749"/>
                </a:cubicBezTo>
                <a:cubicBezTo>
                  <a:pt x="4826" y="1743"/>
                  <a:pt x="4831" y="1737"/>
                  <a:pt x="4831" y="1729"/>
                </a:cubicBezTo>
                <a:cubicBezTo>
                  <a:pt x="4832" y="1726"/>
                  <a:pt x="4829" y="1722"/>
                  <a:pt x="4825" y="1720"/>
                </a:cubicBezTo>
                <a:close/>
                <a:moveTo>
                  <a:pt x="4791" y="2070"/>
                </a:moveTo>
                <a:cubicBezTo>
                  <a:pt x="4787" y="2070"/>
                  <a:pt x="4785" y="2072"/>
                  <a:pt x="4784" y="2072"/>
                </a:cubicBezTo>
                <a:cubicBezTo>
                  <a:pt x="4782" y="2073"/>
                  <a:pt x="4782" y="2073"/>
                  <a:pt x="4782" y="2073"/>
                </a:cubicBezTo>
                <a:cubicBezTo>
                  <a:pt x="4781" y="2073"/>
                  <a:pt x="4780" y="2073"/>
                  <a:pt x="4777" y="2071"/>
                </a:cubicBezTo>
                <a:cubicBezTo>
                  <a:pt x="4771" y="2067"/>
                  <a:pt x="4770" y="2066"/>
                  <a:pt x="4769" y="2066"/>
                </a:cubicBezTo>
                <a:cubicBezTo>
                  <a:pt x="4769" y="2065"/>
                  <a:pt x="4767" y="2062"/>
                  <a:pt x="4764" y="2055"/>
                </a:cubicBezTo>
                <a:cubicBezTo>
                  <a:pt x="4761" y="2050"/>
                  <a:pt x="4759" y="2044"/>
                  <a:pt x="4757" y="2038"/>
                </a:cubicBezTo>
                <a:cubicBezTo>
                  <a:pt x="4756" y="2035"/>
                  <a:pt x="4755" y="2033"/>
                  <a:pt x="4753" y="2030"/>
                </a:cubicBezTo>
                <a:cubicBezTo>
                  <a:pt x="4751" y="2028"/>
                  <a:pt x="4748" y="2026"/>
                  <a:pt x="4744" y="2026"/>
                </a:cubicBezTo>
                <a:cubicBezTo>
                  <a:pt x="4741" y="2026"/>
                  <a:pt x="4738" y="2027"/>
                  <a:pt x="4736" y="2028"/>
                </a:cubicBezTo>
                <a:cubicBezTo>
                  <a:pt x="4731" y="2031"/>
                  <a:pt x="4731" y="2035"/>
                  <a:pt x="4731" y="2038"/>
                </a:cubicBezTo>
                <a:cubicBezTo>
                  <a:pt x="4731" y="2046"/>
                  <a:pt x="4734" y="2055"/>
                  <a:pt x="4739" y="2061"/>
                </a:cubicBezTo>
                <a:cubicBezTo>
                  <a:pt x="4740" y="2061"/>
                  <a:pt x="4741" y="2065"/>
                  <a:pt x="4742" y="2070"/>
                </a:cubicBezTo>
                <a:cubicBezTo>
                  <a:pt x="4743" y="2074"/>
                  <a:pt x="4744" y="2080"/>
                  <a:pt x="4744" y="2083"/>
                </a:cubicBezTo>
                <a:cubicBezTo>
                  <a:pt x="4744" y="2084"/>
                  <a:pt x="4743" y="2085"/>
                  <a:pt x="4743" y="2085"/>
                </a:cubicBezTo>
                <a:cubicBezTo>
                  <a:pt x="4743" y="2086"/>
                  <a:pt x="4740" y="2088"/>
                  <a:pt x="4737" y="2091"/>
                </a:cubicBezTo>
                <a:cubicBezTo>
                  <a:pt x="4734" y="2093"/>
                  <a:pt x="4730" y="2096"/>
                  <a:pt x="4729" y="2102"/>
                </a:cubicBezTo>
                <a:cubicBezTo>
                  <a:pt x="4729" y="2106"/>
                  <a:pt x="4732" y="2109"/>
                  <a:pt x="4734" y="2111"/>
                </a:cubicBezTo>
                <a:cubicBezTo>
                  <a:pt x="4741" y="2116"/>
                  <a:pt x="4748" y="2116"/>
                  <a:pt x="4753" y="2116"/>
                </a:cubicBezTo>
                <a:cubicBezTo>
                  <a:pt x="4754" y="2116"/>
                  <a:pt x="4754" y="2116"/>
                  <a:pt x="4755" y="2116"/>
                </a:cubicBezTo>
                <a:cubicBezTo>
                  <a:pt x="4753" y="2120"/>
                  <a:pt x="4750" y="2125"/>
                  <a:pt x="4750" y="2131"/>
                </a:cubicBezTo>
                <a:cubicBezTo>
                  <a:pt x="4749" y="2129"/>
                  <a:pt x="4747" y="2127"/>
                  <a:pt x="4744" y="2125"/>
                </a:cubicBezTo>
                <a:cubicBezTo>
                  <a:pt x="4743" y="2123"/>
                  <a:pt x="4740" y="2121"/>
                  <a:pt x="4738" y="2119"/>
                </a:cubicBezTo>
                <a:cubicBezTo>
                  <a:pt x="4736" y="2117"/>
                  <a:pt x="4735" y="2115"/>
                  <a:pt x="4730" y="2115"/>
                </a:cubicBezTo>
                <a:cubicBezTo>
                  <a:pt x="4728" y="2114"/>
                  <a:pt x="4724" y="2118"/>
                  <a:pt x="4724" y="2120"/>
                </a:cubicBezTo>
                <a:cubicBezTo>
                  <a:pt x="4724" y="2121"/>
                  <a:pt x="4722" y="2122"/>
                  <a:pt x="4719" y="2124"/>
                </a:cubicBezTo>
                <a:cubicBezTo>
                  <a:pt x="4716" y="2126"/>
                  <a:pt x="4711" y="2128"/>
                  <a:pt x="4707" y="2132"/>
                </a:cubicBezTo>
                <a:cubicBezTo>
                  <a:pt x="4703" y="2137"/>
                  <a:pt x="4702" y="2141"/>
                  <a:pt x="4701" y="2143"/>
                </a:cubicBezTo>
                <a:cubicBezTo>
                  <a:pt x="4700" y="2145"/>
                  <a:pt x="4698" y="2148"/>
                  <a:pt x="4688" y="2155"/>
                </a:cubicBezTo>
                <a:cubicBezTo>
                  <a:pt x="4669" y="2169"/>
                  <a:pt x="4645" y="2183"/>
                  <a:pt x="4638" y="2199"/>
                </a:cubicBezTo>
                <a:cubicBezTo>
                  <a:pt x="4637" y="2202"/>
                  <a:pt x="4636" y="2205"/>
                  <a:pt x="4636" y="2207"/>
                </a:cubicBezTo>
                <a:cubicBezTo>
                  <a:pt x="4636" y="2214"/>
                  <a:pt x="4640" y="2220"/>
                  <a:pt x="4646" y="2223"/>
                </a:cubicBezTo>
                <a:cubicBezTo>
                  <a:pt x="4651" y="2226"/>
                  <a:pt x="4658" y="2228"/>
                  <a:pt x="4666" y="2228"/>
                </a:cubicBezTo>
                <a:cubicBezTo>
                  <a:pt x="4673" y="2229"/>
                  <a:pt x="4676" y="2230"/>
                  <a:pt x="4680" y="2230"/>
                </a:cubicBezTo>
                <a:cubicBezTo>
                  <a:pt x="4680" y="2230"/>
                  <a:pt x="4680" y="2230"/>
                  <a:pt x="4680" y="2230"/>
                </a:cubicBezTo>
                <a:cubicBezTo>
                  <a:pt x="4684" y="2230"/>
                  <a:pt x="4687" y="2228"/>
                  <a:pt x="4689" y="2225"/>
                </a:cubicBezTo>
                <a:cubicBezTo>
                  <a:pt x="4692" y="2223"/>
                  <a:pt x="4694" y="2220"/>
                  <a:pt x="4698" y="2215"/>
                </a:cubicBezTo>
                <a:cubicBezTo>
                  <a:pt x="4710" y="2199"/>
                  <a:pt x="4721" y="2189"/>
                  <a:pt x="4736" y="2176"/>
                </a:cubicBezTo>
                <a:cubicBezTo>
                  <a:pt x="4750" y="2162"/>
                  <a:pt x="4753" y="2145"/>
                  <a:pt x="4753" y="2139"/>
                </a:cubicBezTo>
                <a:cubicBezTo>
                  <a:pt x="4755" y="2141"/>
                  <a:pt x="4757" y="2142"/>
                  <a:pt x="4759" y="2143"/>
                </a:cubicBezTo>
                <a:cubicBezTo>
                  <a:pt x="4761" y="2143"/>
                  <a:pt x="4762" y="2143"/>
                  <a:pt x="4764" y="2143"/>
                </a:cubicBezTo>
                <a:cubicBezTo>
                  <a:pt x="4771" y="2143"/>
                  <a:pt x="4775" y="2138"/>
                  <a:pt x="4778" y="2134"/>
                </a:cubicBezTo>
                <a:cubicBezTo>
                  <a:pt x="4781" y="2129"/>
                  <a:pt x="4783" y="2124"/>
                  <a:pt x="4785" y="2120"/>
                </a:cubicBezTo>
                <a:cubicBezTo>
                  <a:pt x="4789" y="2110"/>
                  <a:pt x="4793" y="2103"/>
                  <a:pt x="4799" y="2099"/>
                </a:cubicBezTo>
                <a:cubicBezTo>
                  <a:pt x="4803" y="2096"/>
                  <a:pt x="4805" y="2091"/>
                  <a:pt x="4805" y="2088"/>
                </a:cubicBezTo>
                <a:cubicBezTo>
                  <a:pt x="4805" y="2083"/>
                  <a:pt x="4803" y="2079"/>
                  <a:pt x="4801" y="2076"/>
                </a:cubicBezTo>
                <a:cubicBezTo>
                  <a:pt x="4798" y="2073"/>
                  <a:pt x="4796" y="2070"/>
                  <a:pt x="4791" y="2070"/>
                </a:cubicBezTo>
                <a:close/>
                <a:moveTo>
                  <a:pt x="4639" y="1836"/>
                </a:moveTo>
                <a:cubicBezTo>
                  <a:pt x="4646" y="1836"/>
                  <a:pt x="4651" y="1831"/>
                  <a:pt x="4652" y="1824"/>
                </a:cubicBezTo>
                <a:cubicBezTo>
                  <a:pt x="4646" y="1823"/>
                  <a:pt x="4646" y="1823"/>
                  <a:pt x="4646" y="1823"/>
                </a:cubicBezTo>
                <a:cubicBezTo>
                  <a:pt x="4652" y="1825"/>
                  <a:pt x="4652" y="1825"/>
                  <a:pt x="4652" y="1825"/>
                </a:cubicBezTo>
                <a:cubicBezTo>
                  <a:pt x="4652" y="1823"/>
                  <a:pt x="4652" y="1822"/>
                  <a:pt x="4652" y="1821"/>
                </a:cubicBezTo>
                <a:cubicBezTo>
                  <a:pt x="4652" y="1811"/>
                  <a:pt x="4644" y="1801"/>
                  <a:pt x="4624" y="1796"/>
                </a:cubicBezTo>
                <a:cubicBezTo>
                  <a:pt x="4620" y="1795"/>
                  <a:pt x="4617" y="1794"/>
                  <a:pt x="4614" y="1794"/>
                </a:cubicBezTo>
                <a:cubicBezTo>
                  <a:pt x="4613" y="1794"/>
                  <a:pt x="4611" y="1794"/>
                  <a:pt x="4609" y="1795"/>
                </a:cubicBezTo>
                <a:cubicBezTo>
                  <a:pt x="4607" y="1796"/>
                  <a:pt x="4606" y="1799"/>
                  <a:pt x="4606" y="1802"/>
                </a:cubicBezTo>
                <a:cubicBezTo>
                  <a:pt x="4606" y="1805"/>
                  <a:pt x="4607" y="1806"/>
                  <a:pt x="4608" y="1807"/>
                </a:cubicBezTo>
                <a:cubicBezTo>
                  <a:pt x="4610" y="1812"/>
                  <a:pt x="4615" y="1816"/>
                  <a:pt x="4617" y="1821"/>
                </a:cubicBezTo>
                <a:cubicBezTo>
                  <a:pt x="4623" y="1829"/>
                  <a:pt x="4630" y="1836"/>
                  <a:pt x="4639" y="1836"/>
                </a:cubicBezTo>
                <a:cubicBezTo>
                  <a:pt x="4639" y="1836"/>
                  <a:pt x="4639" y="1836"/>
                  <a:pt x="4639" y="1836"/>
                </a:cubicBezTo>
                <a:close/>
                <a:moveTo>
                  <a:pt x="2422" y="804"/>
                </a:moveTo>
                <a:cubicBezTo>
                  <a:pt x="2416" y="804"/>
                  <a:pt x="2413" y="808"/>
                  <a:pt x="2409" y="815"/>
                </a:cubicBezTo>
                <a:cubicBezTo>
                  <a:pt x="2409" y="816"/>
                  <a:pt x="2408" y="817"/>
                  <a:pt x="2408" y="819"/>
                </a:cubicBezTo>
                <a:cubicBezTo>
                  <a:pt x="2408" y="823"/>
                  <a:pt x="2411" y="826"/>
                  <a:pt x="2413" y="827"/>
                </a:cubicBezTo>
                <a:cubicBezTo>
                  <a:pt x="2415" y="828"/>
                  <a:pt x="2417" y="828"/>
                  <a:pt x="2420" y="828"/>
                </a:cubicBezTo>
                <a:cubicBezTo>
                  <a:pt x="2424" y="828"/>
                  <a:pt x="2429" y="827"/>
                  <a:pt x="2432" y="821"/>
                </a:cubicBezTo>
                <a:cubicBezTo>
                  <a:pt x="2432" y="821"/>
                  <a:pt x="2432" y="821"/>
                  <a:pt x="2432" y="821"/>
                </a:cubicBezTo>
                <a:cubicBezTo>
                  <a:pt x="2432" y="819"/>
                  <a:pt x="2433" y="818"/>
                  <a:pt x="2433" y="816"/>
                </a:cubicBezTo>
                <a:cubicBezTo>
                  <a:pt x="2433" y="813"/>
                  <a:pt x="2432" y="811"/>
                  <a:pt x="2430" y="809"/>
                </a:cubicBezTo>
                <a:cubicBezTo>
                  <a:pt x="2429" y="806"/>
                  <a:pt x="2426" y="804"/>
                  <a:pt x="2422" y="804"/>
                </a:cubicBezTo>
                <a:close/>
                <a:moveTo>
                  <a:pt x="4023" y="1526"/>
                </a:moveTo>
                <a:cubicBezTo>
                  <a:pt x="4023" y="1530"/>
                  <a:pt x="4024" y="1536"/>
                  <a:pt x="4028" y="1543"/>
                </a:cubicBezTo>
                <a:cubicBezTo>
                  <a:pt x="4037" y="1556"/>
                  <a:pt x="4051" y="1557"/>
                  <a:pt x="4055" y="1557"/>
                </a:cubicBezTo>
                <a:cubicBezTo>
                  <a:pt x="4056" y="1557"/>
                  <a:pt x="4057" y="1557"/>
                  <a:pt x="4057" y="1557"/>
                </a:cubicBezTo>
                <a:cubicBezTo>
                  <a:pt x="4060" y="1557"/>
                  <a:pt x="4063" y="1554"/>
                  <a:pt x="4063" y="1551"/>
                </a:cubicBezTo>
                <a:cubicBezTo>
                  <a:pt x="4063" y="1550"/>
                  <a:pt x="4062" y="1542"/>
                  <a:pt x="4060" y="1532"/>
                </a:cubicBezTo>
                <a:cubicBezTo>
                  <a:pt x="4058" y="1522"/>
                  <a:pt x="4055" y="1511"/>
                  <a:pt x="4046" y="1504"/>
                </a:cubicBezTo>
                <a:cubicBezTo>
                  <a:pt x="4044" y="1503"/>
                  <a:pt x="4043" y="1502"/>
                  <a:pt x="4041" y="1501"/>
                </a:cubicBezTo>
                <a:cubicBezTo>
                  <a:pt x="4042" y="1501"/>
                  <a:pt x="4043" y="1501"/>
                  <a:pt x="4043" y="1501"/>
                </a:cubicBezTo>
                <a:cubicBezTo>
                  <a:pt x="4049" y="1501"/>
                  <a:pt x="4053" y="1500"/>
                  <a:pt x="4057" y="1497"/>
                </a:cubicBezTo>
                <a:cubicBezTo>
                  <a:pt x="4061" y="1495"/>
                  <a:pt x="4063" y="1490"/>
                  <a:pt x="4063" y="1486"/>
                </a:cubicBezTo>
                <a:cubicBezTo>
                  <a:pt x="4063" y="1484"/>
                  <a:pt x="4063" y="1482"/>
                  <a:pt x="4062" y="1480"/>
                </a:cubicBezTo>
                <a:cubicBezTo>
                  <a:pt x="4058" y="1471"/>
                  <a:pt x="4050" y="1471"/>
                  <a:pt x="4043" y="1471"/>
                </a:cubicBezTo>
                <a:cubicBezTo>
                  <a:pt x="4035" y="1471"/>
                  <a:pt x="4027" y="1472"/>
                  <a:pt x="4023" y="1473"/>
                </a:cubicBezTo>
                <a:cubicBezTo>
                  <a:pt x="4023" y="1473"/>
                  <a:pt x="4023" y="1473"/>
                  <a:pt x="4022" y="1473"/>
                </a:cubicBezTo>
                <a:cubicBezTo>
                  <a:pt x="4021" y="1473"/>
                  <a:pt x="4017" y="1472"/>
                  <a:pt x="4015" y="1471"/>
                </a:cubicBezTo>
                <a:cubicBezTo>
                  <a:pt x="4012" y="1470"/>
                  <a:pt x="4010" y="1469"/>
                  <a:pt x="4010" y="1469"/>
                </a:cubicBezTo>
                <a:cubicBezTo>
                  <a:pt x="4009" y="1467"/>
                  <a:pt x="4007" y="1467"/>
                  <a:pt x="4005" y="1468"/>
                </a:cubicBezTo>
                <a:cubicBezTo>
                  <a:pt x="3999" y="1470"/>
                  <a:pt x="3996" y="1475"/>
                  <a:pt x="3995" y="1480"/>
                </a:cubicBezTo>
                <a:cubicBezTo>
                  <a:pt x="3994" y="1485"/>
                  <a:pt x="3994" y="1489"/>
                  <a:pt x="3993" y="1496"/>
                </a:cubicBezTo>
                <a:cubicBezTo>
                  <a:pt x="3992" y="1504"/>
                  <a:pt x="3986" y="1511"/>
                  <a:pt x="3986" y="1520"/>
                </a:cubicBezTo>
                <a:cubicBezTo>
                  <a:pt x="3986" y="1525"/>
                  <a:pt x="3988" y="1529"/>
                  <a:pt x="3992" y="1532"/>
                </a:cubicBezTo>
                <a:cubicBezTo>
                  <a:pt x="3994" y="1534"/>
                  <a:pt x="3996" y="1534"/>
                  <a:pt x="3999" y="1534"/>
                </a:cubicBezTo>
                <a:cubicBezTo>
                  <a:pt x="4007" y="1534"/>
                  <a:pt x="4011" y="1529"/>
                  <a:pt x="4016" y="1525"/>
                </a:cubicBezTo>
                <a:cubicBezTo>
                  <a:pt x="4019" y="1522"/>
                  <a:pt x="4021" y="1520"/>
                  <a:pt x="4022" y="1519"/>
                </a:cubicBezTo>
                <a:cubicBezTo>
                  <a:pt x="4023" y="1521"/>
                  <a:pt x="4023" y="1523"/>
                  <a:pt x="4023" y="1526"/>
                </a:cubicBezTo>
                <a:close/>
                <a:moveTo>
                  <a:pt x="4598" y="517"/>
                </a:moveTo>
                <a:cubicBezTo>
                  <a:pt x="4598" y="516"/>
                  <a:pt x="4598" y="514"/>
                  <a:pt x="4599" y="511"/>
                </a:cubicBezTo>
                <a:cubicBezTo>
                  <a:pt x="4603" y="504"/>
                  <a:pt x="4605" y="498"/>
                  <a:pt x="4608" y="496"/>
                </a:cubicBezTo>
                <a:cubicBezTo>
                  <a:pt x="4611" y="493"/>
                  <a:pt x="4618" y="490"/>
                  <a:pt x="4634" y="490"/>
                </a:cubicBezTo>
                <a:cubicBezTo>
                  <a:pt x="4662" y="490"/>
                  <a:pt x="4659" y="492"/>
                  <a:pt x="4672" y="492"/>
                </a:cubicBezTo>
                <a:cubicBezTo>
                  <a:pt x="4676" y="492"/>
                  <a:pt x="4680" y="492"/>
                  <a:pt x="4685" y="491"/>
                </a:cubicBezTo>
                <a:cubicBezTo>
                  <a:pt x="4700" y="491"/>
                  <a:pt x="4711" y="485"/>
                  <a:pt x="4721" y="480"/>
                </a:cubicBezTo>
                <a:cubicBezTo>
                  <a:pt x="4730" y="474"/>
                  <a:pt x="4739" y="469"/>
                  <a:pt x="4751" y="465"/>
                </a:cubicBezTo>
                <a:cubicBezTo>
                  <a:pt x="4771" y="458"/>
                  <a:pt x="4788" y="454"/>
                  <a:pt x="4797" y="454"/>
                </a:cubicBezTo>
                <a:cubicBezTo>
                  <a:pt x="4800" y="454"/>
                  <a:pt x="4801" y="454"/>
                  <a:pt x="4802" y="455"/>
                </a:cubicBezTo>
                <a:cubicBezTo>
                  <a:pt x="4805" y="456"/>
                  <a:pt x="4809" y="457"/>
                  <a:pt x="4812" y="457"/>
                </a:cubicBezTo>
                <a:cubicBezTo>
                  <a:pt x="4815" y="457"/>
                  <a:pt x="4818" y="457"/>
                  <a:pt x="4821" y="455"/>
                </a:cubicBezTo>
                <a:cubicBezTo>
                  <a:pt x="4823" y="454"/>
                  <a:pt x="4826" y="450"/>
                  <a:pt x="4826" y="447"/>
                </a:cubicBezTo>
                <a:cubicBezTo>
                  <a:pt x="4826" y="443"/>
                  <a:pt x="4824" y="440"/>
                  <a:pt x="4822" y="437"/>
                </a:cubicBezTo>
                <a:cubicBezTo>
                  <a:pt x="4818" y="433"/>
                  <a:pt x="4813" y="428"/>
                  <a:pt x="4809" y="424"/>
                </a:cubicBezTo>
                <a:cubicBezTo>
                  <a:pt x="4808" y="423"/>
                  <a:pt x="4806" y="421"/>
                  <a:pt x="4805" y="420"/>
                </a:cubicBezTo>
                <a:cubicBezTo>
                  <a:pt x="4809" y="419"/>
                  <a:pt x="4812" y="418"/>
                  <a:pt x="4816" y="416"/>
                </a:cubicBezTo>
                <a:cubicBezTo>
                  <a:pt x="4821" y="413"/>
                  <a:pt x="4826" y="409"/>
                  <a:pt x="4828" y="402"/>
                </a:cubicBezTo>
                <a:cubicBezTo>
                  <a:pt x="4828" y="400"/>
                  <a:pt x="4828" y="398"/>
                  <a:pt x="4828" y="396"/>
                </a:cubicBezTo>
                <a:cubicBezTo>
                  <a:pt x="4828" y="385"/>
                  <a:pt x="4821" y="374"/>
                  <a:pt x="4822" y="367"/>
                </a:cubicBezTo>
                <a:cubicBezTo>
                  <a:pt x="4822" y="365"/>
                  <a:pt x="4822" y="364"/>
                  <a:pt x="4823" y="362"/>
                </a:cubicBezTo>
                <a:cubicBezTo>
                  <a:pt x="4826" y="359"/>
                  <a:pt x="4827" y="355"/>
                  <a:pt x="4827" y="351"/>
                </a:cubicBezTo>
                <a:cubicBezTo>
                  <a:pt x="4827" y="344"/>
                  <a:pt x="4823" y="338"/>
                  <a:pt x="4818" y="334"/>
                </a:cubicBezTo>
                <a:cubicBezTo>
                  <a:pt x="4813" y="330"/>
                  <a:pt x="4807" y="326"/>
                  <a:pt x="4801" y="325"/>
                </a:cubicBezTo>
                <a:cubicBezTo>
                  <a:pt x="4798" y="324"/>
                  <a:pt x="4793" y="324"/>
                  <a:pt x="4788" y="324"/>
                </a:cubicBezTo>
                <a:cubicBezTo>
                  <a:pt x="4778" y="324"/>
                  <a:pt x="4766" y="325"/>
                  <a:pt x="4756" y="325"/>
                </a:cubicBezTo>
                <a:cubicBezTo>
                  <a:pt x="4746" y="325"/>
                  <a:pt x="4738" y="323"/>
                  <a:pt x="4737" y="323"/>
                </a:cubicBezTo>
                <a:cubicBezTo>
                  <a:pt x="4730" y="318"/>
                  <a:pt x="4719" y="313"/>
                  <a:pt x="4710" y="312"/>
                </a:cubicBezTo>
                <a:cubicBezTo>
                  <a:pt x="4707" y="312"/>
                  <a:pt x="4704" y="313"/>
                  <a:pt x="4702" y="315"/>
                </a:cubicBezTo>
                <a:cubicBezTo>
                  <a:pt x="4698" y="319"/>
                  <a:pt x="4695" y="325"/>
                  <a:pt x="4691" y="332"/>
                </a:cubicBezTo>
                <a:cubicBezTo>
                  <a:pt x="4689" y="335"/>
                  <a:pt x="4688" y="338"/>
                  <a:pt x="4687" y="340"/>
                </a:cubicBezTo>
                <a:cubicBezTo>
                  <a:pt x="4686" y="339"/>
                  <a:pt x="4684" y="338"/>
                  <a:pt x="4681" y="333"/>
                </a:cubicBezTo>
                <a:cubicBezTo>
                  <a:pt x="4676" y="325"/>
                  <a:pt x="4666" y="323"/>
                  <a:pt x="4657" y="321"/>
                </a:cubicBezTo>
                <a:cubicBezTo>
                  <a:pt x="4647" y="319"/>
                  <a:pt x="4636" y="319"/>
                  <a:pt x="4628" y="319"/>
                </a:cubicBezTo>
                <a:cubicBezTo>
                  <a:pt x="4624" y="319"/>
                  <a:pt x="4621" y="319"/>
                  <a:pt x="4619" y="319"/>
                </a:cubicBezTo>
                <a:cubicBezTo>
                  <a:pt x="4607" y="319"/>
                  <a:pt x="4594" y="322"/>
                  <a:pt x="4582" y="323"/>
                </a:cubicBezTo>
                <a:cubicBezTo>
                  <a:pt x="4575" y="324"/>
                  <a:pt x="4570" y="326"/>
                  <a:pt x="4567" y="325"/>
                </a:cubicBezTo>
                <a:cubicBezTo>
                  <a:pt x="4564" y="325"/>
                  <a:pt x="4562" y="325"/>
                  <a:pt x="4558" y="321"/>
                </a:cubicBezTo>
                <a:cubicBezTo>
                  <a:pt x="4548" y="310"/>
                  <a:pt x="4534" y="306"/>
                  <a:pt x="4531" y="303"/>
                </a:cubicBezTo>
                <a:cubicBezTo>
                  <a:pt x="4528" y="300"/>
                  <a:pt x="4524" y="300"/>
                  <a:pt x="4520" y="299"/>
                </a:cubicBezTo>
                <a:cubicBezTo>
                  <a:pt x="4516" y="298"/>
                  <a:pt x="4511" y="298"/>
                  <a:pt x="4505" y="298"/>
                </a:cubicBezTo>
                <a:cubicBezTo>
                  <a:pt x="4496" y="298"/>
                  <a:pt x="4486" y="299"/>
                  <a:pt x="4477" y="300"/>
                </a:cubicBezTo>
                <a:cubicBezTo>
                  <a:pt x="4461" y="302"/>
                  <a:pt x="4445" y="303"/>
                  <a:pt x="4440" y="303"/>
                </a:cubicBezTo>
                <a:cubicBezTo>
                  <a:pt x="4439" y="302"/>
                  <a:pt x="4437" y="301"/>
                  <a:pt x="4435" y="300"/>
                </a:cubicBezTo>
                <a:cubicBezTo>
                  <a:pt x="4431" y="298"/>
                  <a:pt x="4426" y="295"/>
                  <a:pt x="4419" y="290"/>
                </a:cubicBezTo>
                <a:cubicBezTo>
                  <a:pt x="4412" y="285"/>
                  <a:pt x="4405" y="281"/>
                  <a:pt x="4399" y="278"/>
                </a:cubicBezTo>
                <a:cubicBezTo>
                  <a:pt x="4393" y="275"/>
                  <a:pt x="4388" y="273"/>
                  <a:pt x="4383" y="272"/>
                </a:cubicBezTo>
                <a:cubicBezTo>
                  <a:pt x="4379" y="272"/>
                  <a:pt x="4363" y="275"/>
                  <a:pt x="4350" y="275"/>
                </a:cubicBezTo>
                <a:cubicBezTo>
                  <a:pt x="4344" y="276"/>
                  <a:pt x="4339" y="274"/>
                  <a:pt x="4339" y="274"/>
                </a:cubicBezTo>
                <a:cubicBezTo>
                  <a:pt x="4331" y="267"/>
                  <a:pt x="4324" y="263"/>
                  <a:pt x="4316" y="262"/>
                </a:cubicBezTo>
                <a:cubicBezTo>
                  <a:pt x="4321" y="260"/>
                  <a:pt x="4327" y="259"/>
                  <a:pt x="4334" y="257"/>
                </a:cubicBezTo>
                <a:cubicBezTo>
                  <a:pt x="4343" y="254"/>
                  <a:pt x="4351" y="251"/>
                  <a:pt x="4351" y="251"/>
                </a:cubicBezTo>
                <a:cubicBezTo>
                  <a:pt x="4353" y="250"/>
                  <a:pt x="4354" y="249"/>
                  <a:pt x="4355" y="247"/>
                </a:cubicBezTo>
                <a:cubicBezTo>
                  <a:pt x="4355" y="246"/>
                  <a:pt x="4355" y="244"/>
                  <a:pt x="4354" y="242"/>
                </a:cubicBezTo>
                <a:cubicBezTo>
                  <a:pt x="4354" y="242"/>
                  <a:pt x="4351" y="238"/>
                  <a:pt x="4347" y="234"/>
                </a:cubicBezTo>
                <a:cubicBezTo>
                  <a:pt x="4343" y="229"/>
                  <a:pt x="4337" y="224"/>
                  <a:pt x="4328" y="224"/>
                </a:cubicBezTo>
                <a:cubicBezTo>
                  <a:pt x="4324" y="224"/>
                  <a:pt x="4316" y="223"/>
                  <a:pt x="4308" y="221"/>
                </a:cubicBezTo>
                <a:cubicBezTo>
                  <a:pt x="4301" y="219"/>
                  <a:pt x="4295" y="217"/>
                  <a:pt x="4290" y="217"/>
                </a:cubicBezTo>
                <a:cubicBezTo>
                  <a:pt x="4288" y="217"/>
                  <a:pt x="4285" y="218"/>
                  <a:pt x="4284" y="219"/>
                </a:cubicBezTo>
                <a:cubicBezTo>
                  <a:pt x="4283" y="220"/>
                  <a:pt x="4282" y="221"/>
                  <a:pt x="4282" y="222"/>
                </a:cubicBezTo>
                <a:cubicBezTo>
                  <a:pt x="4281" y="222"/>
                  <a:pt x="4280" y="222"/>
                  <a:pt x="4279" y="222"/>
                </a:cubicBezTo>
                <a:cubicBezTo>
                  <a:pt x="4271" y="220"/>
                  <a:pt x="4264" y="216"/>
                  <a:pt x="4255" y="216"/>
                </a:cubicBezTo>
                <a:cubicBezTo>
                  <a:pt x="4251" y="216"/>
                  <a:pt x="4247" y="217"/>
                  <a:pt x="4244" y="220"/>
                </a:cubicBezTo>
                <a:cubicBezTo>
                  <a:pt x="4242" y="222"/>
                  <a:pt x="4239" y="224"/>
                  <a:pt x="4235" y="226"/>
                </a:cubicBezTo>
                <a:cubicBezTo>
                  <a:pt x="4232" y="229"/>
                  <a:pt x="4229" y="232"/>
                  <a:pt x="4228" y="238"/>
                </a:cubicBezTo>
                <a:cubicBezTo>
                  <a:pt x="4228" y="241"/>
                  <a:pt x="4230" y="244"/>
                  <a:pt x="4232" y="246"/>
                </a:cubicBezTo>
                <a:cubicBezTo>
                  <a:pt x="4234" y="248"/>
                  <a:pt x="4237" y="249"/>
                  <a:pt x="4240" y="250"/>
                </a:cubicBezTo>
                <a:cubicBezTo>
                  <a:pt x="4250" y="253"/>
                  <a:pt x="4259" y="253"/>
                  <a:pt x="4265" y="253"/>
                </a:cubicBezTo>
                <a:cubicBezTo>
                  <a:pt x="4272" y="253"/>
                  <a:pt x="4275" y="255"/>
                  <a:pt x="4275" y="255"/>
                </a:cubicBezTo>
                <a:cubicBezTo>
                  <a:pt x="4276" y="257"/>
                  <a:pt x="4276" y="258"/>
                  <a:pt x="4276" y="259"/>
                </a:cubicBezTo>
                <a:cubicBezTo>
                  <a:pt x="4276" y="261"/>
                  <a:pt x="4274" y="264"/>
                  <a:pt x="4274" y="270"/>
                </a:cubicBezTo>
                <a:cubicBezTo>
                  <a:pt x="4274" y="270"/>
                  <a:pt x="4272" y="276"/>
                  <a:pt x="4269" y="280"/>
                </a:cubicBezTo>
                <a:cubicBezTo>
                  <a:pt x="4267" y="284"/>
                  <a:pt x="4263" y="288"/>
                  <a:pt x="4262" y="288"/>
                </a:cubicBezTo>
                <a:cubicBezTo>
                  <a:pt x="4262" y="288"/>
                  <a:pt x="4262" y="288"/>
                  <a:pt x="4262" y="288"/>
                </a:cubicBezTo>
                <a:cubicBezTo>
                  <a:pt x="4260" y="288"/>
                  <a:pt x="4257" y="287"/>
                  <a:pt x="4251" y="287"/>
                </a:cubicBezTo>
                <a:cubicBezTo>
                  <a:pt x="4248" y="287"/>
                  <a:pt x="4243" y="289"/>
                  <a:pt x="4238" y="292"/>
                </a:cubicBezTo>
                <a:cubicBezTo>
                  <a:pt x="4234" y="294"/>
                  <a:pt x="4224" y="296"/>
                  <a:pt x="4216" y="296"/>
                </a:cubicBezTo>
                <a:cubicBezTo>
                  <a:pt x="4213" y="296"/>
                  <a:pt x="4211" y="296"/>
                  <a:pt x="4210" y="296"/>
                </a:cubicBezTo>
                <a:cubicBezTo>
                  <a:pt x="4206" y="296"/>
                  <a:pt x="4203" y="295"/>
                  <a:pt x="4201" y="295"/>
                </a:cubicBezTo>
                <a:cubicBezTo>
                  <a:pt x="4199" y="296"/>
                  <a:pt x="4197" y="295"/>
                  <a:pt x="4196" y="296"/>
                </a:cubicBezTo>
                <a:cubicBezTo>
                  <a:pt x="4195" y="295"/>
                  <a:pt x="4194" y="294"/>
                  <a:pt x="4193" y="293"/>
                </a:cubicBezTo>
                <a:cubicBezTo>
                  <a:pt x="4190" y="291"/>
                  <a:pt x="4188" y="288"/>
                  <a:pt x="4182" y="287"/>
                </a:cubicBezTo>
                <a:cubicBezTo>
                  <a:pt x="4181" y="287"/>
                  <a:pt x="4180" y="288"/>
                  <a:pt x="4178" y="288"/>
                </a:cubicBezTo>
                <a:cubicBezTo>
                  <a:pt x="4174" y="291"/>
                  <a:pt x="4169" y="295"/>
                  <a:pt x="4164" y="300"/>
                </a:cubicBezTo>
                <a:cubicBezTo>
                  <a:pt x="4159" y="304"/>
                  <a:pt x="4152" y="307"/>
                  <a:pt x="4152" y="307"/>
                </a:cubicBezTo>
                <a:cubicBezTo>
                  <a:pt x="4152" y="307"/>
                  <a:pt x="4152" y="307"/>
                  <a:pt x="4152" y="307"/>
                </a:cubicBezTo>
                <a:cubicBezTo>
                  <a:pt x="4148" y="306"/>
                  <a:pt x="4139" y="298"/>
                  <a:pt x="4139" y="291"/>
                </a:cubicBezTo>
                <a:cubicBezTo>
                  <a:pt x="4139" y="285"/>
                  <a:pt x="4139" y="278"/>
                  <a:pt x="4137" y="272"/>
                </a:cubicBezTo>
                <a:cubicBezTo>
                  <a:pt x="4136" y="267"/>
                  <a:pt x="4135" y="262"/>
                  <a:pt x="4130" y="258"/>
                </a:cubicBezTo>
                <a:cubicBezTo>
                  <a:pt x="4128" y="257"/>
                  <a:pt x="4126" y="257"/>
                  <a:pt x="4124" y="256"/>
                </a:cubicBezTo>
                <a:cubicBezTo>
                  <a:pt x="4118" y="255"/>
                  <a:pt x="4108" y="254"/>
                  <a:pt x="4099" y="254"/>
                </a:cubicBezTo>
                <a:cubicBezTo>
                  <a:pt x="4095" y="254"/>
                  <a:pt x="4091" y="254"/>
                  <a:pt x="4088" y="255"/>
                </a:cubicBezTo>
                <a:cubicBezTo>
                  <a:pt x="4084" y="255"/>
                  <a:pt x="4074" y="256"/>
                  <a:pt x="4065" y="258"/>
                </a:cubicBezTo>
                <a:cubicBezTo>
                  <a:pt x="4060" y="259"/>
                  <a:pt x="4056" y="260"/>
                  <a:pt x="4052" y="261"/>
                </a:cubicBezTo>
                <a:cubicBezTo>
                  <a:pt x="4048" y="262"/>
                  <a:pt x="4045" y="263"/>
                  <a:pt x="4042" y="266"/>
                </a:cubicBezTo>
                <a:cubicBezTo>
                  <a:pt x="4040" y="269"/>
                  <a:pt x="4027" y="274"/>
                  <a:pt x="4021" y="274"/>
                </a:cubicBezTo>
                <a:cubicBezTo>
                  <a:pt x="4020" y="274"/>
                  <a:pt x="4016" y="272"/>
                  <a:pt x="4011" y="269"/>
                </a:cubicBezTo>
                <a:cubicBezTo>
                  <a:pt x="4006" y="267"/>
                  <a:pt x="3999" y="263"/>
                  <a:pt x="3990" y="261"/>
                </a:cubicBezTo>
                <a:cubicBezTo>
                  <a:pt x="3976" y="259"/>
                  <a:pt x="3953" y="259"/>
                  <a:pt x="3939" y="259"/>
                </a:cubicBezTo>
                <a:cubicBezTo>
                  <a:pt x="3933" y="259"/>
                  <a:pt x="3930" y="260"/>
                  <a:pt x="3927" y="260"/>
                </a:cubicBezTo>
                <a:cubicBezTo>
                  <a:pt x="3927" y="260"/>
                  <a:pt x="3927" y="260"/>
                  <a:pt x="3927" y="260"/>
                </a:cubicBezTo>
                <a:cubicBezTo>
                  <a:pt x="3926" y="260"/>
                  <a:pt x="3923" y="259"/>
                  <a:pt x="3922" y="259"/>
                </a:cubicBezTo>
                <a:cubicBezTo>
                  <a:pt x="3924" y="256"/>
                  <a:pt x="3927" y="253"/>
                  <a:pt x="3930" y="250"/>
                </a:cubicBezTo>
                <a:cubicBezTo>
                  <a:pt x="3933" y="244"/>
                  <a:pt x="3937" y="239"/>
                  <a:pt x="3937" y="232"/>
                </a:cubicBezTo>
                <a:cubicBezTo>
                  <a:pt x="3937" y="227"/>
                  <a:pt x="3935" y="223"/>
                  <a:pt x="3931" y="220"/>
                </a:cubicBezTo>
                <a:cubicBezTo>
                  <a:pt x="3918" y="210"/>
                  <a:pt x="3895" y="211"/>
                  <a:pt x="3885" y="209"/>
                </a:cubicBezTo>
                <a:cubicBezTo>
                  <a:pt x="3878" y="208"/>
                  <a:pt x="3870" y="206"/>
                  <a:pt x="3861" y="206"/>
                </a:cubicBezTo>
                <a:cubicBezTo>
                  <a:pt x="3856" y="206"/>
                  <a:pt x="3851" y="207"/>
                  <a:pt x="3846" y="208"/>
                </a:cubicBezTo>
                <a:cubicBezTo>
                  <a:pt x="3840" y="209"/>
                  <a:pt x="3835" y="211"/>
                  <a:pt x="3831" y="213"/>
                </a:cubicBezTo>
                <a:cubicBezTo>
                  <a:pt x="3830" y="213"/>
                  <a:pt x="3830" y="213"/>
                  <a:pt x="3830" y="213"/>
                </a:cubicBezTo>
                <a:cubicBezTo>
                  <a:pt x="3830" y="212"/>
                  <a:pt x="3829" y="211"/>
                  <a:pt x="3829" y="211"/>
                </a:cubicBezTo>
                <a:cubicBezTo>
                  <a:pt x="3828" y="210"/>
                  <a:pt x="3828" y="210"/>
                  <a:pt x="3827" y="210"/>
                </a:cubicBezTo>
                <a:cubicBezTo>
                  <a:pt x="3826" y="209"/>
                  <a:pt x="3823" y="207"/>
                  <a:pt x="3817" y="204"/>
                </a:cubicBezTo>
                <a:cubicBezTo>
                  <a:pt x="3802" y="197"/>
                  <a:pt x="3791" y="194"/>
                  <a:pt x="3783" y="194"/>
                </a:cubicBezTo>
                <a:cubicBezTo>
                  <a:pt x="3777" y="194"/>
                  <a:pt x="3772" y="195"/>
                  <a:pt x="3768" y="197"/>
                </a:cubicBezTo>
                <a:cubicBezTo>
                  <a:pt x="3766" y="199"/>
                  <a:pt x="3765" y="200"/>
                  <a:pt x="3764" y="201"/>
                </a:cubicBezTo>
                <a:cubicBezTo>
                  <a:pt x="3762" y="203"/>
                  <a:pt x="3763" y="202"/>
                  <a:pt x="3762" y="203"/>
                </a:cubicBezTo>
                <a:cubicBezTo>
                  <a:pt x="3761" y="203"/>
                  <a:pt x="3758" y="204"/>
                  <a:pt x="3752" y="207"/>
                </a:cubicBezTo>
                <a:cubicBezTo>
                  <a:pt x="3734" y="215"/>
                  <a:pt x="3723" y="220"/>
                  <a:pt x="3719" y="220"/>
                </a:cubicBezTo>
                <a:cubicBezTo>
                  <a:pt x="3719" y="220"/>
                  <a:pt x="3719" y="220"/>
                  <a:pt x="3719" y="220"/>
                </a:cubicBezTo>
                <a:cubicBezTo>
                  <a:pt x="3717" y="220"/>
                  <a:pt x="3709" y="219"/>
                  <a:pt x="3702" y="217"/>
                </a:cubicBezTo>
                <a:cubicBezTo>
                  <a:pt x="3698" y="216"/>
                  <a:pt x="3694" y="215"/>
                  <a:pt x="3692" y="214"/>
                </a:cubicBezTo>
                <a:cubicBezTo>
                  <a:pt x="3690" y="214"/>
                  <a:pt x="3689" y="214"/>
                  <a:pt x="3689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4" y="211"/>
                  <a:pt x="3683" y="211"/>
                  <a:pt x="3681" y="211"/>
                </a:cubicBezTo>
                <a:cubicBezTo>
                  <a:pt x="3673" y="211"/>
                  <a:pt x="3663" y="215"/>
                  <a:pt x="3654" y="219"/>
                </a:cubicBezTo>
                <a:cubicBezTo>
                  <a:pt x="3643" y="225"/>
                  <a:pt x="3636" y="231"/>
                  <a:pt x="3630" y="230"/>
                </a:cubicBezTo>
                <a:cubicBezTo>
                  <a:pt x="3629" y="230"/>
                  <a:pt x="3628" y="230"/>
                  <a:pt x="3626" y="230"/>
                </a:cubicBezTo>
                <a:cubicBezTo>
                  <a:pt x="3621" y="228"/>
                  <a:pt x="3615" y="228"/>
                  <a:pt x="3608" y="228"/>
                </a:cubicBezTo>
                <a:cubicBezTo>
                  <a:pt x="3599" y="228"/>
                  <a:pt x="3589" y="229"/>
                  <a:pt x="3581" y="233"/>
                </a:cubicBezTo>
                <a:cubicBezTo>
                  <a:pt x="3571" y="238"/>
                  <a:pt x="3562" y="238"/>
                  <a:pt x="3549" y="249"/>
                </a:cubicBezTo>
                <a:cubicBezTo>
                  <a:pt x="3544" y="253"/>
                  <a:pt x="3536" y="257"/>
                  <a:pt x="3529" y="259"/>
                </a:cubicBezTo>
                <a:cubicBezTo>
                  <a:pt x="3525" y="261"/>
                  <a:pt x="3520" y="262"/>
                  <a:pt x="3519" y="263"/>
                </a:cubicBezTo>
                <a:cubicBezTo>
                  <a:pt x="3514" y="262"/>
                  <a:pt x="3499" y="261"/>
                  <a:pt x="3489" y="261"/>
                </a:cubicBezTo>
                <a:cubicBezTo>
                  <a:pt x="3485" y="261"/>
                  <a:pt x="3481" y="261"/>
                  <a:pt x="3476" y="262"/>
                </a:cubicBezTo>
                <a:cubicBezTo>
                  <a:pt x="3474" y="262"/>
                  <a:pt x="3472" y="263"/>
                  <a:pt x="3470" y="264"/>
                </a:cubicBezTo>
                <a:cubicBezTo>
                  <a:pt x="3468" y="265"/>
                  <a:pt x="3465" y="268"/>
                  <a:pt x="3465" y="272"/>
                </a:cubicBezTo>
                <a:cubicBezTo>
                  <a:pt x="3465" y="276"/>
                  <a:pt x="3467" y="278"/>
                  <a:pt x="3470" y="281"/>
                </a:cubicBezTo>
                <a:cubicBezTo>
                  <a:pt x="3476" y="287"/>
                  <a:pt x="3485" y="292"/>
                  <a:pt x="3494" y="296"/>
                </a:cubicBezTo>
                <a:cubicBezTo>
                  <a:pt x="3494" y="296"/>
                  <a:pt x="3494" y="297"/>
                  <a:pt x="3494" y="297"/>
                </a:cubicBezTo>
                <a:cubicBezTo>
                  <a:pt x="3492" y="296"/>
                  <a:pt x="3490" y="295"/>
                  <a:pt x="3487" y="293"/>
                </a:cubicBezTo>
                <a:cubicBezTo>
                  <a:pt x="3480" y="291"/>
                  <a:pt x="3476" y="290"/>
                  <a:pt x="3474" y="289"/>
                </a:cubicBezTo>
                <a:cubicBezTo>
                  <a:pt x="3473" y="289"/>
                  <a:pt x="3471" y="287"/>
                  <a:pt x="3465" y="281"/>
                </a:cubicBezTo>
                <a:cubicBezTo>
                  <a:pt x="3458" y="274"/>
                  <a:pt x="3450" y="270"/>
                  <a:pt x="3443" y="270"/>
                </a:cubicBezTo>
                <a:cubicBezTo>
                  <a:pt x="3436" y="270"/>
                  <a:pt x="3429" y="274"/>
                  <a:pt x="3426" y="279"/>
                </a:cubicBezTo>
                <a:cubicBezTo>
                  <a:pt x="3421" y="285"/>
                  <a:pt x="3421" y="292"/>
                  <a:pt x="3420" y="297"/>
                </a:cubicBezTo>
                <a:cubicBezTo>
                  <a:pt x="3420" y="300"/>
                  <a:pt x="3420" y="302"/>
                  <a:pt x="3419" y="303"/>
                </a:cubicBezTo>
                <a:cubicBezTo>
                  <a:pt x="3419" y="303"/>
                  <a:pt x="3419" y="303"/>
                  <a:pt x="3419" y="303"/>
                </a:cubicBezTo>
                <a:cubicBezTo>
                  <a:pt x="3416" y="304"/>
                  <a:pt x="3413" y="305"/>
                  <a:pt x="3412" y="305"/>
                </a:cubicBezTo>
                <a:cubicBezTo>
                  <a:pt x="3412" y="305"/>
                  <a:pt x="3411" y="304"/>
                  <a:pt x="3411" y="303"/>
                </a:cubicBezTo>
                <a:cubicBezTo>
                  <a:pt x="3411" y="298"/>
                  <a:pt x="3411" y="291"/>
                  <a:pt x="3410" y="286"/>
                </a:cubicBezTo>
                <a:cubicBezTo>
                  <a:pt x="3410" y="283"/>
                  <a:pt x="3409" y="280"/>
                  <a:pt x="3408" y="278"/>
                </a:cubicBezTo>
                <a:cubicBezTo>
                  <a:pt x="3408" y="276"/>
                  <a:pt x="3407" y="275"/>
                  <a:pt x="3406" y="274"/>
                </a:cubicBezTo>
                <a:cubicBezTo>
                  <a:pt x="3405" y="273"/>
                  <a:pt x="3403" y="271"/>
                  <a:pt x="3400" y="271"/>
                </a:cubicBezTo>
                <a:cubicBezTo>
                  <a:pt x="3394" y="272"/>
                  <a:pt x="3393" y="275"/>
                  <a:pt x="3391" y="278"/>
                </a:cubicBezTo>
                <a:cubicBezTo>
                  <a:pt x="3387" y="285"/>
                  <a:pt x="3384" y="288"/>
                  <a:pt x="3382" y="291"/>
                </a:cubicBezTo>
                <a:cubicBezTo>
                  <a:pt x="3380" y="293"/>
                  <a:pt x="3378" y="297"/>
                  <a:pt x="3379" y="302"/>
                </a:cubicBezTo>
                <a:cubicBezTo>
                  <a:pt x="3379" y="311"/>
                  <a:pt x="3384" y="316"/>
                  <a:pt x="3384" y="323"/>
                </a:cubicBezTo>
                <a:cubicBezTo>
                  <a:pt x="3384" y="324"/>
                  <a:pt x="3384" y="326"/>
                  <a:pt x="3383" y="327"/>
                </a:cubicBezTo>
                <a:cubicBezTo>
                  <a:pt x="3382" y="333"/>
                  <a:pt x="3382" y="338"/>
                  <a:pt x="3382" y="342"/>
                </a:cubicBezTo>
                <a:cubicBezTo>
                  <a:pt x="3382" y="344"/>
                  <a:pt x="3382" y="347"/>
                  <a:pt x="3383" y="349"/>
                </a:cubicBezTo>
                <a:cubicBezTo>
                  <a:pt x="3383" y="351"/>
                  <a:pt x="3385" y="353"/>
                  <a:pt x="3387" y="354"/>
                </a:cubicBezTo>
                <a:cubicBezTo>
                  <a:pt x="3380" y="363"/>
                  <a:pt x="3372" y="375"/>
                  <a:pt x="3369" y="378"/>
                </a:cubicBezTo>
                <a:cubicBezTo>
                  <a:pt x="3367" y="380"/>
                  <a:pt x="3363" y="382"/>
                  <a:pt x="3358" y="384"/>
                </a:cubicBezTo>
                <a:cubicBezTo>
                  <a:pt x="3356" y="385"/>
                  <a:pt x="3355" y="386"/>
                  <a:pt x="3353" y="387"/>
                </a:cubicBezTo>
                <a:cubicBezTo>
                  <a:pt x="3356" y="382"/>
                  <a:pt x="3361" y="378"/>
                  <a:pt x="3364" y="376"/>
                </a:cubicBezTo>
                <a:cubicBezTo>
                  <a:pt x="3373" y="368"/>
                  <a:pt x="3380" y="357"/>
                  <a:pt x="3380" y="348"/>
                </a:cubicBezTo>
                <a:cubicBezTo>
                  <a:pt x="3380" y="346"/>
                  <a:pt x="3380" y="343"/>
                  <a:pt x="3378" y="341"/>
                </a:cubicBezTo>
                <a:cubicBezTo>
                  <a:pt x="3378" y="341"/>
                  <a:pt x="3378" y="341"/>
                  <a:pt x="3378" y="341"/>
                </a:cubicBezTo>
                <a:cubicBezTo>
                  <a:pt x="3376" y="339"/>
                  <a:pt x="3373" y="321"/>
                  <a:pt x="3373" y="313"/>
                </a:cubicBezTo>
                <a:cubicBezTo>
                  <a:pt x="3373" y="311"/>
                  <a:pt x="3373" y="309"/>
                  <a:pt x="3373" y="309"/>
                </a:cubicBezTo>
                <a:cubicBezTo>
                  <a:pt x="3374" y="306"/>
                  <a:pt x="3379" y="301"/>
                  <a:pt x="3380" y="292"/>
                </a:cubicBezTo>
                <a:cubicBezTo>
                  <a:pt x="3380" y="287"/>
                  <a:pt x="3377" y="282"/>
                  <a:pt x="3372" y="279"/>
                </a:cubicBezTo>
                <a:cubicBezTo>
                  <a:pt x="3361" y="272"/>
                  <a:pt x="3353" y="264"/>
                  <a:pt x="3342" y="259"/>
                </a:cubicBezTo>
                <a:cubicBezTo>
                  <a:pt x="3341" y="258"/>
                  <a:pt x="3339" y="258"/>
                  <a:pt x="3337" y="258"/>
                </a:cubicBezTo>
                <a:cubicBezTo>
                  <a:pt x="3329" y="259"/>
                  <a:pt x="3324" y="265"/>
                  <a:pt x="3320" y="270"/>
                </a:cubicBezTo>
                <a:cubicBezTo>
                  <a:pt x="3315" y="275"/>
                  <a:pt x="3311" y="280"/>
                  <a:pt x="3309" y="282"/>
                </a:cubicBezTo>
                <a:cubicBezTo>
                  <a:pt x="3304" y="285"/>
                  <a:pt x="3301" y="289"/>
                  <a:pt x="3300" y="291"/>
                </a:cubicBezTo>
                <a:cubicBezTo>
                  <a:pt x="3298" y="293"/>
                  <a:pt x="3298" y="294"/>
                  <a:pt x="3294" y="294"/>
                </a:cubicBezTo>
                <a:cubicBezTo>
                  <a:pt x="3285" y="296"/>
                  <a:pt x="3278" y="304"/>
                  <a:pt x="3278" y="313"/>
                </a:cubicBezTo>
                <a:cubicBezTo>
                  <a:pt x="3278" y="321"/>
                  <a:pt x="3283" y="328"/>
                  <a:pt x="3292" y="333"/>
                </a:cubicBezTo>
                <a:cubicBezTo>
                  <a:pt x="3298" y="337"/>
                  <a:pt x="3303" y="340"/>
                  <a:pt x="3306" y="343"/>
                </a:cubicBezTo>
                <a:cubicBezTo>
                  <a:pt x="3307" y="344"/>
                  <a:pt x="3308" y="345"/>
                  <a:pt x="3308" y="346"/>
                </a:cubicBezTo>
                <a:cubicBezTo>
                  <a:pt x="3308" y="346"/>
                  <a:pt x="3308" y="346"/>
                  <a:pt x="3308" y="346"/>
                </a:cubicBezTo>
                <a:cubicBezTo>
                  <a:pt x="3308" y="346"/>
                  <a:pt x="3308" y="346"/>
                  <a:pt x="3307" y="346"/>
                </a:cubicBezTo>
                <a:cubicBezTo>
                  <a:pt x="3305" y="346"/>
                  <a:pt x="3301" y="345"/>
                  <a:pt x="3297" y="344"/>
                </a:cubicBezTo>
                <a:cubicBezTo>
                  <a:pt x="3294" y="343"/>
                  <a:pt x="3291" y="342"/>
                  <a:pt x="3291" y="342"/>
                </a:cubicBezTo>
                <a:cubicBezTo>
                  <a:pt x="3291" y="342"/>
                  <a:pt x="3291" y="342"/>
                  <a:pt x="3291" y="342"/>
                </a:cubicBezTo>
                <a:cubicBezTo>
                  <a:pt x="3289" y="340"/>
                  <a:pt x="3276" y="333"/>
                  <a:pt x="3265" y="333"/>
                </a:cubicBezTo>
                <a:cubicBezTo>
                  <a:pt x="3258" y="333"/>
                  <a:pt x="3247" y="327"/>
                  <a:pt x="3236" y="325"/>
                </a:cubicBezTo>
                <a:cubicBezTo>
                  <a:pt x="3232" y="324"/>
                  <a:pt x="3228" y="324"/>
                  <a:pt x="3223" y="324"/>
                </a:cubicBezTo>
                <a:cubicBezTo>
                  <a:pt x="3214" y="324"/>
                  <a:pt x="3205" y="324"/>
                  <a:pt x="3198" y="331"/>
                </a:cubicBezTo>
                <a:cubicBezTo>
                  <a:pt x="3196" y="334"/>
                  <a:pt x="3193" y="338"/>
                  <a:pt x="3189" y="341"/>
                </a:cubicBezTo>
                <a:cubicBezTo>
                  <a:pt x="3186" y="345"/>
                  <a:pt x="3182" y="347"/>
                  <a:pt x="3181" y="347"/>
                </a:cubicBezTo>
                <a:cubicBezTo>
                  <a:pt x="3181" y="347"/>
                  <a:pt x="3181" y="346"/>
                  <a:pt x="3181" y="346"/>
                </a:cubicBezTo>
                <a:cubicBezTo>
                  <a:pt x="3178" y="345"/>
                  <a:pt x="3176" y="343"/>
                  <a:pt x="3174" y="341"/>
                </a:cubicBezTo>
                <a:cubicBezTo>
                  <a:pt x="3172" y="340"/>
                  <a:pt x="3168" y="338"/>
                  <a:pt x="3164" y="338"/>
                </a:cubicBezTo>
                <a:cubicBezTo>
                  <a:pt x="3161" y="338"/>
                  <a:pt x="3157" y="339"/>
                  <a:pt x="3153" y="340"/>
                </a:cubicBezTo>
                <a:cubicBezTo>
                  <a:pt x="3151" y="341"/>
                  <a:pt x="3149" y="342"/>
                  <a:pt x="3146" y="342"/>
                </a:cubicBezTo>
                <a:cubicBezTo>
                  <a:pt x="3142" y="342"/>
                  <a:pt x="3137" y="341"/>
                  <a:pt x="3132" y="341"/>
                </a:cubicBezTo>
                <a:cubicBezTo>
                  <a:pt x="3128" y="340"/>
                  <a:pt x="3122" y="342"/>
                  <a:pt x="3119" y="346"/>
                </a:cubicBezTo>
                <a:cubicBezTo>
                  <a:pt x="3118" y="348"/>
                  <a:pt x="3117" y="349"/>
                  <a:pt x="3116" y="350"/>
                </a:cubicBezTo>
                <a:cubicBezTo>
                  <a:pt x="3114" y="349"/>
                  <a:pt x="3109" y="347"/>
                  <a:pt x="3102" y="344"/>
                </a:cubicBezTo>
                <a:cubicBezTo>
                  <a:pt x="3097" y="342"/>
                  <a:pt x="3093" y="341"/>
                  <a:pt x="3089" y="341"/>
                </a:cubicBezTo>
                <a:cubicBezTo>
                  <a:pt x="3082" y="341"/>
                  <a:pt x="3077" y="345"/>
                  <a:pt x="3074" y="348"/>
                </a:cubicBezTo>
                <a:cubicBezTo>
                  <a:pt x="3071" y="350"/>
                  <a:pt x="3068" y="352"/>
                  <a:pt x="3061" y="354"/>
                </a:cubicBezTo>
                <a:cubicBezTo>
                  <a:pt x="3057" y="355"/>
                  <a:pt x="3053" y="355"/>
                  <a:pt x="3049" y="355"/>
                </a:cubicBezTo>
                <a:cubicBezTo>
                  <a:pt x="3043" y="355"/>
                  <a:pt x="3038" y="354"/>
                  <a:pt x="3033" y="354"/>
                </a:cubicBezTo>
                <a:cubicBezTo>
                  <a:pt x="3028" y="354"/>
                  <a:pt x="3022" y="355"/>
                  <a:pt x="3018" y="360"/>
                </a:cubicBezTo>
                <a:cubicBezTo>
                  <a:pt x="3016" y="363"/>
                  <a:pt x="3015" y="366"/>
                  <a:pt x="3013" y="369"/>
                </a:cubicBezTo>
                <a:cubicBezTo>
                  <a:pt x="3013" y="367"/>
                  <a:pt x="3014" y="365"/>
                  <a:pt x="3015" y="364"/>
                </a:cubicBezTo>
                <a:cubicBezTo>
                  <a:pt x="3017" y="359"/>
                  <a:pt x="3019" y="355"/>
                  <a:pt x="3019" y="350"/>
                </a:cubicBezTo>
                <a:cubicBezTo>
                  <a:pt x="3019" y="347"/>
                  <a:pt x="3018" y="344"/>
                  <a:pt x="3016" y="342"/>
                </a:cubicBezTo>
                <a:cubicBezTo>
                  <a:pt x="3011" y="337"/>
                  <a:pt x="3005" y="337"/>
                  <a:pt x="2999" y="337"/>
                </a:cubicBezTo>
                <a:cubicBezTo>
                  <a:pt x="2994" y="337"/>
                  <a:pt x="2989" y="337"/>
                  <a:pt x="2985" y="338"/>
                </a:cubicBezTo>
                <a:cubicBezTo>
                  <a:pt x="2980" y="339"/>
                  <a:pt x="2977" y="340"/>
                  <a:pt x="2974" y="343"/>
                </a:cubicBezTo>
                <a:cubicBezTo>
                  <a:pt x="2971" y="348"/>
                  <a:pt x="2971" y="351"/>
                  <a:pt x="2971" y="355"/>
                </a:cubicBezTo>
                <a:cubicBezTo>
                  <a:pt x="2971" y="362"/>
                  <a:pt x="2972" y="370"/>
                  <a:pt x="2974" y="375"/>
                </a:cubicBezTo>
                <a:cubicBezTo>
                  <a:pt x="2974" y="375"/>
                  <a:pt x="2974" y="376"/>
                  <a:pt x="2975" y="377"/>
                </a:cubicBezTo>
                <a:cubicBezTo>
                  <a:pt x="2973" y="375"/>
                  <a:pt x="2970" y="373"/>
                  <a:pt x="2967" y="373"/>
                </a:cubicBezTo>
                <a:cubicBezTo>
                  <a:pt x="2966" y="373"/>
                  <a:pt x="2965" y="373"/>
                  <a:pt x="2964" y="373"/>
                </a:cubicBezTo>
                <a:cubicBezTo>
                  <a:pt x="2961" y="374"/>
                  <a:pt x="2958" y="375"/>
                  <a:pt x="2956" y="376"/>
                </a:cubicBezTo>
                <a:cubicBezTo>
                  <a:pt x="2957" y="375"/>
                  <a:pt x="2957" y="373"/>
                  <a:pt x="2957" y="371"/>
                </a:cubicBezTo>
                <a:cubicBezTo>
                  <a:pt x="2957" y="365"/>
                  <a:pt x="2953" y="363"/>
                  <a:pt x="2950" y="361"/>
                </a:cubicBezTo>
                <a:cubicBezTo>
                  <a:pt x="2940" y="356"/>
                  <a:pt x="2929" y="350"/>
                  <a:pt x="2911" y="347"/>
                </a:cubicBezTo>
                <a:cubicBezTo>
                  <a:pt x="2895" y="344"/>
                  <a:pt x="2874" y="344"/>
                  <a:pt x="2850" y="334"/>
                </a:cubicBezTo>
                <a:cubicBezTo>
                  <a:pt x="2825" y="323"/>
                  <a:pt x="2819" y="318"/>
                  <a:pt x="2807" y="315"/>
                </a:cubicBezTo>
                <a:cubicBezTo>
                  <a:pt x="2798" y="313"/>
                  <a:pt x="2754" y="304"/>
                  <a:pt x="2721" y="304"/>
                </a:cubicBezTo>
                <a:cubicBezTo>
                  <a:pt x="2714" y="304"/>
                  <a:pt x="2708" y="304"/>
                  <a:pt x="2702" y="306"/>
                </a:cubicBezTo>
                <a:cubicBezTo>
                  <a:pt x="2687" y="308"/>
                  <a:pt x="2660" y="316"/>
                  <a:pt x="2636" y="323"/>
                </a:cubicBezTo>
                <a:cubicBezTo>
                  <a:pt x="2624" y="327"/>
                  <a:pt x="2613" y="331"/>
                  <a:pt x="2604" y="334"/>
                </a:cubicBezTo>
                <a:cubicBezTo>
                  <a:pt x="2600" y="335"/>
                  <a:pt x="2596" y="337"/>
                  <a:pt x="2593" y="338"/>
                </a:cubicBezTo>
                <a:cubicBezTo>
                  <a:pt x="2590" y="339"/>
                  <a:pt x="2589" y="340"/>
                  <a:pt x="2586" y="341"/>
                </a:cubicBezTo>
                <a:cubicBezTo>
                  <a:pt x="2583" y="345"/>
                  <a:pt x="2580" y="350"/>
                  <a:pt x="2576" y="356"/>
                </a:cubicBezTo>
                <a:cubicBezTo>
                  <a:pt x="2572" y="362"/>
                  <a:pt x="2567" y="370"/>
                  <a:pt x="2560" y="376"/>
                </a:cubicBezTo>
                <a:cubicBezTo>
                  <a:pt x="2545" y="390"/>
                  <a:pt x="2517" y="421"/>
                  <a:pt x="2498" y="426"/>
                </a:cubicBezTo>
                <a:cubicBezTo>
                  <a:pt x="2486" y="429"/>
                  <a:pt x="2474" y="436"/>
                  <a:pt x="2464" y="443"/>
                </a:cubicBezTo>
                <a:cubicBezTo>
                  <a:pt x="2460" y="447"/>
                  <a:pt x="2455" y="450"/>
                  <a:pt x="2452" y="454"/>
                </a:cubicBezTo>
                <a:cubicBezTo>
                  <a:pt x="2450" y="457"/>
                  <a:pt x="2447" y="459"/>
                  <a:pt x="2446" y="465"/>
                </a:cubicBezTo>
                <a:cubicBezTo>
                  <a:pt x="2447" y="469"/>
                  <a:pt x="2449" y="474"/>
                  <a:pt x="2450" y="480"/>
                </a:cubicBezTo>
                <a:cubicBezTo>
                  <a:pt x="2452" y="485"/>
                  <a:pt x="2454" y="491"/>
                  <a:pt x="2454" y="493"/>
                </a:cubicBezTo>
                <a:cubicBezTo>
                  <a:pt x="2453" y="494"/>
                  <a:pt x="2453" y="496"/>
                  <a:pt x="2453" y="497"/>
                </a:cubicBezTo>
                <a:cubicBezTo>
                  <a:pt x="2453" y="502"/>
                  <a:pt x="2455" y="509"/>
                  <a:pt x="2458" y="515"/>
                </a:cubicBezTo>
                <a:cubicBezTo>
                  <a:pt x="2462" y="521"/>
                  <a:pt x="2467" y="527"/>
                  <a:pt x="2474" y="531"/>
                </a:cubicBezTo>
                <a:cubicBezTo>
                  <a:pt x="2480" y="533"/>
                  <a:pt x="2488" y="534"/>
                  <a:pt x="2494" y="535"/>
                </a:cubicBezTo>
                <a:cubicBezTo>
                  <a:pt x="2498" y="535"/>
                  <a:pt x="2501" y="534"/>
                  <a:pt x="2503" y="534"/>
                </a:cubicBezTo>
                <a:cubicBezTo>
                  <a:pt x="2503" y="534"/>
                  <a:pt x="2503" y="534"/>
                  <a:pt x="2503" y="534"/>
                </a:cubicBezTo>
                <a:cubicBezTo>
                  <a:pt x="2498" y="536"/>
                  <a:pt x="2492" y="539"/>
                  <a:pt x="2489" y="545"/>
                </a:cubicBezTo>
                <a:cubicBezTo>
                  <a:pt x="2487" y="551"/>
                  <a:pt x="2485" y="560"/>
                  <a:pt x="2484" y="568"/>
                </a:cubicBezTo>
                <a:cubicBezTo>
                  <a:pt x="2485" y="572"/>
                  <a:pt x="2485" y="577"/>
                  <a:pt x="2488" y="581"/>
                </a:cubicBezTo>
                <a:cubicBezTo>
                  <a:pt x="2489" y="583"/>
                  <a:pt x="2490" y="584"/>
                  <a:pt x="2492" y="586"/>
                </a:cubicBezTo>
                <a:cubicBezTo>
                  <a:pt x="2488" y="585"/>
                  <a:pt x="2483" y="585"/>
                  <a:pt x="2479" y="585"/>
                </a:cubicBezTo>
                <a:cubicBezTo>
                  <a:pt x="2471" y="585"/>
                  <a:pt x="2463" y="587"/>
                  <a:pt x="2457" y="592"/>
                </a:cubicBezTo>
                <a:cubicBezTo>
                  <a:pt x="2449" y="599"/>
                  <a:pt x="2437" y="613"/>
                  <a:pt x="2432" y="617"/>
                </a:cubicBezTo>
                <a:cubicBezTo>
                  <a:pt x="2429" y="618"/>
                  <a:pt x="2425" y="618"/>
                  <a:pt x="2419" y="620"/>
                </a:cubicBezTo>
                <a:cubicBezTo>
                  <a:pt x="2418" y="620"/>
                  <a:pt x="2416" y="621"/>
                  <a:pt x="2414" y="621"/>
                </a:cubicBezTo>
                <a:cubicBezTo>
                  <a:pt x="2414" y="621"/>
                  <a:pt x="2414" y="620"/>
                  <a:pt x="2414" y="620"/>
                </a:cubicBezTo>
                <a:cubicBezTo>
                  <a:pt x="2412" y="607"/>
                  <a:pt x="2400" y="592"/>
                  <a:pt x="2387" y="585"/>
                </a:cubicBezTo>
                <a:cubicBezTo>
                  <a:pt x="2384" y="583"/>
                  <a:pt x="2379" y="576"/>
                  <a:pt x="2374" y="569"/>
                </a:cubicBezTo>
                <a:cubicBezTo>
                  <a:pt x="2369" y="561"/>
                  <a:pt x="2364" y="554"/>
                  <a:pt x="2360" y="550"/>
                </a:cubicBezTo>
                <a:cubicBezTo>
                  <a:pt x="2360" y="550"/>
                  <a:pt x="2360" y="550"/>
                  <a:pt x="2360" y="550"/>
                </a:cubicBezTo>
                <a:cubicBezTo>
                  <a:pt x="2360" y="548"/>
                  <a:pt x="2363" y="541"/>
                  <a:pt x="2363" y="533"/>
                </a:cubicBezTo>
                <a:cubicBezTo>
                  <a:pt x="2363" y="529"/>
                  <a:pt x="2362" y="525"/>
                  <a:pt x="2359" y="521"/>
                </a:cubicBezTo>
                <a:cubicBezTo>
                  <a:pt x="2355" y="516"/>
                  <a:pt x="2350" y="513"/>
                  <a:pt x="2346" y="511"/>
                </a:cubicBezTo>
                <a:cubicBezTo>
                  <a:pt x="2342" y="509"/>
                  <a:pt x="2339" y="508"/>
                  <a:pt x="2335" y="505"/>
                </a:cubicBezTo>
                <a:cubicBezTo>
                  <a:pt x="2332" y="503"/>
                  <a:pt x="2328" y="501"/>
                  <a:pt x="2325" y="501"/>
                </a:cubicBezTo>
                <a:cubicBezTo>
                  <a:pt x="2314" y="502"/>
                  <a:pt x="2308" y="510"/>
                  <a:pt x="2304" y="516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2" y="517"/>
                  <a:pt x="2298" y="515"/>
                  <a:pt x="2292" y="514"/>
                </a:cubicBezTo>
                <a:cubicBezTo>
                  <a:pt x="2290" y="514"/>
                  <a:pt x="2289" y="515"/>
                  <a:pt x="2287" y="515"/>
                </a:cubicBezTo>
                <a:cubicBezTo>
                  <a:pt x="2280" y="518"/>
                  <a:pt x="2277" y="525"/>
                  <a:pt x="2277" y="531"/>
                </a:cubicBezTo>
                <a:cubicBezTo>
                  <a:pt x="2277" y="538"/>
                  <a:pt x="2280" y="544"/>
                  <a:pt x="2283" y="549"/>
                </a:cubicBezTo>
                <a:cubicBezTo>
                  <a:pt x="2284" y="551"/>
                  <a:pt x="2286" y="554"/>
                  <a:pt x="2288" y="557"/>
                </a:cubicBezTo>
                <a:cubicBezTo>
                  <a:pt x="2285" y="556"/>
                  <a:pt x="2283" y="556"/>
                  <a:pt x="2281" y="556"/>
                </a:cubicBezTo>
                <a:cubicBezTo>
                  <a:pt x="2279" y="556"/>
                  <a:pt x="2277" y="556"/>
                  <a:pt x="2275" y="557"/>
                </a:cubicBezTo>
                <a:cubicBezTo>
                  <a:pt x="2267" y="558"/>
                  <a:pt x="2263" y="564"/>
                  <a:pt x="2261" y="567"/>
                </a:cubicBezTo>
                <a:cubicBezTo>
                  <a:pt x="2260" y="569"/>
                  <a:pt x="2259" y="571"/>
                  <a:pt x="2258" y="571"/>
                </a:cubicBezTo>
                <a:cubicBezTo>
                  <a:pt x="2258" y="571"/>
                  <a:pt x="2258" y="571"/>
                  <a:pt x="2258" y="572"/>
                </a:cubicBezTo>
                <a:cubicBezTo>
                  <a:pt x="2254" y="572"/>
                  <a:pt x="2250" y="572"/>
                  <a:pt x="2246" y="574"/>
                </a:cubicBezTo>
                <a:cubicBezTo>
                  <a:pt x="2242" y="576"/>
                  <a:pt x="2239" y="581"/>
                  <a:pt x="2239" y="587"/>
                </a:cubicBezTo>
                <a:cubicBezTo>
                  <a:pt x="2239" y="588"/>
                  <a:pt x="2239" y="590"/>
                  <a:pt x="2239" y="591"/>
                </a:cubicBezTo>
                <a:cubicBezTo>
                  <a:pt x="2241" y="598"/>
                  <a:pt x="2243" y="603"/>
                  <a:pt x="2243" y="605"/>
                </a:cubicBezTo>
                <a:cubicBezTo>
                  <a:pt x="2243" y="605"/>
                  <a:pt x="2243" y="605"/>
                  <a:pt x="2243" y="605"/>
                </a:cubicBezTo>
                <a:cubicBezTo>
                  <a:pt x="2243" y="605"/>
                  <a:pt x="2243" y="605"/>
                  <a:pt x="2242" y="605"/>
                </a:cubicBezTo>
                <a:cubicBezTo>
                  <a:pt x="2238" y="608"/>
                  <a:pt x="2237" y="612"/>
                  <a:pt x="2237" y="616"/>
                </a:cubicBezTo>
                <a:cubicBezTo>
                  <a:pt x="2237" y="621"/>
                  <a:pt x="2239" y="626"/>
                  <a:pt x="2242" y="630"/>
                </a:cubicBezTo>
                <a:cubicBezTo>
                  <a:pt x="2245" y="634"/>
                  <a:pt x="2249" y="638"/>
                  <a:pt x="2255" y="639"/>
                </a:cubicBezTo>
                <a:cubicBezTo>
                  <a:pt x="2255" y="639"/>
                  <a:pt x="2255" y="639"/>
                  <a:pt x="2255" y="639"/>
                </a:cubicBezTo>
                <a:cubicBezTo>
                  <a:pt x="2256" y="639"/>
                  <a:pt x="2257" y="639"/>
                  <a:pt x="2258" y="639"/>
                </a:cubicBezTo>
                <a:cubicBezTo>
                  <a:pt x="2270" y="639"/>
                  <a:pt x="2279" y="630"/>
                  <a:pt x="2286" y="627"/>
                </a:cubicBezTo>
                <a:cubicBezTo>
                  <a:pt x="2295" y="623"/>
                  <a:pt x="2309" y="614"/>
                  <a:pt x="2309" y="597"/>
                </a:cubicBezTo>
                <a:cubicBezTo>
                  <a:pt x="2309" y="590"/>
                  <a:pt x="2308" y="583"/>
                  <a:pt x="2307" y="577"/>
                </a:cubicBezTo>
                <a:cubicBezTo>
                  <a:pt x="2308" y="578"/>
                  <a:pt x="2309" y="578"/>
                  <a:pt x="2309" y="579"/>
                </a:cubicBezTo>
                <a:cubicBezTo>
                  <a:pt x="2312" y="573"/>
                  <a:pt x="2312" y="573"/>
                  <a:pt x="2312" y="573"/>
                </a:cubicBezTo>
                <a:cubicBezTo>
                  <a:pt x="2309" y="579"/>
                  <a:pt x="2309" y="579"/>
                  <a:pt x="2309" y="579"/>
                </a:cubicBezTo>
                <a:cubicBezTo>
                  <a:pt x="2315" y="581"/>
                  <a:pt x="2322" y="584"/>
                  <a:pt x="2328" y="586"/>
                </a:cubicBezTo>
                <a:cubicBezTo>
                  <a:pt x="2329" y="587"/>
                  <a:pt x="2330" y="587"/>
                  <a:pt x="2331" y="588"/>
                </a:cubicBezTo>
                <a:cubicBezTo>
                  <a:pt x="2327" y="591"/>
                  <a:pt x="2322" y="595"/>
                  <a:pt x="2318" y="599"/>
                </a:cubicBezTo>
                <a:cubicBezTo>
                  <a:pt x="2312" y="605"/>
                  <a:pt x="2307" y="611"/>
                  <a:pt x="2305" y="617"/>
                </a:cubicBezTo>
                <a:cubicBezTo>
                  <a:pt x="2305" y="618"/>
                  <a:pt x="2305" y="619"/>
                  <a:pt x="2305" y="620"/>
                </a:cubicBezTo>
                <a:cubicBezTo>
                  <a:pt x="2306" y="629"/>
                  <a:pt x="2312" y="633"/>
                  <a:pt x="2318" y="636"/>
                </a:cubicBezTo>
                <a:cubicBezTo>
                  <a:pt x="2319" y="637"/>
                  <a:pt x="2321" y="638"/>
                  <a:pt x="2322" y="638"/>
                </a:cubicBezTo>
                <a:cubicBezTo>
                  <a:pt x="2322" y="640"/>
                  <a:pt x="2321" y="642"/>
                  <a:pt x="2321" y="644"/>
                </a:cubicBezTo>
                <a:cubicBezTo>
                  <a:pt x="2321" y="647"/>
                  <a:pt x="2323" y="652"/>
                  <a:pt x="2327" y="653"/>
                </a:cubicBezTo>
                <a:cubicBezTo>
                  <a:pt x="2328" y="654"/>
                  <a:pt x="2330" y="654"/>
                  <a:pt x="2331" y="654"/>
                </a:cubicBezTo>
                <a:cubicBezTo>
                  <a:pt x="2338" y="654"/>
                  <a:pt x="2340" y="650"/>
                  <a:pt x="2342" y="648"/>
                </a:cubicBezTo>
                <a:cubicBezTo>
                  <a:pt x="2345" y="645"/>
                  <a:pt x="2346" y="644"/>
                  <a:pt x="2348" y="644"/>
                </a:cubicBezTo>
                <a:cubicBezTo>
                  <a:pt x="2355" y="644"/>
                  <a:pt x="2372" y="650"/>
                  <a:pt x="2383" y="651"/>
                </a:cubicBezTo>
                <a:cubicBezTo>
                  <a:pt x="2375" y="653"/>
                  <a:pt x="2366" y="655"/>
                  <a:pt x="2357" y="657"/>
                </a:cubicBezTo>
                <a:cubicBezTo>
                  <a:pt x="2349" y="659"/>
                  <a:pt x="2345" y="662"/>
                  <a:pt x="2341" y="664"/>
                </a:cubicBezTo>
                <a:cubicBezTo>
                  <a:pt x="2338" y="666"/>
                  <a:pt x="2336" y="667"/>
                  <a:pt x="2329" y="668"/>
                </a:cubicBezTo>
                <a:cubicBezTo>
                  <a:pt x="2324" y="668"/>
                  <a:pt x="2320" y="669"/>
                  <a:pt x="2317" y="671"/>
                </a:cubicBezTo>
                <a:cubicBezTo>
                  <a:pt x="2313" y="673"/>
                  <a:pt x="2310" y="675"/>
                  <a:pt x="2310" y="680"/>
                </a:cubicBezTo>
                <a:cubicBezTo>
                  <a:pt x="2310" y="685"/>
                  <a:pt x="2313" y="687"/>
                  <a:pt x="2315" y="689"/>
                </a:cubicBezTo>
                <a:cubicBezTo>
                  <a:pt x="2318" y="691"/>
                  <a:pt x="2321" y="692"/>
                  <a:pt x="2325" y="692"/>
                </a:cubicBezTo>
                <a:cubicBezTo>
                  <a:pt x="2331" y="694"/>
                  <a:pt x="2341" y="697"/>
                  <a:pt x="2348" y="701"/>
                </a:cubicBezTo>
                <a:cubicBezTo>
                  <a:pt x="2355" y="705"/>
                  <a:pt x="2359" y="711"/>
                  <a:pt x="2359" y="713"/>
                </a:cubicBezTo>
                <a:cubicBezTo>
                  <a:pt x="2359" y="715"/>
                  <a:pt x="2359" y="717"/>
                  <a:pt x="2359" y="719"/>
                </a:cubicBezTo>
                <a:cubicBezTo>
                  <a:pt x="2359" y="729"/>
                  <a:pt x="2356" y="739"/>
                  <a:pt x="2352" y="749"/>
                </a:cubicBezTo>
                <a:cubicBezTo>
                  <a:pt x="2352" y="749"/>
                  <a:pt x="2352" y="749"/>
                  <a:pt x="2352" y="749"/>
                </a:cubicBezTo>
                <a:cubicBezTo>
                  <a:pt x="2352" y="749"/>
                  <a:pt x="2349" y="750"/>
                  <a:pt x="2344" y="750"/>
                </a:cubicBezTo>
                <a:cubicBezTo>
                  <a:pt x="2336" y="750"/>
                  <a:pt x="2325" y="748"/>
                  <a:pt x="2316" y="748"/>
                </a:cubicBezTo>
                <a:cubicBezTo>
                  <a:pt x="2308" y="748"/>
                  <a:pt x="2293" y="746"/>
                  <a:pt x="2279" y="746"/>
                </a:cubicBezTo>
                <a:cubicBezTo>
                  <a:pt x="2273" y="746"/>
                  <a:pt x="2267" y="746"/>
                  <a:pt x="2261" y="749"/>
                </a:cubicBezTo>
                <a:cubicBezTo>
                  <a:pt x="2250" y="754"/>
                  <a:pt x="2249" y="767"/>
                  <a:pt x="2249" y="778"/>
                </a:cubicBezTo>
                <a:cubicBezTo>
                  <a:pt x="2249" y="786"/>
                  <a:pt x="2250" y="795"/>
                  <a:pt x="2252" y="801"/>
                </a:cubicBezTo>
                <a:cubicBezTo>
                  <a:pt x="2253" y="804"/>
                  <a:pt x="2253" y="806"/>
                  <a:pt x="2253" y="808"/>
                </a:cubicBezTo>
                <a:cubicBezTo>
                  <a:pt x="2253" y="813"/>
                  <a:pt x="2251" y="816"/>
                  <a:pt x="2248" y="818"/>
                </a:cubicBezTo>
                <a:cubicBezTo>
                  <a:pt x="2244" y="823"/>
                  <a:pt x="2242" y="828"/>
                  <a:pt x="2242" y="834"/>
                </a:cubicBezTo>
                <a:cubicBezTo>
                  <a:pt x="2242" y="839"/>
                  <a:pt x="2244" y="845"/>
                  <a:pt x="2248" y="849"/>
                </a:cubicBezTo>
                <a:cubicBezTo>
                  <a:pt x="2250" y="851"/>
                  <a:pt x="2253" y="855"/>
                  <a:pt x="2255" y="859"/>
                </a:cubicBezTo>
                <a:cubicBezTo>
                  <a:pt x="2258" y="863"/>
                  <a:pt x="2259" y="868"/>
                  <a:pt x="2265" y="870"/>
                </a:cubicBezTo>
                <a:cubicBezTo>
                  <a:pt x="2267" y="871"/>
                  <a:pt x="2268" y="871"/>
                  <a:pt x="2269" y="871"/>
                </a:cubicBezTo>
                <a:cubicBezTo>
                  <a:pt x="2274" y="871"/>
                  <a:pt x="2278" y="869"/>
                  <a:pt x="2282" y="870"/>
                </a:cubicBezTo>
                <a:cubicBezTo>
                  <a:pt x="2286" y="870"/>
                  <a:pt x="2288" y="870"/>
                  <a:pt x="2288" y="871"/>
                </a:cubicBezTo>
                <a:cubicBezTo>
                  <a:pt x="2290" y="873"/>
                  <a:pt x="2292" y="878"/>
                  <a:pt x="2295" y="882"/>
                </a:cubicBezTo>
                <a:cubicBezTo>
                  <a:pt x="2296" y="884"/>
                  <a:pt x="2297" y="887"/>
                  <a:pt x="2299" y="888"/>
                </a:cubicBezTo>
                <a:cubicBezTo>
                  <a:pt x="2299" y="889"/>
                  <a:pt x="2299" y="889"/>
                  <a:pt x="2299" y="889"/>
                </a:cubicBezTo>
                <a:cubicBezTo>
                  <a:pt x="2299" y="889"/>
                  <a:pt x="2299" y="889"/>
                  <a:pt x="2298" y="890"/>
                </a:cubicBezTo>
                <a:cubicBezTo>
                  <a:pt x="2291" y="894"/>
                  <a:pt x="2284" y="901"/>
                  <a:pt x="2279" y="905"/>
                </a:cubicBezTo>
                <a:cubicBezTo>
                  <a:pt x="2276" y="908"/>
                  <a:pt x="2274" y="910"/>
                  <a:pt x="2272" y="911"/>
                </a:cubicBezTo>
                <a:cubicBezTo>
                  <a:pt x="2272" y="911"/>
                  <a:pt x="2271" y="912"/>
                  <a:pt x="2271" y="912"/>
                </a:cubicBezTo>
                <a:cubicBezTo>
                  <a:pt x="2268" y="912"/>
                  <a:pt x="2266" y="914"/>
                  <a:pt x="2264" y="915"/>
                </a:cubicBezTo>
                <a:cubicBezTo>
                  <a:pt x="2258" y="920"/>
                  <a:pt x="2251" y="930"/>
                  <a:pt x="2245" y="946"/>
                </a:cubicBezTo>
                <a:cubicBezTo>
                  <a:pt x="2242" y="958"/>
                  <a:pt x="2242" y="968"/>
                  <a:pt x="2241" y="976"/>
                </a:cubicBezTo>
                <a:cubicBezTo>
                  <a:pt x="2241" y="984"/>
                  <a:pt x="2240" y="987"/>
                  <a:pt x="2237" y="989"/>
                </a:cubicBezTo>
                <a:cubicBezTo>
                  <a:pt x="2224" y="996"/>
                  <a:pt x="2201" y="1011"/>
                  <a:pt x="2190" y="1023"/>
                </a:cubicBezTo>
                <a:cubicBezTo>
                  <a:pt x="2184" y="1030"/>
                  <a:pt x="2179" y="1042"/>
                  <a:pt x="2174" y="1056"/>
                </a:cubicBezTo>
                <a:cubicBezTo>
                  <a:pt x="2168" y="1069"/>
                  <a:pt x="2163" y="1083"/>
                  <a:pt x="2157" y="1091"/>
                </a:cubicBezTo>
                <a:cubicBezTo>
                  <a:pt x="2153" y="1098"/>
                  <a:pt x="2151" y="1105"/>
                  <a:pt x="2151" y="1111"/>
                </a:cubicBezTo>
                <a:cubicBezTo>
                  <a:pt x="2152" y="1125"/>
                  <a:pt x="2158" y="1135"/>
                  <a:pt x="2159" y="1141"/>
                </a:cubicBezTo>
                <a:cubicBezTo>
                  <a:pt x="2160" y="1148"/>
                  <a:pt x="2163" y="1157"/>
                  <a:pt x="2163" y="1167"/>
                </a:cubicBezTo>
                <a:cubicBezTo>
                  <a:pt x="2163" y="1174"/>
                  <a:pt x="2162" y="1181"/>
                  <a:pt x="2157" y="1188"/>
                </a:cubicBezTo>
                <a:cubicBezTo>
                  <a:pt x="2151" y="1198"/>
                  <a:pt x="2148" y="1206"/>
                  <a:pt x="2146" y="1211"/>
                </a:cubicBezTo>
                <a:cubicBezTo>
                  <a:pt x="2145" y="1213"/>
                  <a:pt x="2144" y="1215"/>
                  <a:pt x="2144" y="1215"/>
                </a:cubicBezTo>
                <a:cubicBezTo>
                  <a:pt x="2143" y="1216"/>
                  <a:pt x="2143" y="1216"/>
                  <a:pt x="2143" y="1216"/>
                </a:cubicBezTo>
                <a:cubicBezTo>
                  <a:pt x="2142" y="1216"/>
                  <a:pt x="2141" y="1216"/>
                  <a:pt x="2140" y="1217"/>
                </a:cubicBezTo>
                <a:cubicBezTo>
                  <a:pt x="2139" y="1218"/>
                  <a:pt x="2138" y="1221"/>
                  <a:pt x="2138" y="1223"/>
                </a:cubicBezTo>
                <a:cubicBezTo>
                  <a:pt x="2138" y="1226"/>
                  <a:pt x="2139" y="1227"/>
                  <a:pt x="2140" y="1229"/>
                </a:cubicBezTo>
                <a:cubicBezTo>
                  <a:pt x="2143" y="1232"/>
                  <a:pt x="2146" y="1236"/>
                  <a:pt x="2147" y="1243"/>
                </a:cubicBezTo>
                <a:cubicBezTo>
                  <a:pt x="2148" y="1244"/>
                  <a:pt x="2148" y="1245"/>
                  <a:pt x="2148" y="1246"/>
                </a:cubicBezTo>
                <a:cubicBezTo>
                  <a:pt x="2148" y="1250"/>
                  <a:pt x="2146" y="1256"/>
                  <a:pt x="2146" y="1263"/>
                </a:cubicBezTo>
                <a:cubicBezTo>
                  <a:pt x="2145" y="1271"/>
                  <a:pt x="2150" y="1281"/>
                  <a:pt x="2162" y="1287"/>
                </a:cubicBezTo>
                <a:cubicBezTo>
                  <a:pt x="2183" y="1299"/>
                  <a:pt x="2192" y="1309"/>
                  <a:pt x="2197" y="1324"/>
                </a:cubicBezTo>
                <a:cubicBezTo>
                  <a:pt x="2204" y="1343"/>
                  <a:pt x="2233" y="1370"/>
                  <a:pt x="2233" y="1370"/>
                </a:cubicBezTo>
                <a:cubicBezTo>
                  <a:pt x="2233" y="1371"/>
                  <a:pt x="2254" y="1392"/>
                  <a:pt x="2264" y="1402"/>
                </a:cubicBezTo>
                <a:cubicBezTo>
                  <a:pt x="2269" y="1406"/>
                  <a:pt x="2272" y="1409"/>
                  <a:pt x="2277" y="1409"/>
                </a:cubicBezTo>
                <a:cubicBezTo>
                  <a:pt x="2282" y="1409"/>
                  <a:pt x="2285" y="1406"/>
                  <a:pt x="2287" y="1403"/>
                </a:cubicBezTo>
                <a:cubicBezTo>
                  <a:pt x="2289" y="1400"/>
                  <a:pt x="2290" y="1397"/>
                  <a:pt x="2290" y="1394"/>
                </a:cubicBezTo>
                <a:cubicBezTo>
                  <a:pt x="2291" y="1392"/>
                  <a:pt x="2292" y="1390"/>
                  <a:pt x="2297" y="1389"/>
                </a:cubicBezTo>
                <a:cubicBezTo>
                  <a:pt x="2302" y="1388"/>
                  <a:pt x="2309" y="1387"/>
                  <a:pt x="2317" y="1387"/>
                </a:cubicBezTo>
                <a:cubicBezTo>
                  <a:pt x="2328" y="1387"/>
                  <a:pt x="2337" y="1390"/>
                  <a:pt x="2349" y="1390"/>
                </a:cubicBezTo>
                <a:cubicBezTo>
                  <a:pt x="2353" y="1390"/>
                  <a:pt x="2357" y="1389"/>
                  <a:pt x="2361" y="1389"/>
                </a:cubicBezTo>
                <a:cubicBezTo>
                  <a:pt x="2380" y="1385"/>
                  <a:pt x="2396" y="1372"/>
                  <a:pt x="2401" y="1370"/>
                </a:cubicBezTo>
                <a:cubicBezTo>
                  <a:pt x="2406" y="1367"/>
                  <a:pt x="2417" y="1360"/>
                  <a:pt x="2426" y="1360"/>
                </a:cubicBezTo>
                <a:cubicBezTo>
                  <a:pt x="2430" y="1360"/>
                  <a:pt x="2432" y="1361"/>
                  <a:pt x="2435" y="1363"/>
                </a:cubicBezTo>
                <a:cubicBezTo>
                  <a:pt x="2441" y="1367"/>
                  <a:pt x="2444" y="1372"/>
                  <a:pt x="2446" y="1378"/>
                </a:cubicBezTo>
                <a:cubicBezTo>
                  <a:pt x="2448" y="1384"/>
                  <a:pt x="2450" y="1391"/>
                  <a:pt x="2455" y="1398"/>
                </a:cubicBezTo>
                <a:cubicBezTo>
                  <a:pt x="2459" y="1402"/>
                  <a:pt x="2465" y="1405"/>
                  <a:pt x="2470" y="1405"/>
                </a:cubicBezTo>
                <a:cubicBezTo>
                  <a:pt x="2480" y="1405"/>
                  <a:pt x="2488" y="1399"/>
                  <a:pt x="2496" y="1393"/>
                </a:cubicBezTo>
                <a:cubicBezTo>
                  <a:pt x="2497" y="1391"/>
                  <a:pt x="2498" y="1390"/>
                  <a:pt x="2499" y="1390"/>
                </a:cubicBezTo>
                <a:cubicBezTo>
                  <a:pt x="2500" y="1391"/>
                  <a:pt x="2503" y="1394"/>
                  <a:pt x="2507" y="1396"/>
                </a:cubicBezTo>
                <a:cubicBezTo>
                  <a:pt x="2514" y="1401"/>
                  <a:pt x="2517" y="1405"/>
                  <a:pt x="2517" y="1407"/>
                </a:cubicBezTo>
                <a:cubicBezTo>
                  <a:pt x="2517" y="1409"/>
                  <a:pt x="2516" y="1412"/>
                  <a:pt x="2513" y="1416"/>
                </a:cubicBezTo>
                <a:cubicBezTo>
                  <a:pt x="2505" y="1424"/>
                  <a:pt x="2504" y="1433"/>
                  <a:pt x="2503" y="1442"/>
                </a:cubicBezTo>
                <a:cubicBezTo>
                  <a:pt x="2503" y="1451"/>
                  <a:pt x="2503" y="1460"/>
                  <a:pt x="2500" y="1469"/>
                </a:cubicBezTo>
                <a:cubicBezTo>
                  <a:pt x="2497" y="1477"/>
                  <a:pt x="2495" y="1482"/>
                  <a:pt x="2495" y="1487"/>
                </a:cubicBezTo>
                <a:cubicBezTo>
                  <a:pt x="2495" y="1491"/>
                  <a:pt x="2497" y="1496"/>
                  <a:pt x="2499" y="1499"/>
                </a:cubicBezTo>
                <a:cubicBezTo>
                  <a:pt x="2502" y="1501"/>
                  <a:pt x="2505" y="1504"/>
                  <a:pt x="2509" y="1506"/>
                </a:cubicBezTo>
                <a:cubicBezTo>
                  <a:pt x="2513" y="1508"/>
                  <a:pt x="2523" y="1523"/>
                  <a:pt x="2530" y="1538"/>
                </a:cubicBezTo>
                <a:cubicBezTo>
                  <a:pt x="2539" y="1553"/>
                  <a:pt x="2546" y="1568"/>
                  <a:pt x="2550" y="1574"/>
                </a:cubicBezTo>
                <a:cubicBezTo>
                  <a:pt x="2551" y="1575"/>
                  <a:pt x="2552" y="1579"/>
                  <a:pt x="2552" y="1584"/>
                </a:cubicBezTo>
                <a:cubicBezTo>
                  <a:pt x="2552" y="1590"/>
                  <a:pt x="2551" y="1596"/>
                  <a:pt x="2551" y="1603"/>
                </a:cubicBezTo>
                <a:cubicBezTo>
                  <a:pt x="2551" y="1611"/>
                  <a:pt x="2552" y="1619"/>
                  <a:pt x="2555" y="1627"/>
                </a:cubicBezTo>
                <a:cubicBezTo>
                  <a:pt x="2561" y="1638"/>
                  <a:pt x="2566" y="1647"/>
                  <a:pt x="2566" y="1651"/>
                </a:cubicBezTo>
                <a:cubicBezTo>
                  <a:pt x="2565" y="1653"/>
                  <a:pt x="2565" y="1653"/>
                  <a:pt x="2564" y="1655"/>
                </a:cubicBezTo>
                <a:cubicBezTo>
                  <a:pt x="2554" y="1664"/>
                  <a:pt x="2536" y="1680"/>
                  <a:pt x="2535" y="1710"/>
                </a:cubicBezTo>
                <a:cubicBezTo>
                  <a:pt x="2535" y="1713"/>
                  <a:pt x="2535" y="1716"/>
                  <a:pt x="2535" y="1718"/>
                </a:cubicBezTo>
                <a:cubicBezTo>
                  <a:pt x="2535" y="1743"/>
                  <a:pt x="2540" y="1760"/>
                  <a:pt x="2545" y="1770"/>
                </a:cubicBezTo>
                <a:cubicBezTo>
                  <a:pt x="2549" y="1779"/>
                  <a:pt x="2561" y="1805"/>
                  <a:pt x="2567" y="1816"/>
                </a:cubicBezTo>
                <a:cubicBezTo>
                  <a:pt x="2572" y="1824"/>
                  <a:pt x="2579" y="1848"/>
                  <a:pt x="2580" y="1861"/>
                </a:cubicBezTo>
                <a:cubicBezTo>
                  <a:pt x="2580" y="1864"/>
                  <a:pt x="2580" y="1866"/>
                  <a:pt x="2580" y="1869"/>
                </a:cubicBezTo>
                <a:cubicBezTo>
                  <a:pt x="2580" y="1874"/>
                  <a:pt x="2580" y="1879"/>
                  <a:pt x="2580" y="1884"/>
                </a:cubicBezTo>
                <a:cubicBezTo>
                  <a:pt x="2580" y="1892"/>
                  <a:pt x="2580" y="1899"/>
                  <a:pt x="2584" y="1906"/>
                </a:cubicBezTo>
                <a:cubicBezTo>
                  <a:pt x="2589" y="1913"/>
                  <a:pt x="2593" y="1926"/>
                  <a:pt x="2605" y="1938"/>
                </a:cubicBezTo>
                <a:cubicBezTo>
                  <a:pt x="2609" y="1942"/>
                  <a:pt x="2612" y="1950"/>
                  <a:pt x="2614" y="1957"/>
                </a:cubicBezTo>
                <a:cubicBezTo>
                  <a:pt x="2616" y="1964"/>
                  <a:pt x="2617" y="1969"/>
                  <a:pt x="2617" y="1969"/>
                </a:cubicBezTo>
                <a:cubicBezTo>
                  <a:pt x="2617" y="1971"/>
                  <a:pt x="2617" y="1971"/>
                  <a:pt x="2617" y="1971"/>
                </a:cubicBezTo>
                <a:cubicBezTo>
                  <a:pt x="2617" y="1971"/>
                  <a:pt x="2618" y="1973"/>
                  <a:pt x="2619" y="1977"/>
                </a:cubicBezTo>
                <a:cubicBezTo>
                  <a:pt x="2620" y="1981"/>
                  <a:pt x="2621" y="1987"/>
                  <a:pt x="2621" y="1994"/>
                </a:cubicBezTo>
                <a:cubicBezTo>
                  <a:pt x="2622" y="2001"/>
                  <a:pt x="2622" y="2008"/>
                  <a:pt x="2625" y="2014"/>
                </a:cubicBezTo>
                <a:cubicBezTo>
                  <a:pt x="2627" y="2021"/>
                  <a:pt x="2631" y="2026"/>
                  <a:pt x="2638" y="2030"/>
                </a:cubicBezTo>
                <a:cubicBezTo>
                  <a:pt x="2645" y="2034"/>
                  <a:pt x="2651" y="2036"/>
                  <a:pt x="2657" y="2036"/>
                </a:cubicBezTo>
                <a:cubicBezTo>
                  <a:pt x="2658" y="2036"/>
                  <a:pt x="2658" y="2036"/>
                  <a:pt x="2658" y="2036"/>
                </a:cubicBezTo>
                <a:cubicBezTo>
                  <a:pt x="2663" y="2036"/>
                  <a:pt x="2668" y="2034"/>
                  <a:pt x="2671" y="2030"/>
                </a:cubicBezTo>
                <a:cubicBezTo>
                  <a:pt x="2671" y="2030"/>
                  <a:pt x="2672" y="2029"/>
                  <a:pt x="2674" y="2028"/>
                </a:cubicBezTo>
                <a:cubicBezTo>
                  <a:pt x="2681" y="2026"/>
                  <a:pt x="2693" y="2025"/>
                  <a:pt x="2704" y="2025"/>
                </a:cubicBezTo>
                <a:cubicBezTo>
                  <a:pt x="2708" y="2025"/>
                  <a:pt x="2712" y="2025"/>
                  <a:pt x="2715" y="2026"/>
                </a:cubicBezTo>
                <a:cubicBezTo>
                  <a:pt x="2717" y="2026"/>
                  <a:pt x="2718" y="2026"/>
                  <a:pt x="2719" y="2026"/>
                </a:cubicBezTo>
                <a:cubicBezTo>
                  <a:pt x="2736" y="2026"/>
                  <a:pt x="2752" y="2015"/>
                  <a:pt x="2767" y="2003"/>
                </a:cubicBezTo>
                <a:cubicBezTo>
                  <a:pt x="2783" y="1990"/>
                  <a:pt x="2805" y="1957"/>
                  <a:pt x="2813" y="1948"/>
                </a:cubicBezTo>
                <a:cubicBezTo>
                  <a:pt x="2816" y="1943"/>
                  <a:pt x="2822" y="1937"/>
                  <a:pt x="2828" y="1930"/>
                </a:cubicBezTo>
                <a:cubicBezTo>
                  <a:pt x="2833" y="1923"/>
                  <a:pt x="2838" y="1916"/>
                  <a:pt x="2838" y="1907"/>
                </a:cubicBezTo>
                <a:cubicBezTo>
                  <a:pt x="2838" y="1906"/>
                  <a:pt x="2838" y="1905"/>
                  <a:pt x="2838" y="1904"/>
                </a:cubicBezTo>
                <a:cubicBezTo>
                  <a:pt x="2837" y="1897"/>
                  <a:pt x="2835" y="1892"/>
                  <a:pt x="2835" y="1888"/>
                </a:cubicBezTo>
                <a:cubicBezTo>
                  <a:pt x="2835" y="1885"/>
                  <a:pt x="2835" y="1884"/>
                  <a:pt x="2838" y="1883"/>
                </a:cubicBezTo>
                <a:cubicBezTo>
                  <a:pt x="2842" y="1880"/>
                  <a:pt x="2850" y="1876"/>
                  <a:pt x="2857" y="1871"/>
                </a:cubicBezTo>
                <a:cubicBezTo>
                  <a:pt x="2864" y="1866"/>
                  <a:pt x="2871" y="1862"/>
                  <a:pt x="2873" y="1853"/>
                </a:cubicBezTo>
                <a:cubicBezTo>
                  <a:pt x="2873" y="1853"/>
                  <a:pt x="2873" y="1852"/>
                  <a:pt x="2873" y="1851"/>
                </a:cubicBezTo>
                <a:cubicBezTo>
                  <a:pt x="2873" y="1838"/>
                  <a:pt x="2864" y="1808"/>
                  <a:pt x="2862" y="1801"/>
                </a:cubicBezTo>
                <a:cubicBezTo>
                  <a:pt x="2862" y="1801"/>
                  <a:pt x="2862" y="1801"/>
                  <a:pt x="2862" y="1800"/>
                </a:cubicBezTo>
                <a:cubicBezTo>
                  <a:pt x="2862" y="1797"/>
                  <a:pt x="2868" y="1785"/>
                  <a:pt x="2876" y="1773"/>
                </a:cubicBezTo>
                <a:cubicBezTo>
                  <a:pt x="2880" y="1768"/>
                  <a:pt x="2889" y="1762"/>
                  <a:pt x="2897" y="1758"/>
                </a:cubicBezTo>
                <a:cubicBezTo>
                  <a:pt x="2902" y="1755"/>
                  <a:pt x="2906" y="1753"/>
                  <a:pt x="2910" y="1751"/>
                </a:cubicBezTo>
                <a:cubicBezTo>
                  <a:pt x="2913" y="1749"/>
                  <a:pt x="2916" y="1748"/>
                  <a:pt x="2919" y="1745"/>
                </a:cubicBezTo>
                <a:cubicBezTo>
                  <a:pt x="2924" y="1738"/>
                  <a:pt x="2937" y="1715"/>
                  <a:pt x="2939" y="1695"/>
                </a:cubicBezTo>
                <a:cubicBezTo>
                  <a:pt x="2940" y="1692"/>
                  <a:pt x="2940" y="1689"/>
                  <a:pt x="2940" y="1686"/>
                </a:cubicBezTo>
                <a:cubicBezTo>
                  <a:pt x="2940" y="1674"/>
                  <a:pt x="2938" y="1662"/>
                  <a:pt x="2938" y="1654"/>
                </a:cubicBezTo>
                <a:cubicBezTo>
                  <a:pt x="2938" y="1651"/>
                  <a:pt x="2938" y="1648"/>
                  <a:pt x="2939" y="1647"/>
                </a:cubicBezTo>
                <a:cubicBezTo>
                  <a:pt x="2941" y="1644"/>
                  <a:pt x="2942" y="1640"/>
                  <a:pt x="2942" y="1636"/>
                </a:cubicBezTo>
                <a:cubicBezTo>
                  <a:pt x="2941" y="1627"/>
                  <a:pt x="2936" y="1620"/>
                  <a:pt x="2929" y="1611"/>
                </a:cubicBezTo>
                <a:cubicBezTo>
                  <a:pt x="2925" y="1608"/>
                  <a:pt x="2923" y="1598"/>
                  <a:pt x="2922" y="1588"/>
                </a:cubicBezTo>
                <a:cubicBezTo>
                  <a:pt x="2921" y="1583"/>
                  <a:pt x="2921" y="1578"/>
                  <a:pt x="2921" y="1574"/>
                </a:cubicBezTo>
                <a:cubicBezTo>
                  <a:pt x="2920" y="1570"/>
                  <a:pt x="2920" y="1567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7" y="1559"/>
                  <a:pt x="2917" y="1556"/>
                </a:cubicBezTo>
                <a:cubicBezTo>
                  <a:pt x="2917" y="1551"/>
                  <a:pt x="2918" y="1545"/>
                  <a:pt x="2919" y="1540"/>
                </a:cubicBezTo>
                <a:cubicBezTo>
                  <a:pt x="2919" y="1538"/>
                  <a:pt x="2920" y="1536"/>
                  <a:pt x="2921" y="1535"/>
                </a:cubicBezTo>
                <a:cubicBezTo>
                  <a:pt x="2921" y="1535"/>
                  <a:pt x="2921" y="1534"/>
                  <a:pt x="2921" y="1534"/>
                </a:cubicBezTo>
                <a:cubicBezTo>
                  <a:pt x="2925" y="1532"/>
                  <a:pt x="2927" y="1530"/>
                  <a:pt x="2930" y="1526"/>
                </a:cubicBezTo>
                <a:cubicBezTo>
                  <a:pt x="2938" y="1516"/>
                  <a:pt x="2948" y="1498"/>
                  <a:pt x="2954" y="1490"/>
                </a:cubicBezTo>
                <a:cubicBezTo>
                  <a:pt x="2959" y="1483"/>
                  <a:pt x="2968" y="1471"/>
                  <a:pt x="2977" y="1459"/>
                </a:cubicBezTo>
                <a:cubicBezTo>
                  <a:pt x="2986" y="1448"/>
                  <a:pt x="2997" y="1438"/>
                  <a:pt x="2999" y="1438"/>
                </a:cubicBezTo>
                <a:cubicBezTo>
                  <a:pt x="3008" y="1436"/>
                  <a:pt x="3016" y="1429"/>
                  <a:pt x="3023" y="1421"/>
                </a:cubicBezTo>
                <a:cubicBezTo>
                  <a:pt x="3031" y="1413"/>
                  <a:pt x="3036" y="1404"/>
                  <a:pt x="3037" y="1396"/>
                </a:cubicBezTo>
                <a:cubicBezTo>
                  <a:pt x="3037" y="1393"/>
                  <a:pt x="3046" y="1377"/>
                  <a:pt x="3054" y="1363"/>
                </a:cubicBezTo>
                <a:cubicBezTo>
                  <a:pt x="3059" y="1355"/>
                  <a:pt x="3063" y="1348"/>
                  <a:pt x="3066" y="1342"/>
                </a:cubicBezTo>
                <a:cubicBezTo>
                  <a:pt x="3070" y="1336"/>
                  <a:pt x="3072" y="1332"/>
                  <a:pt x="3073" y="1327"/>
                </a:cubicBezTo>
                <a:cubicBezTo>
                  <a:pt x="3073" y="1324"/>
                  <a:pt x="3076" y="1315"/>
                  <a:pt x="3078" y="1306"/>
                </a:cubicBezTo>
                <a:cubicBezTo>
                  <a:pt x="3081" y="1297"/>
                  <a:pt x="3084" y="1287"/>
                  <a:pt x="3084" y="1279"/>
                </a:cubicBezTo>
                <a:cubicBezTo>
                  <a:pt x="3084" y="1275"/>
                  <a:pt x="3083" y="1272"/>
                  <a:pt x="3081" y="1269"/>
                </a:cubicBezTo>
                <a:cubicBezTo>
                  <a:pt x="3078" y="1265"/>
                  <a:pt x="3074" y="1264"/>
                  <a:pt x="3071" y="1264"/>
                </a:cubicBezTo>
                <a:cubicBezTo>
                  <a:pt x="3054" y="1265"/>
                  <a:pt x="3023" y="1280"/>
                  <a:pt x="3017" y="1282"/>
                </a:cubicBezTo>
                <a:cubicBezTo>
                  <a:pt x="3011" y="1285"/>
                  <a:pt x="2998" y="1294"/>
                  <a:pt x="2983" y="1294"/>
                </a:cubicBezTo>
                <a:cubicBezTo>
                  <a:pt x="2982" y="1294"/>
                  <a:pt x="2981" y="1294"/>
                  <a:pt x="2980" y="1294"/>
                </a:cubicBezTo>
                <a:cubicBezTo>
                  <a:pt x="2976" y="1293"/>
                  <a:pt x="2975" y="1293"/>
                  <a:pt x="2974" y="1292"/>
                </a:cubicBezTo>
                <a:cubicBezTo>
                  <a:pt x="2974" y="1291"/>
                  <a:pt x="2973" y="1289"/>
                  <a:pt x="2973" y="1287"/>
                </a:cubicBezTo>
                <a:cubicBezTo>
                  <a:pt x="2973" y="1283"/>
                  <a:pt x="2974" y="1279"/>
                  <a:pt x="2974" y="1274"/>
                </a:cubicBezTo>
                <a:cubicBezTo>
                  <a:pt x="2974" y="1273"/>
                  <a:pt x="2974" y="1273"/>
                  <a:pt x="2974" y="1272"/>
                </a:cubicBezTo>
                <a:cubicBezTo>
                  <a:pt x="2974" y="1269"/>
                  <a:pt x="2972" y="1265"/>
                  <a:pt x="2970" y="1261"/>
                </a:cubicBezTo>
                <a:cubicBezTo>
                  <a:pt x="2971" y="1262"/>
                  <a:pt x="2972" y="1262"/>
                  <a:pt x="2972" y="1263"/>
                </a:cubicBezTo>
                <a:cubicBezTo>
                  <a:pt x="2975" y="1264"/>
                  <a:pt x="2978" y="1264"/>
                  <a:pt x="2981" y="1264"/>
                </a:cubicBezTo>
                <a:cubicBezTo>
                  <a:pt x="2988" y="1264"/>
                  <a:pt x="2997" y="1262"/>
                  <a:pt x="3005" y="1259"/>
                </a:cubicBezTo>
                <a:cubicBezTo>
                  <a:pt x="3014" y="1256"/>
                  <a:pt x="3021" y="1254"/>
                  <a:pt x="3024" y="1251"/>
                </a:cubicBezTo>
                <a:cubicBezTo>
                  <a:pt x="3029" y="1248"/>
                  <a:pt x="3069" y="1225"/>
                  <a:pt x="3079" y="1225"/>
                </a:cubicBezTo>
                <a:cubicBezTo>
                  <a:pt x="3088" y="1224"/>
                  <a:pt x="3093" y="1220"/>
                  <a:pt x="3098" y="1216"/>
                </a:cubicBezTo>
                <a:cubicBezTo>
                  <a:pt x="3102" y="1213"/>
                  <a:pt x="3106" y="1210"/>
                  <a:pt x="3113" y="1208"/>
                </a:cubicBezTo>
                <a:cubicBezTo>
                  <a:pt x="3133" y="1203"/>
                  <a:pt x="3146" y="1187"/>
                  <a:pt x="3157" y="1176"/>
                </a:cubicBezTo>
                <a:cubicBezTo>
                  <a:pt x="3170" y="1163"/>
                  <a:pt x="3184" y="1136"/>
                  <a:pt x="3189" y="1126"/>
                </a:cubicBezTo>
                <a:cubicBezTo>
                  <a:pt x="3191" y="1120"/>
                  <a:pt x="3200" y="1114"/>
                  <a:pt x="3201" y="1102"/>
                </a:cubicBezTo>
                <a:cubicBezTo>
                  <a:pt x="3201" y="1099"/>
                  <a:pt x="3200" y="1096"/>
                  <a:pt x="3199" y="1093"/>
                </a:cubicBezTo>
                <a:cubicBezTo>
                  <a:pt x="3195" y="1086"/>
                  <a:pt x="3187" y="1079"/>
                  <a:pt x="3179" y="1073"/>
                </a:cubicBezTo>
                <a:cubicBezTo>
                  <a:pt x="3170" y="1067"/>
                  <a:pt x="3162" y="1062"/>
                  <a:pt x="3155" y="1061"/>
                </a:cubicBezTo>
                <a:cubicBezTo>
                  <a:pt x="3155" y="1061"/>
                  <a:pt x="3155" y="1061"/>
                  <a:pt x="3154" y="1060"/>
                </a:cubicBezTo>
                <a:cubicBezTo>
                  <a:pt x="3153" y="1058"/>
                  <a:pt x="3152" y="1055"/>
                  <a:pt x="3151" y="1051"/>
                </a:cubicBezTo>
                <a:cubicBezTo>
                  <a:pt x="3150" y="1050"/>
                  <a:pt x="3150" y="1048"/>
                  <a:pt x="3148" y="1046"/>
                </a:cubicBezTo>
                <a:cubicBezTo>
                  <a:pt x="3147" y="1044"/>
                  <a:pt x="3144" y="1042"/>
                  <a:pt x="3141" y="1042"/>
                </a:cubicBezTo>
                <a:cubicBezTo>
                  <a:pt x="3137" y="1041"/>
                  <a:pt x="3134" y="1043"/>
                  <a:pt x="3133" y="1045"/>
                </a:cubicBezTo>
                <a:cubicBezTo>
                  <a:pt x="3128" y="1051"/>
                  <a:pt x="3128" y="1055"/>
                  <a:pt x="3121" y="1059"/>
                </a:cubicBezTo>
                <a:cubicBezTo>
                  <a:pt x="3116" y="1063"/>
                  <a:pt x="3110" y="1067"/>
                  <a:pt x="3105" y="1071"/>
                </a:cubicBezTo>
                <a:cubicBezTo>
                  <a:pt x="3101" y="1074"/>
                  <a:pt x="3097" y="1076"/>
                  <a:pt x="3096" y="1076"/>
                </a:cubicBezTo>
                <a:cubicBezTo>
                  <a:pt x="3096" y="1076"/>
                  <a:pt x="3096" y="1075"/>
                  <a:pt x="3096" y="1075"/>
                </a:cubicBezTo>
                <a:cubicBezTo>
                  <a:pt x="3096" y="1070"/>
                  <a:pt x="3095" y="1063"/>
                  <a:pt x="3087" y="1056"/>
                </a:cubicBezTo>
                <a:cubicBezTo>
                  <a:pt x="3081" y="1049"/>
                  <a:pt x="3077" y="1046"/>
                  <a:pt x="3074" y="1043"/>
                </a:cubicBezTo>
                <a:cubicBezTo>
                  <a:pt x="3072" y="1040"/>
                  <a:pt x="3072" y="1039"/>
                  <a:pt x="3072" y="1035"/>
                </a:cubicBezTo>
                <a:cubicBezTo>
                  <a:pt x="3072" y="1030"/>
                  <a:pt x="3069" y="1027"/>
                  <a:pt x="3067" y="1023"/>
                </a:cubicBezTo>
                <a:cubicBezTo>
                  <a:pt x="3059" y="1013"/>
                  <a:pt x="3045" y="999"/>
                  <a:pt x="3044" y="993"/>
                </a:cubicBezTo>
                <a:cubicBezTo>
                  <a:pt x="3044" y="992"/>
                  <a:pt x="3044" y="992"/>
                  <a:pt x="3044" y="992"/>
                </a:cubicBezTo>
                <a:cubicBezTo>
                  <a:pt x="3044" y="988"/>
                  <a:pt x="3046" y="984"/>
                  <a:pt x="3049" y="980"/>
                </a:cubicBezTo>
                <a:cubicBezTo>
                  <a:pt x="3051" y="977"/>
                  <a:pt x="3055" y="975"/>
                  <a:pt x="3055" y="975"/>
                </a:cubicBezTo>
                <a:cubicBezTo>
                  <a:pt x="3056" y="975"/>
                  <a:pt x="3056" y="975"/>
                  <a:pt x="3056" y="976"/>
                </a:cubicBezTo>
                <a:cubicBezTo>
                  <a:pt x="3061" y="987"/>
                  <a:pt x="3066" y="1008"/>
                  <a:pt x="3084" y="1018"/>
                </a:cubicBezTo>
                <a:cubicBezTo>
                  <a:pt x="3091" y="1022"/>
                  <a:pt x="3097" y="1028"/>
                  <a:pt x="3104" y="1032"/>
                </a:cubicBezTo>
                <a:cubicBezTo>
                  <a:pt x="3110" y="1037"/>
                  <a:pt x="3115" y="1041"/>
                  <a:pt x="3120" y="1044"/>
                </a:cubicBezTo>
                <a:cubicBezTo>
                  <a:pt x="3121" y="1044"/>
                  <a:pt x="3123" y="1044"/>
                  <a:pt x="3124" y="1044"/>
                </a:cubicBezTo>
                <a:cubicBezTo>
                  <a:pt x="3131" y="1044"/>
                  <a:pt x="3136" y="1040"/>
                  <a:pt x="3141" y="1037"/>
                </a:cubicBezTo>
                <a:cubicBezTo>
                  <a:pt x="3143" y="1035"/>
                  <a:pt x="3146" y="1034"/>
                  <a:pt x="3148" y="1033"/>
                </a:cubicBezTo>
                <a:cubicBezTo>
                  <a:pt x="3149" y="1032"/>
                  <a:pt x="3149" y="1032"/>
                  <a:pt x="3150" y="1032"/>
                </a:cubicBezTo>
                <a:cubicBezTo>
                  <a:pt x="3152" y="1034"/>
                  <a:pt x="3156" y="1040"/>
                  <a:pt x="3160" y="1046"/>
                </a:cubicBezTo>
                <a:cubicBezTo>
                  <a:pt x="3165" y="1053"/>
                  <a:pt x="3170" y="1060"/>
                  <a:pt x="3178" y="1063"/>
                </a:cubicBezTo>
                <a:cubicBezTo>
                  <a:pt x="3184" y="1066"/>
                  <a:pt x="3195" y="1067"/>
                  <a:pt x="3206" y="1068"/>
                </a:cubicBezTo>
                <a:cubicBezTo>
                  <a:pt x="3217" y="1069"/>
                  <a:pt x="3227" y="1069"/>
                  <a:pt x="3230" y="1069"/>
                </a:cubicBezTo>
                <a:cubicBezTo>
                  <a:pt x="3232" y="1069"/>
                  <a:pt x="3234" y="1069"/>
                  <a:pt x="3238" y="1069"/>
                </a:cubicBezTo>
                <a:cubicBezTo>
                  <a:pt x="3242" y="1069"/>
                  <a:pt x="3249" y="1069"/>
                  <a:pt x="3255" y="1068"/>
                </a:cubicBezTo>
                <a:cubicBezTo>
                  <a:pt x="3260" y="1066"/>
                  <a:pt x="3266" y="1065"/>
                  <a:pt x="3270" y="1059"/>
                </a:cubicBezTo>
                <a:cubicBezTo>
                  <a:pt x="3272" y="1055"/>
                  <a:pt x="3273" y="1054"/>
                  <a:pt x="3274" y="1054"/>
                </a:cubicBezTo>
                <a:cubicBezTo>
                  <a:pt x="3274" y="1054"/>
                  <a:pt x="3275" y="1054"/>
                  <a:pt x="3278" y="1054"/>
                </a:cubicBezTo>
                <a:cubicBezTo>
                  <a:pt x="3279" y="1055"/>
                  <a:pt x="3283" y="1061"/>
                  <a:pt x="3286" y="1066"/>
                </a:cubicBezTo>
                <a:cubicBezTo>
                  <a:pt x="3291" y="1072"/>
                  <a:pt x="3294" y="1078"/>
                  <a:pt x="3301" y="1081"/>
                </a:cubicBezTo>
                <a:cubicBezTo>
                  <a:pt x="3306" y="1083"/>
                  <a:pt x="3311" y="1083"/>
                  <a:pt x="3314" y="1084"/>
                </a:cubicBezTo>
                <a:cubicBezTo>
                  <a:pt x="3317" y="1086"/>
                  <a:pt x="3318" y="1086"/>
                  <a:pt x="3319" y="1093"/>
                </a:cubicBezTo>
                <a:cubicBezTo>
                  <a:pt x="3319" y="1093"/>
                  <a:pt x="3319" y="1094"/>
                  <a:pt x="3319" y="1094"/>
                </a:cubicBezTo>
                <a:cubicBezTo>
                  <a:pt x="3319" y="1095"/>
                  <a:pt x="3319" y="1097"/>
                  <a:pt x="3319" y="1098"/>
                </a:cubicBezTo>
                <a:cubicBezTo>
                  <a:pt x="3319" y="1107"/>
                  <a:pt x="3321" y="1115"/>
                  <a:pt x="3324" y="1122"/>
                </a:cubicBezTo>
                <a:cubicBezTo>
                  <a:pt x="3327" y="1128"/>
                  <a:pt x="3332" y="1134"/>
                  <a:pt x="3339" y="1135"/>
                </a:cubicBezTo>
                <a:cubicBezTo>
                  <a:pt x="3339" y="1135"/>
                  <a:pt x="3340" y="1135"/>
                  <a:pt x="3340" y="1135"/>
                </a:cubicBezTo>
                <a:cubicBezTo>
                  <a:pt x="3349" y="1134"/>
                  <a:pt x="3354" y="1129"/>
                  <a:pt x="3360" y="1124"/>
                </a:cubicBezTo>
                <a:cubicBezTo>
                  <a:pt x="3360" y="1134"/>
                  <a:pt x="3360" y="1148"/>
                  <a:pt x="3359" y="1155"/>
                </a:cubicBezTo>
                <a:cubicBezTo>
                  <a:pt x="3359" y="1155"/>
                  <a:pt x="3359" y="1156"/>
                  <a:pt x="3359" y="1157"/>
                </a:cubicBezTo>
                <a:cubicBezTo>
                  <a:pt x="3359" y="1173"/>
                  <a:pt x="3372" y="1214"/>
                  <a:pt x="3372" y="1215"/>
                </a:cubicBezTo>
                <a:cubicBezTo>
                  <a:pt x="3372" y="1215"/>
                  <a:pt x="3372" y="1215"/>
                  <a:pt x="3372" y="1215"/>
                </a:cubicBezTo>
                <a:cubicBezTo>
                  <a:pt x="3372" y="1215"/>
                  <a:pt x="3389" y="1258"/>
                  <a:pt x="3394" y="1268"/>
                </a:cubicBezTo>
                <a:cubicBezTo>
                  <a:pt x="3397" y="1274"/>
                  <a:pt x="3403" y="1283"/>
                  <a:pt x="3408" y="1293"/>
                </a:cubicBezTo>
                <a:cubicBezTo>
                  <a:pt x="3413" y="1302"/>
                  <a:pt x="3418" y="1313"/>
                  <a:pt x="3418" y="1316"/>
                </a:cubicBezTo>
                <a:cubicBezTo>
                  <a:pt x="3418" y="1323"/>
                  <a:pt x="3418" y="1331"/>
                  <a:pt x="3420" y="1338"/>
                </a:cubicBezTo>
                <a:cubicBezTo>
                  <a:pt x="3421" y="1342"/>
                  <a:pt x="3422" y="1345"/>
                  <a:pt x="3423" y="1348"/>
                </a:cubicBezTo>
                <a:cubicBezTo>
                  <a:pt x="3425" y="1351"/>
                  <a:pt x="3428" y="1354"/>
                  <a:pt x="3433" y="1354"/>
                </a:cubicBezTo>
                <a:cubicBezTo>
                  <a:pt x="3438" y="1354"/>
                  <a:pt x="3441" y="1351"/>
                  <a:pt x="3443" y="1348"/>
                </a:cubicBezTo>
                <a:cubicBezTo>
                  <a:pt x="3449" y="1340"/>
                  <a:pt x="3454" y="1325"/>
                  <a:pt x="3460" y="1315"/>
                </a:cubicBezTo>
                <a:cubicBezTo>
                  <a:pt x="3461" y="1314"/>
                  <a:pt x="3461" y="1313"/>
                  <a:pt x="3462" y="1311"/>
                </a:cubicBezTo>
                <a:cubicBezTo>
                  <a:pt x="3461" y="1314"/>
                  <a:pt x="3460" y="1317"/>
                  <a:pt x="3459" y="1320"/>
                </a:cubicBezTo>
                <a:cubicBezTo>
                  <a:pt x="3458" y="1327"/>
                  <a:pt x="3457" y="1335"/>
                  <a:pt x="3457" y="1343"/>
                </a:cubicBezTo>
                <a:cubicBezTo>
                  <a:pt x="3457" y="1349"/>
                  <a:pt x="3457" y="1354"/>
                  <a:pt x="3459" y="1359"/>
                </a:cubicBezTo>
                <a:cubicBezTo>
                  <a:pt x="3460" y="1364"/>
                  <a:pt x="3463" y="1369"/>
                  <a:pt x="3469" y="1372"/>
                </a:cubicBezTo>
                <a:cubicBezTo>
                  <a:pt x="3471" y="1373"/>
                  <a:pt x="3472" y="1373"/>
                  <a:pt x="3474" y="1373"/>
                </a:cubicBezTo>
                <a:cubicBezTo>
                  <a:pt x="3483" y="1373"/>
                  <a:pt x="3488" y="1367"/>
                  <a:pt x="3491" y="1361"/>
                </a:cubicBezTo>
                <a:cubicBezTo>
                  <a:pt x="3494" y="1355"/>
                  <a:pt x="3495" y="1349"/>
                  <a:pt x="3495" y="1343"/>
                </a:cubicBezTo>
                <a:cubicBezTo>
                  <a:pt x="3495" y="1340"/>
                  <a:pt x="3495" y="1337"/>
                  <a:pt x="3493" y="1334"/>
                </a:cubicBezTo>
                <a:cubicBezTo>
                  <a:pt x="3492" y="1333"/>
                  <a:pt x="3490" y="1325"/>
                  <a:pt x="3488" y="1319"/>
                </a:cubicBezTo>
                <a:cubicBezTo>
                  <a:pt x="3487" y="1315"/>
                  <a:pt x="3486" y="1312"/>
                  <a:pt x="3484" y="1309"/>
                </a:cubicBezTo>
                <a:cubicBezTo>
                  <a:pt x="3482" y="1306"/>
                  <a:pt x="3479" y="1303"/>
                  <a:pt x="3474" y="1303"/>
                </a:cubicBezTo>
                <a:cubicBezTo>
                  <a:pt x="3472" y="1303"/>
                  <a:pt x="3468" y="1303"/>
                  <a:pt x="3468" y="1304"/>
                </a:cubicBezTo>
                <a:cubicBezTo>
                  <a:pt x="3468" y="1304"/>
                  <a:pt x="3468" y="1304"/>
                  <a:pt x="3468" y="1304"/>
                </a:cubicBezTo>
                <a:cubicBezTo>
                  <a:pt x="3464" y="1306"/>
                  <a:pt x="3464" y="1308"/>
                  <a:pt x="3463" y="1310"/>
                </a:cubicBezTo>
                <a:cubicBezTo>
                  <a:pt x="3469" y="1296"/>
                  <a:pt x="3471" y="1279"/>
                  <a:pt x="3474" y="1267"/>
                </a:cubicBezTo>
                <a:cubicBezTo>
                  <a:pt x="3478" y="1252"/>
                  <a:pt x="3478" y="1227"/>
                  <a:pt x="3478" y="1217"/>
                </a:cubicBezTo>
                <a:cubicBezTo>
                  <a:pt x="3478" y="1211"/>
                  <a:pt x="3482" y="1205"/>
                  <a:pt x="3498" y="1196"/>
                </a:cubicBezTo>
                <a:cubicBezTo>
                  <a:pt x="3517" y="1186"/>
                  <a:pt x="3528" y="1162"/>
                  <a:pt x="3540" y="1151"/>
                </a:cubicBezTo>
                <a:cubicBezTo>
                  <a:pt x="3549" y="1144"/>
                  <a:pt x="3552" y="1135"/>
                  <a:pt x="3556" y="1129"/>
                </a:cubicBezTo>
                <a:cubicBezTo>
                  <a:pt x="3561" y="1124"/>
                  <a:pt x="3564" y="1120"/>
                  <a:pt x="3577" y="1120"/>
                </a:cubicBezTo>
                <a:cubicBezTo>
                  <a:pt x="3591" y="1120"/>
                  <a:pt x="3597" y="1120"/>
                  <a:pt x="3602" y="1119"/>
                </a:cubicBezTo>
                <a:cubicBezTo>
                  <a:pt x="3608" y="1117"/>
                  <a:pt x="3611" y="1113"/>
                  <a:pt x="3614" y="1109"/>
                </a:cubicBezTo>
                <a:cubicBezTo>
                  <a:pt x="3615" y="1107"/>
                  <a:pt x="3617" y="1105"/>
                  <a:pt x="3618" y="1104"/>
                </a:cubicBezTo>
                <a:cubicBezTo>
                  <a:pt x="3619" y="1104"/>
                  <a:pt x="3619" y="1104"/>
                  <a:pt x="3619" y="1104"/>
                </a:cubicBezTo>
                <a:cubicBezTo>
                  <a:pt x="3619" y="1105"/>
                  <a:pt x="3620" y="1106"/>
                  <a:pt x="3620" y="1108"/>
                </a:cubicBezTo>
                <a:cubicBezTo>
                  <a:pt x="3623" y="1118"/>
                  <a:pt x="3629" y="1127"/>
                  <a:pt x="3635" y="1135"/>
                </a:cubicBezTo>
                <a:cubicBezTo>
                  <a:pt x="3640" y="1144"/>
                  <a:pt x="3646" y="1151"/>
                  <a:pt x="3648" y="1153"/>
                </a:cubicBezTo>
                <a:cubicBezTo>
                  <a:pt x="3650" y="1157"/>
                  <a:pt x="3656" y="1170"/>
                  <a:pt x="3656" y="1183"/>
                </a:cubicBezTo>
                <a:cubicBezTo>
                  <a:pt x="3656" y="1184"/>
                  <a:pt x="3656" y="1185"/>
                  <a:pt x="3656" y="1186"/>
                </a:cubicBezTo>
                <a:cubicBezTo>
                  <a:pt x="3656" y="1189"/>
                  <a:pt x="3656" y="1192"/>
                  <a:pt x="3656" y="1195"/>
                </a:cubicBezTo>
                <a:cubicBezTo>
                  <a:pt x="3656" y="1203"/>
                  <a:pt x="3656" y="1210"/>
                  <a:pt x="3658" y="1216"/>
                </a:cubicBezTo>
                <a:cubicBezTo>
                  <a:pt x="3658" y="1219"/>
                  <a:pt x="3659" y="1221"/>
                  <a:pt x="3660" y="1224"/>
                </a:cubicBezTo>
                <a:cubicBezTo>
                  <a:pt x="3662" y="1226"/>
                  <a:pt x="3665" y="1229"/>
                  <a:pt x="3669" y="1229"/>
                </a:cubicBezTo>
                <a:cubicBezTo>
                  <a:pt x="3674" y="1228"/>
                  <a:pt x="3676" y="1225"/>
                  <a:pt x="3679" y="1223"/>
                </a:cubicBezTo>
                <a:cubicBezTo>
                  <a:pt x="3684" y="1217"/>
                  <a:pt x="3689" y="1207"/>
                  <a:pt x="3691" y="1203"/>
                </a:cubicBezTo>
                <a:cubicBezTo>
                  <a:pt x="3692" y="1202"/>
                  <a:pt x="3694" y="1201"/>
                  <a:pt x="3696" y="1200"/>
                </a:cubicBezTo>
                <a:cubicBezTo>
                  <a:pt x="3699" y="1198"/>
                  <a:pt x="3703" y="1196"/>
                  <a:pt x="3704" y="1197"/>
                </a:cubicBezTo>
                <a:cubicBezTo>
                  <a:pt x="3704" y="1197"/>
                  <a:pt x="3704" y="1198"/>
                  <a:pt x="3704" y="1199"/>
                </a:cubicBezTo>
                <a:cubicBezTo>
                  <a:pt x="3704" y="1200"/>
                  <a:pt x="3704" y="1200"/>
                  <a:pt x="3704" y="1200"/>
                </a:cubicBezTo>
                <a:cubicBezTo>
                  <a:pt x="3704" y="1204"/>
                  <a:pt x="3704" y="1207"/>
                  <a:pt x="3704" y="1210"/>
                </a:cubicBezTo>
                <a:cubicBezTo>
                  <a:pt x="3704" y="1230"/>
                  <a:pt x="3706" y="1249"/>
                  <a:pt x="3706" y="1260"/>
                </a:cubicBezTo>
                <a:cubicBezTo>
                  <a:pt x="3707" y="1268"/>
                  <a:pt x="3711" y="1278"/>
                  <a:pt x="3716" y="1287"/>
                </a:cubicBezTo>
                <a:cubicBezTo>
                  <a:pt x="3717" y="1290"/>
                  <a:pt x="3719" y="1293"/>
                  <a:pt x="3720" y="1295"/>
                </a:cubicBezTo>
                <a:cubicBezTo>
                  <a:pt x="3720" y="1295"/>
                  <a:pt x="3720" y="1295"/>
                  <a:pt x="3720" y="1295"/>
                </a:cubicBezTo>
                <a:cubicBezTo>
                  <a:pt x="3714" y="1296"/>
                  <a:pt x="3711" y="1300"/>
                  <a:pt x="3709" y="1304"/>
                </a:cubicBezTo>
                <a:cubicBezTo>
                  <a:pt x="3707" y="1308"/>
                  <a:pt x="3707" y="1313"/>
                  <a:pt x="3707" y="1317"/>
                </a:cubicBezTo>
                <a:cubicBezTo>
                  <a:pt x="3707" y="1323"/>
                  <a:pt x="3708" y="1329"/>
                  <a:pt x="3711" y="1334"/>
                </a:cubicBezTo>
                <a:cubicBezTo>
                  <a:pt x="3715" y="1339"/>
                  <a:pt x="3719" y="1340"/>
                  <a:pt x="3722" y="1342"/>
                </a:cubicBezTo>
                <a:cubicBezTo>
                  <a:pt x="3724" y="1344"/>
                  <a:pt x="3727" y="1347"/>
                  <a:pt x="3730" y="1359"/>
                </a:cubicBezTo>
                <a:cubicBezTo>
                  <a:pt x="3736" y="1385"/>
                  <a:pt x="3747" y="1410"/>
                  <a:pt x="3752" y="1420"/>
                </a:cubicBezTo>
                <a:cubicBezTo>
                  <a:pt x="3755" y="1426"/>
                  <a:pt x="3762" y="1432"/>
                  <a:pt x="3768" y="1438"/>
                </a:cubicBezTo>
                <a:cubicBezTo>
                  <a:pt x="3775" y="1443"/>
                  <a:pt x="3781" y="1449"/>
                  <a:pt x="3784" y="1452"/>
                </a:cubicBezTo>
                <a:cubicBezTo>
                  <a:pt x="3787" y="1454"/>
                  <a:pt x="3790" y="1456"/>
                  <a:pt x="3794" y="1456"/>
                </a:cubicBezTo>
                <a:cubicBezTo>
                  <a:pt x="3802" y="1456"/>
                  <a:pt x="3808" y="1449"/>
                  <a:pt x="3808" y="1441"/>
                </a:cubicBezTo>
                <a:cubicBezTo>
                  <a:pt x="3808" y="1438"/>
                  <a:pt x="3808" y="1436"/>
                  <a:pt x="3806" y="1433"/>
                </a:cubicBezTo>
                <a:cubicBezTo>
                  <a:pt x="3801" y="1425"/>
                  <a:pt x="3793" y="1412"/>
                  <a:pt x="3792" y="1405"/>
                </a:cubicBezTo>
                <a:cubicBezTo>
                  <a:pt x="3791" y="1394"/>
                  <a:pt x="3785" y="1379"/>
                  <a:pt x="3775" y="1362"/>
                </a:cubicBezTo>
                <a:cubicBezTo>
                  <a:pt x="3765" y="1344"/>
                  <a:pt x="3757" y="1339"/>
                  <a:pt x="3752" y="1330"/>
                </a:cubicBezTo>
                <a:cubicBezTo>
                  <a:pt x="3748" y="1323"/>
                  <a:pt x="3740" y="1313"/>
                  <a:pt x="3733" y="1306"/>
                </a:cubicBezTo>
                <a:cubicBezTo>
                  <a:pt x="3735" y="1306"/>
                  <a:pt x="3738" y="1304"/>
                  <a:pt x="3738" y="1302"/>
                </a:cubicBezTo>
                <a:cubicBezTo>
                  <a:pt x="3739" y="1301"/>
                  <a:pt x="3739" y="1300"/>
                  <a:pt x="3739" y="1299"/>
                </a:cubicBezTo>
                <a:cubicBezTo>
                  <a:pt x="3739" y="1296"/>
                  <a:pt x="3741" y="1288"/>
                  <a:pt x="3744" y="1280"/>
                </a:cubicBezTo>
                <a:cubicBezTo>
                  <a:pt x="3746" y="1272"/>
                  <a:pt x="3748" y="1263"/>
                  <a:pt x="3749" y="1256"/>
                </a:cubicBezTo>
                <a:cubicBezTo>
                  <a:pt x="3751" y="1258"/>
                  <a:pt x="3755" y="1261"/>
                  <a:pt x="3759" y="1265"/>
                </a:cubicBezTo>
                <a:cubicBezTo>
                  <a:pt x="3766" y="1270"/>
                  <a:pt x="3772" y="1279"/>
                  <a:pt x="3776" y="1286"/>
                </a:cubicBezTo>
                <a:cubicBezTo>
                  <a:pt x="3780" y="1294"/>
                  <a:pt x="3783" y="1299"/>
                  <a:pt x="3783" y="1299"/>
                </a:cubicBezTo>
                <a:cubicBezTo>
                  <a:pt x="3784" y="1301"/>
                  <a:pt x="3784" y="1301"/>
                  <a:pt x="3784" y="1301"/>
                </a:cubicBezTo>
                <a:cubicBezTo>
                  <a:pt x="3784" y="1301"/>
                  <a:pt x="3788" y="1305"/>
                  <a:pt x="3792" y="1310"/>
                </a:cubicBezTo>
                <a:cubicBezTo>
                  <a:pt x="3795" y="1315"/>
                  <a:pt x="3800" y="1321"/>
                  <a:pt x="3800" y="1322"/>
                </a:cubicBezTo>
                <a:cubicBezTo>
                  <a:pt x="3801" y="1327"/>
                  <a:pt x="3806" y="1329"/>
                  <a:pt x="3809" y="1329"/>
                </a:cubicBezTo>
                <a:cubicBezTo>
                  <a:pt x="3815" y="1329"/>
                  <a:pt x="3819" y="1326"/>
                  <a:pt x="3823" y="1323"/>
                </a:cubicBezTo>
                <a:cubicBezTo>
                  <a:pt x="3827" y="1320"/>
                  <a:pt x="3831" y="1317"/>
                  <a:pt x="3833" y="1312"/>
                </a:cubicBezTo>
                <a:cubicBezTo>
                  <a:pt x="3837" y="1304"/>
                  <a:pt x="3837" y="1303"/>
                  <a:pt x="3844" y="1300"/>
                </a:cubicBezTo>
                <a:cubicBezTo>
                  <a:pt x="3848" y="1299"/>
                  <a:pt x="3854" y="1298"/>
                  <a:pt x="3860" y="1296"/>
                </a:cubicBezTo>
                <a:cubicBezTo>
                  <a:pt x="3865" y="1293"/>
                  <a:pt x="3871" y="1287"/>
                  <a:pt x="3873" y="1278"/>
                </a:cubicBezTo>
                <a:cubicBezTo>
                  <a:pt x="3874" y="1269"/>
                  <a:pt x="3880" y="1258"/>
                  <a:pt x="3880" y="1245"/>
                </a:cubicBezTo>
                <a:cubicBezTo>
                  <a:pt x="3880" y="1237"/>
                  <a:pt x="3878" y="1228"/>
                  <a:pt x="3872" y="1219"/>
                </a:cubicBezTo>
                <a:cubicBezTo>
                  <a:pt x="3858" y="1199"/>
                  <a:pt x="3851" y="1185"/>
                  <a:pt x="3840" y="1174"/>
                </a:cubicBezTo>
                <a:cubicBezTo>
                  <a:pt x="3836" y="1171"/>
                  <a:pt x="3831" y="1162"/>
                  <a:pt x="3828" y="1155"/>
                </a:cubicBezTo>
                <a:cubicBezTo>
                  <a:pt x="3826" y="1151"/>
                  <a:pt x="3825" y="1148"/>
                  <a:pt x="3824" y="1146"/>
                </a:cubicBezTo>
                <a:cubicBezTo>
                  <a:pt x="3830" y="1139"/>
                  <a:pt x="3845" y="1123"/>
                  <a:pt x="3851" y="1116"/>
                </a:cubicBezTo>
                <a:cubicBezTo>
                  <a:pt x="3852" y="1115"/>
                  <a:pt x="3853" y="1114"/>
                  <a:pt x="3854" y="1114"/>
                </a:cubicBezTo>
                <a:cubicBezTo>
                  <a:pt x="3855" y="1114"/>
                  <a:pt x="3858" y="1116"/>
                  <a:pt x="3858" y="1120"/>
                </a:cubicBezTo>
                <a:cubicBezTo>
                  <a:pt x="3858" y="1120"/>
                  <a:pt x="3858" y="1120"/>
                  <a:pt x="3858" y="1121"/>
                </a:cubicBezTo>
                <a:cubicBezTo>
                  <a:pt x="3859" y="1123"/>
                  <a:pt x="3857" y="1127"/>
                  <a:pt x="3854" y="1133"/>
                </a:cubicBezTo>
                <a:cubicBezTo>
                  <a:pt x="3851" y="1138"/>
                  <a:pt x="3847" y="1146"/>
                  <a:pt x="3846" y="1157"/>
                </a:cubicBezTo>
                <a:cubicBezTo>
                  <a:pt x="3846" y="1159"/>
                  <a:pt x="3846" y="1160"/>
                  <a:pt x="3846" y="1162"/>
                </a:cubicBezTo>
                <a:cubicBezTo>
                  <a:pt x="3846" y="1177"/>
                  <a:pt x="3855" y="1187"/>
                  <a:pt x="3865" y="1187"/>
                </a:cubicBezTo>
                <a:cubicBezTo>
                  <a:pt x="3869" y="1187"/>
                  <a:pt x="3873" y="1186"/>
                  <a:pt x="3875" y="1182"/>
                </a:cubicBezTo>
                <a:cubicBezTo>
                  <a:pt x="3877" y="1179"/>
                  <a:pt x="3882" y="1173"/>
                  <a:pt x="3885" y="1167"/>
                </a:cubicBezTo>
                <a:cubicBezTo>
                  <a:pt x="3887" y="1164"/>
                  <a:pt x="3889" y="1161"/>
                  <a:pt x="3890" y="1159"/>
                </a:cubicBezTo>
                <a:cubicBezTo>
                  <a:pt x="3891" y="1156"/>
                  <a:pt x="3892" y="1155"/>
                  <a:pt x="3892" y="1151"/>
                </a:cubicBezTo>
                <a:cubicBezTo>
                  <a:pt x="3892" y="1148"/>
                  <a:pt x="3891" y="1145"/>
                  <a:pt x="3889" y="1144"/>
                </a:cubicBezTo>
                <a:cubicBezTo>
                  <a:pt x="3886" y="1141"/>
                  <a:pt x="3884" y="1143"/>
                  <a:pt x="3884" y="1133"/>
                </a:cubicBezTo>
                <a:cubicBezTo>
                  <a:pt x="3884" y="1132"/>
                  <a:pt x="3884" y="1132"/>
                  <a:pt x="3884" y="1132"/>
                </a:cubicBezTo>
                <a:cubicBezTo>
                  <a:pt x="3884" y="1127"/>
                  <a:pt x="3885" y="1123"/>
                  <a:pt x="3888" y="1120"/>
                </a:cubicBezTo>
                <a:cubicBezTo>
                  <a:pt x="3891" y="1118"/>
                  <a:pt x="3894" y="1116"/>
                  <a:pt x="3895" y="1116"/>
                </a:cubicBezTo>
                <a:cubicBezTo>
                  <a:pt x="3898" y="1118"/>
                  <a:pt x="3900" y="1118"/>
                  <a:pt x="3903" y="1118"/>
                </a:cubicBezTo>
                <a:cubicBezTo>
                  <a:pt x="3917" y="1118"/>
                  <a:pt x="3945" y="1110"/>
                  <a:pt x="3961" y="1100"/>
                </a:cubicBezTo>
                <a:cubicBezTo>
                  <a:pt x="3980" y="1087"/>
                  <a:pt x="3991" y="1063"/>
                  <a:pt x="4000" y="1055"/>
                </a:cubicBezTo>
                <a:cubicBezTo>
                  <a:pt x="4005" y="1050"/>
                  <a:pt x="4016" y="1040"/>
                  <a:pt x="4026" y="1029"/>
                </a:cubicBezTo>
                <a:cubicBezTo>
                  <a:pt x="4036" y="1018"/>
                  <a:pt x="4045" y="1007"/>
                  <a:pt x="4046" y="995"/>
                </a:cubicBezTo>
                <a:cubicBezTo>
                  <a:pt x="4046" y="995"/>
                  <a:pt x="4045" y="994"/>
                  <a:pt x="4045" y="993"/>
                </a:cubicBezTo>
                <a:cubicBezTo>
                  <a:pt x="4043" y="979"/>
                  <a:pt x="4047" y="958"/>
                  <a:pt x="4037" y="936"/>
                </a:cubicBezTo>
                <a:cubicBezTo>
                  <a:pt x="4028" y="918"/>
                  <a:pt x="4017" y="905"/>
                  <a:pt x="4012" y="898"/>
                </a:cubicBezTo>
                <a:cubicBezTo>
                  <a:pt x="4014" y="896"/>
                  <a:pt x="4018" y="895"/>
                  <a:pt x="4022" y="893"/>
                </a:cubicBezTo>
                <a:cubicBezTo>
                  <a:pt x="4028" y="890"/>
                  <a:pt x="4036" y="887"/>
                  <a:pt x="4041" y="881"/>
                </a:cubicBezTo>
                <a:cubicBezTo>
                  <a:pt x="4046" y="876"/>
                  <a:pt x="4048" y="871"/>
                  <a:pt x="4048" y="866"/>
                </a:cubicBezTo>
                <a:cubicBezTo>
                  <a:pt x="4048" y="856"/>
                  <a:pt x="4041" y="849"/>
                  <a:pt x="4032" y="848"/>
                </a:cubicBezTo>
                <a:cubicBezTo>
                  <a:pt x="4032" y="848"/>
                  <a:pt x="4031" y="849"/>
                  <a:pt x="4030" y="849"/>
                </a:cubicBezTo>
                <a:cubicBezTo>
                  <a:pt x="4025" y="850"/>
                  <a:pt x="4013" y="853"/>
                  <a:pt x="4008" y="853"/>
                </a:cubicBezTo>
                <a:cubicBezTo>
                  <a:pt x="4007" y="853"/>
                  <a:pt x="4006" y="853"/>
                  <a:pt x="4006" y="853"/>
                </a:cubicBezTo>
                <a:cubicBezTo>
                  <a:pt x="4005" y="853"/>
                  <a:pt x="4000" y="847"/>
                  <a:pt x="3990" y="838"/>
                </a:cubicBezTo>
                <a:cubicBezTo>
                  <a:pt x="3989" y="836"/>
                  <a:pt x="3989" y="836"/>
                  <a:pt x="3989" y="835"/>
                </a:cubicBezTo>
                <a:cubicBezTo>
                  <a:pt x="3989" y="834"/>
                  <a:pt x="3990" y="832"/>
                  <a:pt x="3991" y="831"/>
                </a:cubicBezTo>
                <a:cubicBezTo>
                  <a:pt x="3992" y="830"/>
                  <a:pt x="3992" y="829"/>
                  <a:pt x="3993" y="829"/>
                </a:cubicBezTo>
                <a:cubicBezTo>
                  <a:pt x="3993" y="829"/>
                  <a:pt x="3993" y="829"/>
                  <a:pt x="3993" y="829"/>
                </a:cubicBezTo>
                <a:cubicBezTo>
                  <a:pt x="3994" y="829"/>
                  <a:pt x="3995" y="829"/>
                  <a:pt x="3995" y="829"/>
                </a:cubicBezTo>
                <a:cubicBezTo>
                  <a:pt x="4002" y="829"/>
                  <a:pt x="4007" y="824"/>
                  <a:pt x="4012" y="820"/>
                </a:cubicBezTo>
                <a:cubicBezTo>
                  <a:pt x="4017" y="815"/>
                  <a:pt x="4022" y="811"/>
                  <a:pt x="4026" y="807"/>
                </a:cubicBezTo>
                <a:cubicBezTo>
                  <a:pt x="4024" y="812"/>
                  <a:pt x="4023" y="817"/>
                  <a:pt x="4023" y="822"/>
                </a:cubicBezTo>
                <a:cubicBezTo>
                  <a:pt x="4023" y="825"/>
                  <a:pt x="4024" y="827"/>
                  <a:pt x="4025" y="830"/>
                </a:cubicBezTo>
                <a:cubicBezTo>
                  <a:pt x="4026" y="833"/>
                  <a:pt x="4029" y="835"/>
                  <a:pt x="4033" y="836"/>
                </a:cubicBezTo>
                <a:cubicBezTo>
                  <a:pt x="4033" y="836"/>
                  <a:pt x="4034" y="836"/>
                  <a:pt x="4034" y="836"/>
                </a:cubicBezTo>
                <a:cubicBezTo>
                  <a:pt x="4043" y="836"/>
                  <a:pt x="4050" y="830"/>
                  <a:pt x="4057" y="825"/>
                </a:cubicBezTo>
                <a:cubicBezTo>
                  <a:pt x="4060" y="823"/>
                  <a:pt x="4063" y="820"/>
                  <a:pt x="4066" y="818"/>
                </a:cubicBezTo>
                <a:cubicBezTo>
                  <a:pt x="4066" y="818"/>
                  <a:pt x="4066" y="818"/>
                  <a:pt x="4066" y="818"/>
                </a:cubicBezTo>
                <a:cubicBezTo>
                  <a:pt x="4067" y="822"/>
                  <a:pt x="4069" y="827"/>
                  <a:pt x="4069" y="832"/>
                </a:cubicBezTo>
                <a:cubicBezTo>
                  <a:pt x="4069" y="834"/>
                  <a:pt x="4069" y="835"/>
                  <a:pt x="4068" y="836"/>
                </a:cubicBezTo>
                <a:cubicBezTo>
                  <a:pt x="4066" y="841"/>
                  <a:pt x="4065" y="846"/>
                  <a:pt x="4065" y="851"/>
                </a:cubicBezTo>
                <a:cubicBezTo>
                  <a:pt x="4065" y="854"/>
                  <a:pt x="4066" y="856"/>
                  <a:pt x="4066" y="859"/>
                </a:cubicBezTo>
                <a:cubicBezTo>
                  <a:pt x="4067" y="861"/>
                  <a:pt x="4069" y="865"/>
                  <a:pt x="4074" y="865"/>
                </a:cubicBezTo>
                <a:cubicBezTo>
                  <a:pt x="4075" y="865"/>
                  <a:pt x="4076" y="865"/>
                  <a:pt x="4077" y="865"/>
                </a:cubicBezTo>
                <a:cubicBezTo>
                  <a:pt x="4081" y="863"/>
                  <a:pt x="4084" y="860"/>
                  <a:pt x="4087" y="858"/>
                </a:cubicBezTo>
                <a:cubicBezTo>
                  <a:pt x="4087" y="857"/>
                  <a:pt x="4088" y="856"/>
                  <a:pt x="4089" y="856"/>
                </a:cubicBezTo>
                <a:cubicBezTo>
                  <a:pt x="4092" y="860"/>
                  <a:pt x="4095" y="863"/>
                  <a:pt x="4095" y="869"/>
                </a:cubicBezTo>
                <a:cubicBezTo>
                  <a:pt x="4095" y="870"/>
                  <a:pt x="4094" y="872"/>
                  <a:pt x="4094" y="875"/>
                </a:cubicBezTo>
                <a:cubicBezTo>
                  <a:pt x="4091" y="883"/>
                  <a:pt x="4084" y="888"/>
                  <a:pt x="4083" y="898"/>
                </a:cubicBezTo>
                <a:cubicBezTo>
                  <a:pt x="4083" y="904"/>
                  <a:pt x="4087" y="908"/>
                  <a:pt x="4092" y="912"/>
                </a:cubicBezTo>
                <a:cubicBezTo>
                  <a:pt x="4097" y="916"/>
                  <a:pt x="4102" y="917"/>
                  <a:pt x="4107" y="917"/>
                </a:cubicBezTo>
                <a:cubicBezTo>
                  <a:pt x="4117" y="917"/>
                  <a:pt x="4122" y="910"/>
                  <a:pt x="4128" y="907"/>
                </a:cubicBezTo>
                <a:cubicBezTo>
                  <a:pt x="4139" y="898"/>
                  <a:pt x="4144" y="880"/>
                  <a:pt x="4144" y="865"/>
                </a:cubicBezTo>
                <a:cubicBezTo>
                  <a:pt x="4144" y="860"/>
                  <a:pt x="4144" y="856"/>
                  <a:pt x="4141" y="852"/>
                </a:cubicBezTo>
                <a:cubicBezTo>
                  <a:pt x="4138" y="846"/>
                  <a:pt x="4133" y="839"/>
                  <a:pt x="4129" y="833"/>
                </a:cubicBezTo>
                <a:cubicBezTo>
                  <a:pt x="4126" y="828"/>
                  <a:pt x="4124" y="822"/>
                  <a:pt x="4123" y="820"/>
                </a:cubicBezTo>
                <a:cubicBezTo>
                  <a:pt x="4125" y="819"/>
                  <a:pt x="4130" y="817"/>
                  <a:pt x="4135" y="815"/>
                </a:cubicBezTo>
                <a:cubicBezTo>
                  <a:pt x="4139" y="813"/>
                  <a:pt x="4145" y="809"/>
                  <a:pt x="4145" y="801"/>
                </a:cubicBezTo>
                <a:cubicBezTo>
                  <a:pt x="4145" y="793"/>
                  <a:pt x="4152" y="786"/>
                  <a:pt x="4158" y="783"/>
                </a:cubicBezTo>
                <a:cubicBezTo>
                  <a:pt x="4164" y="780"/>
                  <a:pt x="4167" y="775"/>
                  <a:pt x="4171" y="771"/>
                </a:cubicBezTo>
                <a:cubicBezTo>
                  <a:pt x="4173" y="770"/>
                  <a:pt x="4174" y="768"/>
                  <a:pt x="4175" y="767"/>
                </a:cubicBezTo>
                <a:cubicBezTo>
                  <a:pt x="4177" y="769"/>
                  <a:pt x="4180" y="771"/>
                  <a:pt x="4183" y="772"/>
                </a:cubicBezTo>
                <a:cubicBezTo>
                  <a:pt x="4188" y="774"/>
                  <a:pt x="4193" y="775"/>
                  <a:pt x="4198" y="775"/>
                </a:cubicBezTo>
                <a:cubicBezTo>
                  <a:pt x="4203" y="775"/>
                  <a:pt x="4209" y="774"/>
                  <a:pt x="4212" y="769"/>
                </a:cubicBezTo>
                <a:cubicBezTo>
                  <a:pt x="4217" y="761"/>
                  <a:pt x="4247" y="731"/>
                  <a:pt x="4265" y="714"/>
                </a:cubicBezTo>
                <a:cubicBezTo>
                  <a:pt x="4285" y="697"/>
                  <a:pt x="4293" y="676"/>
                  <a:pt x="4297" y="656"/>
                </a:cubicBezTo>
                <a:cubicBezTo>
                  <a:pt x="4299" y="651"/>
                  <a:pt x="4300" y="646"/>
                  <a:pt x="4302" y="641"/>
                </a:cubicBezTo>
                <a:cubicBezTo>
                  <a:pt x="4302" y="643"/>
                  <a:pt x="4302" y="645"/>
                  <a:pt x="4302" y="646"/>
                </a:cubicBezTo>
                <a:cubicBezTo>
                  <a:pt x="4302" y="649"/>
                  <a:pt x="4302" y="653"/>
                  <a:pt x="4301" y="656"/>
                </a:cubicBezTo>
                <a:cubicBezTo>
                  <a:pt x="4301" y="660"/>
                  <a:pt x="4301" y="665"/>
                  <a:pt x="4301" y="671"/>
                </a:cubicBezTo>
                <a:cubicBezTo>
                  <a:pt x="4301" y="679"/>
                  <a:pt x="4301" y="687"/>
                  <a:pt x="4302" y="694"/>
                </a:cubicBezTo>
                <a:cubicBezTo>
                  <a:pt x="4302" y="698"/>
                  <a:pt x="4302" y="701"/>
                  <a:pt x="4303" y="703"/>
                </a:cubicBezTo>
                <a:cubicBezTo>
                  <a:pt x="4303" y="706"/>
                  <a:pt x="4303" y="708"/>
                  <a:pt x="4305" y="710"/>
                </a:cubicBezTo>
                <a:cubicBezTo>
                  <a:pt x="4306" y="713"/>
                  <a:pt x="4309" y="716"/>
                  <a:pt x="4312" y="719"/>
                </a:cubicBezTo>
                <a:cubicBezTo>
                  <a:pt x="4315" y="722"/>
                  <a:pt x="4319" y="725"/>
                  <a:pt x="4325" y="725"/>
                </a:cubicBezTo>
                <a:cubicBezTo>
                  <a:pt x="4326" y="725"/>
                  <a:pt x="4328" y="724"/>
                  <a:pt x="4330" y="724"/>
                </a:cubicBezTo>
                <a:cubicBezTo>
                  <a:pt x="4336" y="720"/>
                  <a:pt x="4335" y="715"/>
                  <a:pt x="4335" y="712"/>
                </a:cubicBezTo>
                <a:cubicBezTo>
                  <a:pt x="4335" y="706"/>
                  <a:pt x="4334" y="700"/>
                  <a:pt x="4333" y="694"/>
                </a:cubicBezTo>
                <a:cubicBezTo>
                  <a:pt x="4332" y="688"/>
                  <a:pt x="4331" y="683"/>
                  <a:pt x="4331" y="682"/>
                </a:cubicBezTo>
                <a:cubicBezTo>
                  <a:pt x="4331" y="682"/>
                  <a:pt x="4331" y="682"/>
                  <a:pt x="4331" y="681"/>
                </a:cubicBezTo>
                <a:cubicBezTo>
                  <a:pt x="4333" y="677"/>
                  <a:pt x="4338" y="673"/>
                  <a:pt x="4339" y="673"/>
                </a:cubicBezTo>
                <a:cubicBezTo>
                  <a:pt x="4343" y="672"/>
                  <a:pt x="4344" y="669"/>
                  <a:pt x="4345" y="667"/>
                </a:cubicBezTo>
                <a:cubicBezTo>
                  <a:pt x="4345" y="665"/>
                  <a:pt x="4345" y="663"/>
                  <a:pt x="4345" y="661"/>
                </a:cubicBezTo>
                <a:cubicBezTo>
                  <a:pt x="4345" y="652"/>
                  <a:pt x="4342" y="638"/>
                  <a:pt x="4337" y="630"/>
                </a:cubicBezTo>
                <a:cubicBezTo>
                  <a:pt x="4334" y="625"/>
                  <a:pt x="4331" y="622"/>
                  <a:pt x="4329" y="619"/>
                </a:cubicBezTo>
                <a:cubicBezTo>
                  <a:pt x="4329" y="619"/>
                  <a:pt x="4329" y="619"/>
                  <a:pt x="4329" y="619"/>
                </a:cubicBezTo>
                <a:cubicBezTo>
                  <a:pt x="4331" y="618"/>
                  <a:pt x="4332" y="616"/>
                  <a:pt x="4333" y="614"/>
                </a:cubicBezTo>
                <a:cubicBezTo>
                  <a:pt x="4335" y="611"/>
                  <a:pt x="4336" y="608"/>
                  <a:pt x="4336" y="604"/>
                </a:cubicBezTo>
                <a:cubicBezTo>
                  <a:pt x="4336" y="602"/>
                  <a:pt x="4336" y="599"/>
                  <a:pt x="4333" y="597"/>
                </a:cubicBezTo>
                <a:cubicBezTo>
                  <a:pt x="4333" y="596"/>
                  <a:pt x="4333" y="594"/>
                  <a:pt x="4332" y="592"/>
                </a:cubicBezTo>
                <a:cubicBezTo>
                  <a:pt x="4332" y="590"/>
                  <a:pt x="4328" y="585"/>
                  <a:pt x="4323" y="585"/>
                </a:cubicBezTo>
                <a:cubicBezTo>
                  <a:pt x="4321" y="585"/>
                  <a:pt x="4320" y="585"/>
                  <a:pt x="4318" y="586"/>
                </a:cubicBezTo>
                <a:cubicBezTo>
                  <a:pt x="4318" y="586"/>
                  <a:pt x="4312" y="586"/>
                  <a:pt x="4306" y="587"/>
                </a:cubicBezTo>
                <a:cubicBezTo>
                  <a:pt x="4304" y="587"/>
                  <a:pt x="4302" y="588"/>
                  <a:pt x="4300" y="589"/>
                </a:cubicBezTo>
                <a:cubicBezTo>
                  <a:pt x="4296" y="582"/>
                  <a:pt x="4290" y="577"/>
                  <a:pt x="4282" y="577"/>
                </a:cubicBezTo>
                <a:cubicBezTo>
                  <a:pt x="4281" y="577"/>
                  <a:pt x="4280" y="577"/>
                  <a:pt x="4279" y="577"/>
                </a:cubicBezTo>
                <a:cubicBezTo>
                  <a:pt x="4266" y="579"/>
                  <a:pt x="4261" y="585"/>
                  <a:pt x="4254" y="585"/>
                </a:cubicBezTo>
                <a:cubicBezTo>
                  <a:pt x="4254" y="585"/>
                  <a:pt x="4254" y="584"/>
                  <a:pt x="4254" y="583"/>
                </a:cubicBezTo>
                <a:cubicBezTo>
                  <a:pt x="4254" y="581"/>
                  <a:pt x="4254" y="578"/>
                  <a:pt x="4254" y="576"/>
                </a:cubicBezTo>
                <a:cubicBezTo>
                  <a:pt x="4254" y="574"/>
                  <a:pt x="4254" y="573"/>
                  <a:pt x="4253" y="571"/>
                </a:cubicBezTo>
                <a:cubicBezTo>
                  <a:pt x="4253" y="569"/>
                  <a:pt x="4250" y="566"/>
                  <a:pt x="4246" y="566"/>
                </a:cubicBezTo>
                <a:cubicBezTo>
                  <a:pt x="4242" y="566"/>
                  <a:pt x="4241" y="568"/>
                  <a:pt x="4239" y="569"/>
                </a:cubicBezTo>
                <a:cubicBezTo>
                  <a:pt x="4237" y="571"/>
                  <a:pt x="4235" y="573"/>
                  <a:pt x="4233" y="575"/>
                </a:cubicBezTo>
                <a:cubicBezTo>
                  <a:pt x="4232" y="576"/>
                  <a:pt x="4232" y="576"/>
                  <a:pt x="4231" y="576"/>
                </a:cubicBezTo>
                <a:cubicBezTo>
                  <a:pt x="4231" y="576"/>
                  <a:pt x="4232" y="575"/>
                  <a:pt x="4233" y="574"/>
                </a:cubicBezTo>
                <a:cubicBezTo>
                  <a:pt x="4237" y="569"/>
                  <a:pt x="4250" y="561"/>
                  <a:pt x="4261" y="557"/>
                </a:cubicBezTo>
                <a:cubicBezTo>
                  <a:pt x="4272" y="552"/>
                  <a:pt x="4283" y="540"/>
                  <a:pt x="4294" y="529"/>
                </a:cubicBezTo>
                <a:cubicBezTo>
                  <a:pt x="4300" y="524"/>
                  <a:pt x="4305" y="519"/>
                  <a:pt x="4309" y="515"/>
                </a:cubicBezTo>
                <a:cubicBezTo>
                  <a:pt x="4313" y="511"/>
                  <a:pt x="4317" y="509"/>
                  <a:pt x="4317" y="509"/>
                </a:cubicBezTo>
                <a:cubicBezTo>
                  <a:pt x="4319" y="509"/>
                  <a:pt x="4321" y="509"/>
                  <a:pt x="4323" y="509"/>
                </a:cubicBezTo>
                <a:cubicBezTo>
                  <a:pt x="4334" y="509"/>
                  <a:pt x="4352" y="511"/>
                  <a:pt x="4371" y="511"/>
                </a:cubicBezTo>
                <a:cubicBezTo>
                  <a:pt x="4375" y="511"/>
                  <a:pt x="4379" y="511"/>
                  <a:pt x="4383" y="511"/>
                </a:cubicBezTo>
                <a:cubicBezTo>
                  <a:pt x="4404" y="509"/>
                  <a:pt x="4416" y="501"/>
                  <a:pt x="4418" y="502"/>
                </a:cubicBezTo>
                <a:cubicBezTo>
                  <a:pt x="4419" y="502"/>
                  <a:pt x="4419" y="502"/>
                  <a:pt x="4420" y="502"/>
                </a:cubicBezTo>
                <a:cubicBezTo>
                  <a:pt x="4429" y="510"/>
                  <a:pt x="4444" y="517"/>
                  <a:pt x="4457" y="518"/>
                </a:cubicBezTo>
                <a:cubicBezTo>
                  <a:pt x="4458" y="518"/>
                  <a:pt x="4459" y="518"/>
                  <a:pt x="4460" y="517"/>
                </a:cubicBezTo>
                <a:cubicBezTo>
                  <a:pt x="4465" y="517"/>
                  <a:pt x="4468" y="517"/>
                  <a:pt x="4472" y="514"/>
                </a:cubicBezTo>
                <a:cubicBezTo>
                  <a:pt x="4475" y="512"/>
                  <a:pt x="4477" y="509"/>
                  <a:pt x="4485" y="502"/>
                </a:cubicBezTo>
                <a:cubicBezTo>
                  <a:pt x="4501" y="489"/>
                  <a:pt x="4516" y="482"/>
                  <a:pt x="4525" y="469"/>
                </a:cubicBezTo>
                <a:cubicBezTo>
                  <a:pt x="4529" y="464"/>
                  <a:pt x="4540" y="458"/>
                  <a:pt x="4545" y="459"/>
                </a:cubicBezTo>
                <a:cubicBezTo>
                  <a:pt x="4545" y="459"/>
                  <a:pt x="4544" y="459"/>
                  <a:pt x="4545" y="459"/>
                </a:cubicBezTo>
                <a:cubicBezTo>
                  <a:pt x="4545" y="460"/>
                  <a:pt x="4544" y="462"/>
                  <a:pt x="4544" y="464"/>
                </a:cubicBezTo>
                <a:cubicBezTo>
                  <a:pt x="4544" y="465"/>
                  <a:pt x="4544" y="467"/>
                  <a:pt x="4544" y="468"/>
                </a:cubicBezTo>
                <a:cubicBezTo>
                  <a:pt x="4544" y="472"/>
                  <a:pt x="4545" y="475"/>
                  <a:pt x="4546" y="479"/>
                </a:cubicBezTo>
                <a:cubicBezTo>
                  <a:pt x="4548" y="483"/>
                  <a:pt x="4553" y="486"/>
                  <a:pt x="4558" y="486"/>
                </a:cubicBezTo>
                <a:cubicBezTo>
                  <a:pt x="4559" y="486"/>
                  <a:pt x="4560" y="486"/>
                  <a:pt x="4560" y="486"/>
                </a:cubicBezTo>
                <a:cubicBezTo>
                  <a:pt x="4556" y="489"/>
                  <a:pt x="4553" y="491"/>
                  <a:pt x="4551" y="493"/>
                </a:cubicBezTo>
                <a:cubicBezTo>
                  <a:pt x="4547" y="496"/>
                  <a:pt x="4537" y="500"/>
                  <a:pt x="4527" y="504"/>
                </a:cubicBezTo>
                <a:cubicBezTo>
                  <a:pt x="4517" y="509"/>
                  <a:pt x="4506" y="515"/>
                  <a:pt x="4499" y="525"/>
                </a:cubicBezTo>
                <a:cubicBezTo>
                  <a:pt x="4489" y="539"/>
                  <a:pt x="4481" y="547"/>
                  <a:pt x="4481" y="564"/>
                </a:cubicBezTo>
                <a:cubicBezTo>
                  <a:pt x="4481" y="566"/>
                  <a:pt x="4481" y="567"/>
                  <a:pt x="4481" y="568"/>
                </a:cubicBezTo>
                <a:cubicBezTo>
                  <a:pt x="4482" y="586"/>
                  <a:pt x="4495" y="604"/>
                  <a:pt x="4495" y="616"/>
                </a:cubicBezTo>
                <a:cubicBezTo>
                  <a:pt x="4495" y="619"/>
                  <a:pt x="4494" y="621"/>
                  <a:pt x="4493" y="623"/>
                </a:cubicBezTo>
                <a:cubicBezTo>
                  <a:pt x="4483" y="641"/>
                  <a:pt x="4480" y="665"/>
                  <a:pt x="4480" y="665"/>
                </a:cubicBezTo>
                <a:cubicBezTo>
                  <a:pt x="4479" y="668"/>
                  <a:pt x="4481" y="671"/>
                  <a:pt x="4484" y="671"/>
                </a:cubicBezTo>
                <a:cubicBezTo>
                  <a:pt x="4487" y="673"/>
                  <a:pt x="4490" y="671"/>
                  <a:pt x="4491" y="669"/>
                </a:cubicBezTo>
                <a:cubicBezTo>
                  <a:pt x="4491" y="669"/>
                  <a:pt x="4494" y="663"/>
                  <a:pt x="4500" y="656"/>
                </a:cubicBezTo>
                <a:cubicBezTo>
                  <a:pt x="4506" y="648"/>
                  <a:pt x="4514" y="639"/>
                  <a:pt x="4523" y="632"/>
                </a:cubicBezTo>
                <a:cubicBezTo>
                  <a:pt x="4544" y="616"/>
                  <a:pt x="4556" y="594"/>
                  <a:pt x="4562" y="587"/>
                </a:cubicBezTo>
                <a:cubicBezTo>
                  <a:pt x="4563" y="585"/>
                  <a:pt x="4570" y="582"/>
                  <a:pt x="4576" y="579"/>
                </a:cubicBezTo>
                <a:cubicBezTo>
                  <a:pt x="4579" y="578"/>
                  <a:pt x="4582" y="577"/>
                  <a:pt x="4585" y="575"/>
                </a:cubicBezTo>
                <a:cubicBezTo>
                  <a:pt x="4588" y="572"/>
                  <a:pt x="4591" y="569"/>
                  <a:pt x="4591" y="564"/>
                </a:cubicBezTo>
                <a:cubicBezTo>
                  <a:pt x="4591" y="556"/>
                  <a:pt x="4596" y="544"/>
                  <a:pt x="4600" y="532"/>
                </a:cubicBezTo>
                <a:cubicBezTo>
                  <a:pt x="4600" y="530"/>
                  <a:pt x="4601" y="528"/>
                  <a:pt x="4601" y="527"/>
                </a:cubicBezTo>
                <a:cubicBezTo>
                  <a:pt x="4601" y="523"/>
                  <a:pt x="4599" y="520"/>
                  <a:pt x="4598" y="518"/>
                </a:cubicBezTo>
                <a:cubicBezTo>
                  <a:pt x="4598" y="517"/>
                  <a:pt x="4598" y="517"/>
                  <a:pt x="4598" y="517"/>
                </a:cubicBezTo>
                <a:close/>
                <a:moveTo>
                  <a:pt x="2891" y="398"/>
                </a:moveTo>
                <a:cubicBezTo>
                  <a:pt x="2900" y="398"/>
                  <a:pt x="2910" y="397"/>
                  <a:pt x="2921" y="393"/>
                </a:cubicBezTo>
                <a:cubicBezTo>
                  <a:pt x="2919" y="397"/>
                  <a:pt x="2919" y="401"/>
                  <a:pt x="2919" y="405"/>
                </a:cubicBezTo>
                <a:cubicBezTo>
                  <a:pt x="2919" y="406"/>
                  <a:pt x="2919" y="407"/>
                  <a:pt x="2919" y="408"/>
                </a:cubicBezTo>
                <a:cubicBezTo>
                  <a:pt x="2919" y="410"/>
                  <a:pt x="2919" y="411"/>
                  <a:pt x="2919" y="412"/>
                </a:cubicBezTo>
                <a:cubicBezTo>
                  <a:pt x="2915" y="413"/>
                  <a:pt x="2914" y="415"/>
                  <a:pt x="2912" y="414"/>
                </a:cubicBezTo>
                <a:cubicBezTo>
                  <a:pt x="2910" y="414"/>
                  <a:pt x="2908" y="414"/>
                  <a:pt x="2903" y="410"/>
                </a:cubicBezTo>
                <a:cubicBezTo>
                  <a:pt x="2897" y="406"/>
                  <a:pt x="2893" y="404"/>
                  <a:pt x="2888" y="403"/>
                </a:cubicBezTo>
                <a:cubicBezTo>
                  <a:pt x="2885" y="403"/>
                  <a:pt x="2882" y="405"/>
                  <a:pt x="2881" y="407"/>
                </a:cubicBezTo>
                <a:cubicBezTo>
                  <a:pt x="2880" y="408"/>
                  <a:pt x="2879" y="409"/>
                  <a:pt x="2879" y="409"/>
                </a:cubicBezTo>
                <a:cubicBezTo>
                  <a:pt x="2878" y="410"/>
                  <a:pt x="2871" y="414"/>
                  <a:pt x="2868" y="415"/>
                </a:cubicBezTo>
                <a:cubicBezTo>
                  <a:pt x="2868" y="415"/>
                  <a:pt x="2868" y="414"/>
                  <a:pt x="2868" y="414"/>
                </a:cubicBezTo>
                <a:cubicBezTo>
                  <a:pt x="2868" y="412"/>
                  <a:pt x="2868" y="410"/>
                  <a:pt x="2868" y="408"/>
                </a:cubicBezTo>
                <a:cubicBezTo>
                  <a:pt x="2868" y="406"/>
                  <a:pt x="2868" y="406"/>
                  <a:pt x="2868" y="406"/>
                </a:cubicBezTo>
                <a:cubicBezTo>
                  <a:pt x="2868" y="403"/>
                  <a:pt x="2868" y="398"/>
                  <a:pt x="2865" y="394"/>
                </a:cubicBezTo>
                <a:cubicBezTo>
                  <a:pt x="2873" y="396"/>
                  <a:pt x="2881" y="398"/>
                  <a:pt x="2891" y="398"/>
                </a:cubicBezTo>
                <a:close/>
                <a:moveTo>
                  <a:pt x="2805" y="472"/>
                </a:moveTo>
                <a:cubicBezTo>
                  <a:pt x="2806" y="469"/>
                  <a:pt x="2806" y="469"/>
                  <a:pt x="2808" y="469"/>
                </a:cubicBezTo>
                <a:cubicBezTo>
                  <a:pt x="2811" y="469"/>
                  <a:pt x="2816" y="471"/>
                  <a:pt x="2820" y="474"/>
                </a:cubicBezTo>
                <a:cubicBezTo>
                  <a:pt x="2822" y="475"/>
                  <a:pt x="2823" y="477"/>
                  <a:pt x="2824" y="479"/>
                </a:cubicBezTo>
                <a:cubicBezTo>
                  <a:pt x="2825" y="480"/>
                  <a:pt x="2825" y="480"/>
                  <a:pt x="2826" y="481"/>
                </a:cubicBezTo>
                <a:cubicBezTo>
                  <a:pt x="2826" y="481"/>
                  <a:pt x="2825" y="481"/>
                  <a:pt x="2825" y="481"/>
                </a:cubicBezTo>
                <a:cubicBezTo>
                  <a:pt x="2825" y="481"/>
                  <a:pt x="2824" y="482"/>
                  <a:pt x="2822" y="482"/>
                </a:cubicBezTo>
                <a:cubicBezTo>
                  <a:pt x="2819" y="482"/>
                  <a:pt x="2813" y="480"/>
                  <a:pt x="2809" y="478"/>
                </a:cubicBezTo>
                <a:cubicBezTo>
                  <a:pt x="2806" y="476"/>
                  <a:pt x="2804" y="473"/>
                  <a:pt x="2804" y="472"/>
                </a:cubicBezTo>
                <a:cubicBezTo>
                  <a:pt x="2804" y="472"/>
                  <a:pt x="2804" y="472"/>
                  <a:pt x="2804" y="472"/>
                </a:cubicBezTo>
                <a:cubicBezTo>
                  <a:pt x="2799" y="470"/>
                  <a:pt x="2799" y="470"/>
                  <a:pt x="2799" y="470"/>
                </a:cubicBezTo>
                <a:lnTo>
                  <a:pt x="2805" y="472"/>
                </a:lnTo>
                <a:close/>
                <a:moveTo>
                  <a:pt x="2773" y="756"/>
                </a:moveTo>
                <a:cubicBezTo>
                  <a:pt x="2781" y="749"/>
                  <a:pt x="2789" y="735"/>
                  <a:pt x="2796" y="721"/>
                </a:cubicBezTo>
                <a:cubicBezTo>
                  <a:pt x="2801" y="711"/>
                  <a:pt x="2806" y="710"/>
                  <a:pt x="2809" y="710"/>
                </a:cubicBezTo>
                <a:cubicBezTo>
                  <a:pt x="2810" y="710"/>
                  <a:pt x="2810" y="710"/>
                  <a:pt x="2811" y="710"/>
                </a:cubicBezTo>
                <a:cubicBezTo>
                  <a:pt x="2812" y="711"/>
                  <a:pt x="2817" y="717"/>
                  <a:pt x="2820" y="723"/>
                </a:cubicBezTo>
                <a:cubicBezTo>
                  <a:pt x="2824" y="730"/>
                  <a:pt x="2828" y="738"/>
                  <a:pt x="2829" y="741"/>
                </a:cubicBezTo>
                <a:cubicBezTo>
                  <a:pt x="2830" y="745"/>
                  <a:pt x="2835" y="748"/>
                  <a:pt x="2839" y="748"/>
                </a:cubicBezTo>
                <a:cubicBezTo>
                  <a:pt x="2844" y="748"/>
                  <a:pt x="2847" y="745"/>
                  <a:pt x="2850" y="743"/>
                </a:cubicBezTo>
                <a:cubicBezTo>
                  <a:pt x="2853" y="741"/>
                  <a:pt x="2856" y="739"/>
                  <a:pt x="2857" y="739"/>
                </a:cubicBezTo>
                <a:cubicBezTo>
                  <a:pt x="2864" y="734"/>
                  <a:pt x="2871" y="726"/>
                  <a:pt x="2873" y="716"/>
                </a:cubicBezTo>
                <a:cubicBezTo>
                  <a:pt x="2873" y="716"/>
                  <a:pt x="2874" y="714"/>
                  <a:pt x="2877" y="713"/>
                </a:cubicBezTo>
                <a:cubicBezTo>
                  <a:pt x="2879" y="712"/>
                  <a:pt x="2881" y="711"/>
                  <a:pt x="2884" y="711"/>
                </a:cubicBezTo>
                <a:cubicBezTo>
                  <a:pt x="2883" y="712"/>
                  <a:pt x="2882" y="712"/>
                  <a:pt x="2881" y="712"/>
                </a:cubicBezTo>
                <a:cubicBezTo>
                  <a:pt x="2879" y="713"/>
                  <a:pt x="2877" y="714"/>
                  <a:pt x="2876" y="715"/>
                </a:cubicBezTo>
                <a:cubicBezTo>
                  <a:pt x="2874" y="717"/>
                  <a:pt x="2873" y="719"/>
                  <a:pt x="2873" y="722"/>
                </a:cubicBezTo>
                <a:cubicBezTo>
                  <a:pt x="2873" y="727"/>
                  <a:pt x="2876" y="729"/>
                  <a:pt x="2879" y="731"/>
                </a:cubicBezTo>
                <a:cubicBezTo>
                  <a:pt x="2882" y="734"/>
                  <a:pt x="2886" y="736"/>
                  <a:pt x="2891" y="738"/>
                </a:cubicBezTo>
                <a:cubicBezTo>
                  <a:pt x="2903" y="742"/>
                  <a:pt x="2915" y="757"/>
                  <a:pt x="2931" y="767"/>
                </a:cubicBezTo>
                <a:cubicBezTo>
                  <a:pt x="2939" y="772"/>
                  <a:pt x="2942" y="780"/>
                  <a:pt x="2942" y="785"/>
                </a:cubicBezTo>
                <a:cubicBezTo>
                  <a:pt x="2942" y="788"/>
                  <a:pt x="2941" y="788"/>
                  <a:pt x="2941" y="788"/>
                </a:cubicBezTo>
                <a:cubicBezTo>
                  <a:pt x="2941" y="788"/>
                  <a:pt x="2941" y="788"/>
                  <a:pt x="2941" y="788"/>
                </a:cubicBezTo>
                <a:cubicBezTo>
                  <a:pt x="2935" y="790"/>
                  <a:pt x="2915" y="793"/>
                  <a:pt x="2903" y="792"/>
                </a:cubicBezTo>
                <a:cubicBezTo>
                  <a:pt x="2900" y="792"/>
                  <a:pt x="2898" y="792"/>
                  <a:pt x="2896" y="792"/>
                </a:cubicBezTo>
                <a:cubicBezTo>
                  <a:pt x="2889" y="792"/>
                  <a:pt x="2876" y="779"/>
                  <a:pt x="2859" y="776"/>
                </a:cubicBezTo>
                <a:cubicBezTo>
                  <a:pt x="2854" y="775"/>
                  <a:pt x="2849" y="774"/>
                  <a:pt x="2844" y="774"/>
                </a:cubicBezTo>
                <a:cubicBezTo>
                  <a:pt x="2832" y="774"/>
                  <a:pt x="2820" y="777"/>
                  <a:pt x="2813" y="787"/>
                </a:cubicBezTo>
                <a:cubicBezTo>
                  <a:pt x="2813" y="788"/>
                  <a:pt x="2808" y="790"/>
                  <a:pt x="2800" y="790"/>
                </a:cubicBezTo>
                <a:cubicBezTo>
                  <a:pt x="2794" y="790"/>
                  <a:pt x="2788" y="789"/>
                  <a:pt x="2783" y="789"/>
                </a:cubicBezTo>
                <a:cubicBezTo>
                  <a:pt x="2776" y="789"/>
                  <a:pt x="2772" y="793"/>
                  <a:pt x="2768" y="795"/>
                </a:cubicBezTo>
                <a:cubicBezTo>
                  <a:pt x="2768" y="792"/>
                  <a:pt x="2769" y="788"/>
                  <a:pt x="2769" y="785"/>
                </a:cubicBezTo>
                <a:cubicBezTo>
                  <a:pt x="2769" y="780"/>
                  <a:pt x="2769" y="775"/>
                  <a:pt x="2763" y="771"/>
                </a:cubicBezTo>
                <a:cubicBezTo>
                  <a:pt x="2764" y="768"/>
                  <a:pt x="2769" y="758"/>
                  <a:pt x="2773" y="756"/>
                </a:cubicBezTo>
                <a:close/>
                <a:moveTo>
                  <a:pt x="2673" y="431"/>
                </a:moveTo>
                <a:cubicBezTo>
                  <a:pt x="2681" y="422"/>
                  <a:pt x="2684" y="414"/>
                  <a:pt x="2684" y="407"/>
                </a:cubicBezTo>
                <a:cubicBezTo>
                  <a:pt x="2684" y="405"/>
                  <a:pt x="2683" y="402"/>
                  <a:pt x="2683" y="401"/>
                </a:cubicBezTo>
                <a:cubicBezTo>
                  <a:pt x="2684" y="400"/>
                  <a:pt x="2685" y="400"/>
                  <a:pt x="2686" y="400"/>
                </a:cubicBezTo>
                <a:cubicBezTo>
                  <a:pt x="2695" y="400"/>
                  <a:pt x="2703" y="399"/>
                  <a:pt x="2710" y="399"/>
                </a:cubicBezTo>
                <a:cubicBezTo>
                  <a:pt x="2713" y="399"/>
                  <a:pt x="2716" y="399"/>
                  <a:pt x="2719" y="400"/>
                </a:cubicBezTo>
                <a:cubicBezTo>
                  <a:pt x="2716" y="403"/>
                  <a:pt x="2710" y="408"/>
                  <a:pt x="2704" y="412"/>
                </a:cubicBezTo>
                <a:cubicBezTo>
                  <a:pt x="2695" y="418"/>
                  <a:pt x="2685" y="425"/>
                  <a:pt x="2677" y="429"/>
                </a:cubicBezTo>
                <a:cubicBezTo>
                  <a:pt x="2676" y="430"/>
                  <a:pt x="2674" y="431"/>
                  <a:pt x="2673" y="432"/>
                </a:cubicBezTo>
                <a:cubicBezTo>
                  <a:pt x="2673" y="432"/>
                  <a:pt x="2673" y="431"/>
                  <a:pt x="2673" y="431"/>
                </a:cubicBezTo>
                <a:close/>
                <a:moveTo>
                  <a:pt x="2518" y="522"/>
                </a:moveTo>
                <a:cubicBezTo>
                  <a:pt x="2518" y="521"/>
                  <a:pt x="2520" y="517"/>
                  <a:pt x="2523" y="514"/>
                </a:cubicBezTo>
                <a:cubicBezTo>
                  <a:pt x="2524" y="513"/>
                  <a:pt x="2525" y="512"/>
                  <a:pt x="2526" y="511"/>
                </a:cubicBezTo>
                <a:cubicBezTo>
                  <a:pt x="2527" y="517"/>
                  <a:pt x="2530" y="523"/>
                  <a:pt x="2532" y="529"/>
                </a:cubicBezTo>
                <a:cubicBezTo>
                  <a:pt x="2534" y="536"/>
                  <a:pt x="2537" y="542"/>
                  <a:pt x="2536" y="545"/>
                </a:cubicBezTo>
                <a:cubicBezTo>
                  <a:pt x="2536" y="545"/>
                  <a:pt x="2536" y="546"/>
                  <a:pt x="2536" y="546"/>
                </a:cubicBezTo>
                <a:cubicBezTo>
                  <a:pt x="2536" y="548"/>
                  <a:pt x="2535" y="551"/>
                  <a:pt x="2535" y="553"/>
                </a:cubicBezTo>
                <a:cubicBezTo>
                  <a:pt x="2535" y="557"/>
                  <a:pt x="2536" y="560"/>
                  <a:pt x="2538" y="563"/>
                </a:cubicBezTo>
                <a:cubicBezTo>
                  <a:pt x="2540" y="566"/>
                  <a:pt x="2544" y="569"/>
                  <a:pt x="2549" y="569"/>
                </a:cubicBezTo>
                <a:cubicBezTo>
                  <a:pt x="2549" y="569"/>
                  <a:pt x="2550" y="569"/>
                  <a:pt x="2551" y="568"/>
                </a:cubicBezTo>
                <a:cubicBezTo>
                  <a:pt x="2560" y="567"/>
                  <a:pt x="2602" y="556"/>
                  <a:pt x="2602" y="556"/>
                </a:cubicBezTo>
                <a:cubicBezTo>
                  <a:pt x="2604" y="555"/>
                  <a:pt x="2604" y="555"/>
                  <a:pt x="2604" y="555"/>
                </a:cubicBezTo>
                <a:cubicBezTo>
                  <a:pt x="2604" y="555"/>
                  <a:pt x="2618" y="549"/>
                  <a:pt x="2619" y="534"/>
                </a:cubicBezTo>
                <a:cubicBezTo>
                  <a:pt x="2619" y="533"/>
                  <a:pt x="2619" y="532"/>
                  <a:pt x="2618" y="531"/>
                </a:cubicBezTo>
                <a:cubicBezTo>
                  <a:pt x="2618" y="531"/>
                  <a:pt x="2618" y="530"/>
                  <a:pt x="2618" y="530"/>
                </a:cubicBezTo>
                <a:cubicBezTo>
                  <a:pt x="2618" y="527"/>
                  <a:pt x="2621" y="522"/>
                  <a:pt x="2625" y="517"/>
                </a:cubicBezTo>
                <a:cubicBezTo>
                  <a:pt x="2629" y="512"/>
                  <a:pt x="2633" y="508"/>
                  <a:pt x="2635" y="506"/>
                </a:cubicBezTo>
                <a:cubicBezTo>
                  <a:pt x="2638" y="502"/>
                  <a:pt x="2645" y="495"/>
                  <a:pt x="2645" y="485"/>
                </a:cubicBezTo>
                <a:cubicBezTo>
                  <a:pt x="2645" y="479"/>
                  <a:pt x="2641" y="472"/>
                  <a:pt x="2634" y="470"/>
                </a:cubicBezTo>
                <a:cubicBezTo>
                  <a:pt x="2629" y="468"/>
                  <a:pt x="2624" y="467"/>
                  <a:pt x="2622" y="465"/>
                </a:cubicBezTo>
                <a:cubicBezTo>
                  <a:pt x="2621" y="465"/>
                  <a:pt x="2620" y="464"/>
                  <a:pt x="2620" y="464"/>
                </a:cubicBezTo>
                <a:cubicBezTo>
                  <a:pt x="2620" y="464"/>
                  <a:pt x="2620" y="463"/>
                  <a:pt x="2621" y="463"/>
                </a:cubicBezTo>
                <a:cubicBezTo>
                  <a:pt x="2622" y="461"/>
                  <a:pt x="2623" y="459"/>
                  <a:pt x="2626" y="456"/>
                </a:cubicBezTo>
                <a:cubicBezTo>
                  <a:pt x="2633" y="449"/>
                  <a:pt x="2636" y="450"/>
                  <a:pt x="2644" y="449"/>
                </a:cubicBezTo>
                <a:cubicBezTo>
                  <a:pt x="2651" y="448"/>
                  <a:pt x="2659" y="446"/>
                  <a:pt x="2667" y="438"/>
                </a:cubicBezTo>
                <a:cubicBezTo>
                  <a:pt x="2664" y="442"/>
                  <a:pt x="2663" y="447"/>
                  <a:pt x="2663" y="452"/>
                </a:cubicBezTo>
                <a:cubicBezTo>
                  <a:pt x="2663" y="459"/>
                  <a:pt x="2665" y="465"/>
                  <a:pt x="2669" y="469"/>
                </a:cubicBezTo>
                <a:cubicBezTo>
                  <a:pt x="2670" y="472"/>
                  <a:pt x="2672" y="478"/>
                  <a:pt x="2675" y="484"/>
                </a:cubicBezTo>
                <a:cubicBezTo>
                  <a:pt x="2676" y="487"/>
                  <a:pt x="2678" y="490"/>
                  <a:pt x="2680" y="492"/>
                </a:cubicBezTo>
                <a:cubicBezTo>
                  <a:pt x="2682" y="495"/>
                  <a:pt x="2686" y="497"/>
                  <a:pt x="2690" y="497"/>
                </a:cubicBezTo>
                <a:cubicBezTo>
                  <a:pt x="2691" y="497"/>
                  <a:pt x="2692" y="497"/>
                  <a:pt x="2693" y="497"/>
                </a:cubicBezTo>
                <a:cubicBezTo>
                  <a:pt x="2705" y="493"/>
                  <a:pt x="2716" y="485"/>
                  <a:pt x="2724" y="486"/>
                </a:cubicBezTo>
                <a:cubicBezTo>
                  <a:pt x="2725" y="486"/>
                  <a:pt x="2725" y="486"/>
                  <a:pt x="2726" y="486"/>
                </a:cubicBezTo>
                <a:cubicBezTo>
                  <a:pt x="2728" y="486"/>
                  <a:pt x="2731" y="486"/>
                  <a:pt x="2734" y="486"/>
                </a:cubicBezTo>
                <a:cubicBezTo>
                  <a:pt x="2745" y="486"/>
                  <a:pt x="2759" y="485"/>
                  <a:pt x="2763" y="484"/>
                </a:cubicBezTo>
                <a:cubicBezTo>
                  <a:pt x="2764" y="485"/>
                  <a:pt x="2766" y="488"/>
                  <a:pt x="2768" y="490"/>
                </a:cubicBezTo>
                <a:cubicBezTo>
                  <a:pt x="2769" y="492"/>
                  <a:pt x="2770" y="494"/>
                  <a:pt x="2771" y="495"/>
                </a:cubicBezTo>
                <a:cubicBezTo>
                  <a:pt x="2764" y="497"/>
                  <a:pt x="2752" y="496"/>
                  <a:pt x="2734" y="497"/>
                </a:cubicBezTo>
                <a:cubicBezTo>
                  <a:pt x="2724" y="498"/>
                  <a:pt x="2714" y="498"/>
                  <a:pt x="2706" y="499"/>
                </a:cubicBezTo>
                <a:cubicBezTo>
                  <a:pt x="2702" y="499"/>
                  <a:pt x="2698" y="500"/>
                  <a:pt x="2695" y="500"/>
                </a:cubicBezTo>
                <a:cubicBezTo>
                  <a:pt x="2694" y="501"/>
                  <a:pt x="2692" y="501"/>
                  <a:pt x="2691" y="502"/>
                </a:cubicBezTo>
                <a:cubicBezTo>
                  <a:pt x="2689" y="503"/>
                  <a:pt x="2687" y="505"/>
                  <a:pt x="2687" y="509"/>
                </a:cubicBezTo>
                <a:cubicBezTo>
                  <a:pt x="2687" y="512"/>
                  <a:pt x="2689" y="513"/>
                  <a:pt x="2689" y="514"/>
                </a:cubicBezTo>
                <a:cubicBezTo>
                  <a:pt x="2693" y="518"/>
                  <a:pt x="2697" y="520"/>
                  <a:pt x="2701" y="523"/>
                </a:cubicBezTo>
                <a:cubicBezTo>
                  <a:pt x="2703" y="524"/>
                  <a:pt x="2704" y="525"/>
                  <a:pt x="2705" y="525"/>
                </a:cubicBezTo>
                <a:cubicBezTo>
                  <a:pt x="2704" y="526"/>
                  <a:pt x="2703" y="526"/>
                  <a:pt x="2702" y="526"/>
                </a:cubicBezTo>
                <a:cubicBezTo>
                  <a:pt x="2698" y="526"/>
                  <a:pt x="2691" y="522"/>
                  <a:pt x="2681" y="521"/>
                </a:cubicBezTo>
                <a:cubicBezTo>
                  <a:pt x="2680" y="520"/>
                  <a:pt x="2680" y="520"/>
                  <a:pt x="2679" y="520"/>
                </a:cubicBezTo>
                <a:cubicBezTo>
                  <a:pt x="2670" y="521"/>
                  <a:pt x="2665" y="528"/>
                  <a:pt x="2661" y="534"/>
                </a:cubicBezTo>
                <a:cubicBezTo>
                  <a:pt x="2657" y="541"/>
                  <a:pt x="2654" y="548"/>
                  <a:pt x="2653" y="554"/>
                </a:cubicBezTo>
                <a:cubicBezTo>
                  <a:pt x="2652" y="557"/>
                  <a:pt x="2652" y="560"/>
                  <a:pt x="2652" y="563"/>
                </a:cubicBezTo>
                <a:cubicBezTo>
                  <a:pt x="2652" y="566"/>
                  <a:pt x="2652" y="570"/>
                  <a:pt x="2652" y="572"/>
                </a:cubicBezTo>
                <a:cubicBezTo>
                  <a:pt x="2652" y="573"/>
                  <a:pt x="2652" y="574"/>
                  <a:pt x="2652" y="574"/>
                </a:cubicBezTo>
                <a:cubicBezTo>
                  <a:pt x="2651" y="574"/>
                  <a:pt x="2650" y="574"/>
                  <a:pt x="2649" y="573"/>
                </a:cubicBezTo>
                <a:cubicBezTo>
                  <a:pt x="2638" y="569"/>
                  <a:pt x="2629" y="567"/>
                  <a:pt x="2621" y="567"/>
                </a:cubicBezTo>
                <a:cubicBezTo>
                  <a:pt x="2617" y="567"/>
                  <a:pt x="2613" y="568"/>
                  <a:pt x="2609" y="570"/>
                </a:cubicBezTo>
                <a:cubicBezTo>
                  <a:pt x="2606" y="572"/>
                  <a:pt x="2592" y="577"/>
                  <a:pt x="2580" y="581"/>
                </a:cubicBezTo>
                <a:cubicBezTo>
                  <a:pt x="2579" y="582"/>
                  <a:pt x="2578" y="582"/>
                  <a:pt x="2578" y="582"/>
                </a:cubicBezTo>
                <a:cubicBezTo>
                  <a:pt x="2577" y="581"/>
                  <a:pt x="2572" y="574"/>
                  <a:pt x="2562" y="574"/>
                </a:cubicBezTo>
                <a:cubicBezTo>
                  <a:pt x="2561" y="574"/>
                  <a:pt x="2561" y="574"/>
                  <a:pt x="2561" y="574"/>
                </a:cubicBezTo>
                <a:cubicBezTo>
                  <a:pt x="2546" y="574"/>
                  <a:pt x="2546" y="574"/>
                  <a:pt x="2546" y="574"/>
                </a:cubicBezTo>
                <a:cubicBezTo>
                  <a:pt x="2545" y="574"/>
                  <a:pt x="2545" y="574"/>
                  <a:pt x="2545" y="574"/>
                </a:cubicBezTo>
                <a:cubicBezTo>
                  <a:pt x="2538" y="575"/>
                  <a:pt x="2538" y="575"/>
                  <a:pt x="2538" y="575"/>
                </a:cubicBezTo>
                <a:cubicBezTo>
                  <a:pt x="2536" y="573"/>
                  <a:pt x="2533" y="568"/>
                  <a:pt x="2532" y="563"/>
                </a:cubicBezTo>
                <a:cubicBezTo>
                  <a:pt x="2532" y="562"/>
                  <a:pt x="2532" y="562"/>
                  <a:pt x="2532" y="561"/>
                </a:cubicBezTo>
                <a:cubicBezTo>
                  <a:pt x="2532" y="555"/>
                  <a:pt x="2534" y="549"/>
                  <a:pt x="2534" y="543"/>
                </a:cubicBezTo>
                <a:cubicBezTo>
                  <a:pt x="2534" y="540"/>
                  <a:pt x="2533" y="535"/>
                  <a:pt x="2528" y="532"/>
                </a:cubicBezTo>
                <a:cubicBezTo>
                  <a:pt x="2525" y="531"/>
                  <a:pt x="2522" y="531"/>
                  <a:pt x="2520" y="531"/>
                </a:cubicBezTo>
                <a:cubicBezTo>
                  <a:pt x="2516" y="531"/>
                  <a:pt x="2513" y="531"/>
                  <a:pt x="2510" y="532"/>
                </a:cubicBezTo>
                <a:cubicBezTo>
                  <a:pt x="2513" y="530"/>
                  <a:pt x="2517" y="527"/>
                  <a:pt x="2518" y="522"/>
                </a:cubicBezTo>
                <a:close/>
                <a:moveTo>
                  <a:pt x="2636" y="804"/>
                </a:moveTo>
                <a:cubicBezTo>
                  <a:pt x="2635" y="803"/>
                  <a:pt x="2614" y="787"/>
                  <a:pt x="2605" y="782"/>
                </a:cubicBezTo>
                <a:cubicBezTo>
                  <a:pt x="2597" y="778"/>
                  <a:pt x="2583" y="770"/>
                  <a:pt x="2578" y="758"/>
                </a:cubicBezTo>
                <a:cubicBezTo>
                  <a:pt x="2573" y="750"/>
                  <a:pt x="2567" y="745"/>
                  <a:pt x="2562" y="741"/>
                </a:cubicBezTo>
                <a:cubicBezTo>
                  <a:pt x="2557" y="737"/>
                  <a:pt x="2555" y="735"/>
                  <a:pt x="2555" y="732"/>
                </a:cubicBezTo>
                <a:cubicBezTo>
                  <a:pt x="2555" y="732"/>
                  <a:pt x="2555" y="731"/>
                  <a:pt x="2555" y="731"/>
                </a:cubicBezTo>
                <a:cubicBezTo>
                  <a:pt x="2555" y="730"/>
                  <a:pt x="2555" y="730"/>
                  <a:pt x="2555" y="729"/>
                </a:cubicBezTo>
                <a:cubicBezTo>
                  <a:pt x="2555" y="729"/>
                  <a:pt x="2555" y="729"/>
                  <a:pt x="2555" y="729"/>
                </a:cubicBezTo>
                <a:cubicBezTo>
                  <a:pt x="2556" y="729"/>
                  <a:pt x="2556" y="729"/>
                  <a:pt x="2556" y="729"/>
                </a:cubicBezTo>
                <a:cubicBezTo>
                  <a:pt x="2558" y="729"/>
                  <a:pt x="2566" y="734"/>
                  <a:pt x="2571" y="740"/>
                </a:cubicBezTo>
                <a:cubicBezTo>
                  <a:pt x="2581" y="752"/>
                  <a:pt x="2604" y="767"/>
                  <a:pt x="2611" y="776"/>
                </a:cubicBezTo>
                <a:cubicBezTo>
                  <a:pt x="2621" y="787"/>
                  <a:pt x="2632" y="791"/>
                  <a:pt x="2634" y="800"/>
                </a:cubicBezTo>
                <a:cubicBezTo>
                  <a:pt x="2635" y="801"/>
                  <a:pt x="2635" y="803"/>
                  <a:pt x="2636" y="804"/>
                </a:cubicBezTo>
                <a:close/>
                <a:moveTo>
                  <a:pt x="2400" y="645"/>
                </a:moveTo>
                <a:cubicBezTo>
                  <a:pt x="2399" y="645"/>
                  <a:pt x="2399" y="645"/>
                  <a:pt x="2399" y="645"/>
                </a:cubicBezTo>
                <a:cubicBezTo>
                  <a:pt x="2398" y="648"/>
                  <a:pt x="2398" y="648"/>
                  <a:pt x="2395" y="649"/>
                </a:cubicBezTo>
                <a:cubicBezTo>
                  <a:pt x="2395" y="649"/>
                  <a:pt x="2394" y="649"/>
                  <a:pt x="2393" y="649"/>
                </a:cubicBezTo>
                <a:cubicBezTo>
                  <a:pt x="2395" y="648"/>
                  <a:pt x="2397" y="647"/>
                  <a:pt x="2400" y="645"/>
                </a:cubicBezTo>
                <a:close/>
                <a:moveTo>
                  <a:pt x="2831" y="1487"/>
                </a:moveTo>
                <a:cubicBezTo>
                  <a:pt x="2829" y="1490"/>
                  <a:pt x="2827" y="1494"/>
                  <a:pt x="2825" y="1496"/>
                </a:cubicBezTo>
                <a:cubicBezTo>
                  <a:pt x="2824" y="1497"/>
                  <a:pt x="2823" y="1497"/>
                  <a:pt x="2822" y="1498"/>
                </a:cubicBezTo>
                <a:cubicBezTo>
                  <a:pt x="2822" y="1498"/>
                  <a:pt x="2822" y="1498"/>
                  <a:pt x="2822" y="1498"/>
                </a:cubicBezTo>
                <a:cubicBezTo>
                  <a:pt x="2822" y="1497"/>
                  <a:pt x="2821" y="1496"/>
                  <a:pt x="2821" y="1494"/>
                </a:cubicBezTo>
                <a:cubicBezTo>
                  <a:pt x="2820" y="1492"/>
                  <a:pt x="2820" y="1488"/>
                  <a:pt x="2820" y="1485"/>
                </a:cubicBezTo>
                <a:cubicBezTo>
                  <a:pt x="2820" y="1477"/>
                  <a:pt x="2822" y="1467"/>
                  <a:pt x="2823" y="1465"/>
                </a:cubicBezTo>
                <a:cubicBezTo>
                  <a:pt x="2823" y="1465"/>
                  <a:pt x="2823" y="1466"/>
                  <a:pt x="2823" y="1466"/>
                </a:cubicBezTo>
                <a:cubicBezTo>
                  <a:pt x="2825" y="1464"/>
                  <a:pt x="2829" y="1464"/>
                  <a:pt x="2833" y="1464"/>
                </a:cubicBezTo>
                <a:cubicBezTo>
                  <a:pt x="2833" y="1464"/>
                  <a:pt x="2834" y="1464"/>
                  <a:pt x="2834" y="1464"/>
                </a:cubicBezTo>
                <a:cubicBezTo>
                  <a:pt x="2836" y="1464"/>
                  <a:pt x="2837" y="1463"/>
                  <a:pt x="2838" y="1464"/>
                </a:cubicBezTo>
                <a:cubicBezTo>
                  <a:pt x="2838" y="1464"/>
                  <a:pt x="2838" y="1463"/>
                  <a:pt x="2839" y="1464"/>
                </a:cubicBezTo>
                <a:cubicBezTo>
                  <a:pt x="2839" y="1464"/>
                  <a:pt x="2839" y="1464"/>
                  <a:pt x="2839" y="1465"/>
                </a:cubicBezTo>
                <a:cubicBezTo>
                  <a:pt x="2839" y="1470"/>
                  <a:pt x="2836" y="1480"/>
                  <a:pt x="2831" y="1487"/>
                </a:cubicBezTo>
                <a:close/>
                <a:moveTo>
                  <a:pt x="2836" y="953"/>
                </a:moveTo>
                <a:cubicBezTo>
                  <a:pt x="2835" y="954"/>
                  <a:pt x="2835" y="954"/>
                  <a:pt x="2835" y="954"/>
                </a:cubicBezTo>
                <a:cubicBezTo>
                  <a:pt x="2835" y="954"/>
                  <a:pt x="2835" y="955"/>
                  <a:pt x="2832" y="955"/>
                </a:cubicBezTo>
                <a:cubicBezTo>
                  <a:pt x="2829" y="955"/>
                  <a:pt x="2825" y="955"/>
                  <a:pt x="2821" y="956"/>
                </a:cubicBezTo>
                <a:cubicBezTo>
                  <a:pt x="2817" y="951"/>
                  <a:pt x="2813" y="946"/>
                  <a:pt x="2805" y="946"/>
                </a:cubicBezTo>
                <a:cubicBezTo>
                  <a:pt x="2804" y="946"/>
                  <a:pt x="2802" y="946"/>
                  <a:pt x="2801" y="947"/>
                </a:cubicBezTo>
                <a:cubicBezTo>
                  <a:pt x="2794" y="949"/>
                  <a:pt x="2785" y="950"/>
                  <a:pt x="2776" y="953"/>
                </a:cubicBezTo>
                <a:cubicBezTo>
                  <a:pt x="2776" y="953"/>
                  <a:pt x="2776" y="952"/>
                  <a:pt x="2776" y="951"/>
                </a:cubicBezTo>
                <a:cubicBezTo>
                  <a:pt x="2776" y="950"/>
                  <a:pt x="2776" y="948"/>
                  <a:pt x="2775" y="947"/>
                </a:cubicBezTo>
                <a:cubicBezTo>
                  <a:pt x="2772" y="942"/>
                  <a:pt x="2767" y="941"/>
                  <a:pt x="2763" y="940"/>
                </a:cubicBezTo>
                <a:cubicBezTo>
                  <a:pt x="2758" y="939"/>
                  <a:pt x="2753" y="939"/>
                  <a:pt x="2747" y="939"/>
                </a:cubicBezTo>
                <a:cubicBezTo>
                  <a:pt x="2738" y="939"/>
                  <a:pt x="2729" y="940"/>
                  <a:pt x="2723" y="940"/>
                </a:cubicBezTo>
                <a:cubicBezTo>
                  <a:pt x="2711" y="940"/>
                  <a:pt x="2699" y="930"/>
                  <a:pt x="2685" y="926"/>
                </a:cubicBezTo>
                <a:cubicBezTo>
                  <a:pt x="2684" y="926"/>
                  <a:pt x="2682" y="925"/>
                  <a:pt x="2681" y="925"/>
                </a:cubicBezTo>
                <a:cubicBezTo>
                  <a:pt x="2673" y="926"/>
                  <a:pt x="2666" y="930"/>
                  <a:pt x="2659" y="936"/>
                </a:cubicBezTo>
                <a:cubicBezTo>
                  <a:pt x="2653" y="942"/>
                  <a:pt x="2647" y="949"/>
                  <a:pt x="2641" y="956"/>
                </a:cubicBezTo>
                <a:cubicBezTo>
                  <a:pt x="2637" y="960"/>
                  <a:pt x="2635" y="961"/>
                  <a:pt x="2633" y="961"/>
                </a:cubicBezTo>
                <a:cubicBezTo>
                  <a:pt x="2630" y="961"/>
                  <a:pt x="2624" y="958"/>
                  <a:pt x="2616" y="957"/>
                </a:cubicBezTo>
                <a:cubicBezTo>
                  <a:pt x="2614" y="958"/>
                  <a:pt x="2606" y="954"/>
                  <a:pt x="2601" y="950"/>
                </a:cubicBezTo>
                <a:cubicBezTo>
                  <a:pt x="2595" y="945"/>
                  <a:pt x="2590" y="941"/>
                  <a:pt x="2590" y="941"/>
                </a:cubicBezTo>
                <a:cubicBezTo>
                  <a:pt x="2589" y="940"/>
                  <a:pt x="2589" y="940"/>
                  <a:pt x="2589" y="940"/>
                </a:cubicBezTo>
                <a:cubicBezTo>
                  <a:pt x="2589" y="940"/>
                  <a:pt x="2584" y="938"/>
                  <a:pt x="2577" y="935"/>
                </a:cubicBezTo>
                <a:cubicBezTo>
                  <a:pt x="2571" y="933"/>
                  <a:pt x="2564" y="930"/>
                  <a:pt x="2558" y="930"/>
                </a:cubicBezTo>
                <a:cubicBezTo>
                  <a:pt x="2558" y="930"/>
                  <a:pt x="2557" y="929"/>
                  <a:pt x="2554" y="928"/>
                </a:cubicBezTo>
                <a:cubicBezTo>
                  <a:pt x="2551" y="926"/>
                  <a:pt x="2546" y="922"/>
                  <a:pt x="2542" y="919"/>
                </a:cubicBezTo>
                <a:cubicBezTo>
                  <a:pt x="2540" y="917"/>
                  <a:pt x="2538" y="916"/>
                  <a:pt x="2537" y="915"/>
                </a:cubicBezTo>
                <a:cubicBezTo>
                  <a:pt x="2535" y="914"/>
                  <a:pt x="2533" y="912"/>
                  <a:pt x="2530" y="912"/>
                </a:cubicBezTo>
                <a:cubicBezTo>
                  <a:pt x="2530" y="912"/>
                  <a:pt x="2528" y="910"/>
                  <a:pt x="2526" y="909"/>
                </a:cubicBezTo>
                <a:cubicBezTo>
                  <a:pt x="2525" y="908"/>
                  <a:pt x="2524" y="906"/>
                  <a:pt x="2524" y="906"/>
                </a:cubicBezTo>
                <a:cubicBezTo>
                  <a:pt x="2524" y="906"/>
                  <a:pt x="2524" y="905"/>
                  <a:pt x="2525" y="905"/>
                </a:cubicBezTo>
                <a:cubicBezTo>
                  <a:pt x="2526" y="904"/>
                  <a:pt x="2528" y="904"/>
                  <a:pt x="2531" y="904"/>
                </a:cubicBezTo>
                <a:cubicBezTo>
                  <a:pt x="2533" y="904"/>
                  <a:pt x="2536" y="903"/>
                  <a:pt x="2538" y="901"/>
                </a:cubicBezTo>
                <a:cubicBezTo>
                  <a:pt x="2540" y="898"/>
                  <a:pt x="2541" y="895"/>
                  <a:pt x="2541" y="893"/>
                </a:cubicBezTo>
                <a:cubicBezTo>
                  <a:pt x="2540" y="888"/>
                  <a:pt x="2539" y="883"/>
                  <a:pt x="2537" y="874"/>
                </a:cubicBezTo>
                <a:cubicBezTo>
                  <a:pt x="2531" y="854"/>
                  <a:pt x="2518" y="846"/>
                  <a:pt x="2507" y="846"/>
                </a:cubicBezTo>
                <a:cubicBezTo>
                  <a:pt x="2500" y="846"/>
                  <a:pt x="2494" y="849"/>
                  <a:pt x="2490" y="851"/>
                </a:cubicBezTo>
                <a:cubicBezTo>
                  <a:pt x="2490" y="851"/>
                  <a:pt x="2490" y="851"/>
                  <a:pt x="2489" y="851"/>
                </a:cubicBezTo>
                <a:cubicBezTo>
                  <a:pt x="2482" y="852"/>
                  <a:pt x="2463" y="853"/>
                  <a:pt x="2447" y="853"/>
                </a:cubicBezTo>
                <a:cubicBezTo>
                  <a:pt x="2435" y="853"/>
                  <a:pt x="2425" y="853"/>
                  <a:pt x="2423" y="853"/>
                </a:cubicBezTo>
                <a:cubicBezTo>
                  <a:pt x="2419" y="853"/>
                  <a:pt x="2417" y="854"/>
                  <a:pt x="2413" y="855"/>
                </a:cubicBezTo>
                <a:cubicBezTo>
                  <a:pt x="2400" y="860"/>
                  <a:pt x="2380" y="868"/>
                  <a:pt x="2371" y="873"/>
                </a:cubicBezTo>
                <a:cubicBezTo>
                  <a:pt x="2362" y="878"/>
                  <a:pt x="2345" y="884"/>
                  <a:pt x="2338" y="888"/>
                </a:cubicBezTo>
                <a:cubicBezTo>
                  <a:pt x="2338" y="888"/>
                  <a:pt x="2338" y="888"/>
                  <a:pt x="2337" y="888"/>
                </a:cubicBezTo>
                <a:cubicBezTo>
                  <a:pt x="2334" y="888"/>
                  <a:pt x="2324" y="886"/>
                  <a:pt x="2315" y="886"/>
                </a:cubicBezTo>
                <a:cubicBezTo>
                  <a:pt x="2316" y="883"/>
                  <a:pt x="2317" y="881"/>
                  <a:pt x="2318" y="878"/>
                </a:cubicBezTo>
                <a:cubicBezTo>
                  <a:pt x="2319" y="877"/>
                  <a:pt x="2320" y="876"/>
                  <a:pt x="2320" y="875"/>
                </a:cubicBezTo>
                <a:cubicBezTo>
                  <a:pt x="2323" y="876"/>
                  <a:pt x="2325" y="876"/>
                  <a:pt x="2327" y="876"/>
                </a:cubicBezTo>
                <a:cubicBezTo>
                  <a:pt x="2336" y="876"/>
                  <a:pt x="2345" y="873"/>
                  <a:pt x="2352" y="872"/>
                </a:cubicBezTo>
                <a:cubicBezTo>
                  <a:pt x="2360" y="871"/>
                  <a:pt x="2365" y="865"/>
                  <a:pt x="2369" y="861"/>
                </a:cubicBezTo>
                <a:cubicBezTo>
                  <a:pt x="2373" y="856"/>
                  <a:pt x="2377" y="851"/>
                  <a:pt x="2381" y="849"/>
                </a:cubicBezTo>
                <a:cubicBezTo>
                  <a:pt x="2383" y="847"/>
                  <a:pt x="2385" y="846"/>
                  <a:pt x="2387" y="844"/>
                </a:cubicBezTo>
                <a:cubicBezTo>
                  <a:pt x="2388" y="843"/>
                  <a:pt x="2390" y="840"/>
                  <a:pt x="2390" y="837"/>
                </a:cubicBezTo>
                <a:cubicBezTo>
                  <a:pt x="2390" y="834"/>
                  <a:pt x="2388" y="832"/>
                  <a:pt x="2387" y="831"/>
                </a:cubicBezTo>
                <a:cubicBezTo>
                  <a:pt x="2386" y="829"/>
                  <a:pt x="2385" y="828"/>
                  <a:pt x="2384" y="826"/>
                </a:cubicBezTo>
                <a:cubicBezTo>
                  <a:pt x="2384" y="826"/>
                  <a:pt x="2384" y="826"/>
                  <a:pt x="2384" y="826"/>
                </a:cubicBezTo>
                <a:cubicBezTo>
                  <a:pt x="2384" y="825"/>
                  <a:pt x="2386" y="822"/>
                  <a:pt x="2390" y="818"/>
                </a:cubicBezTo>
                <a:cubicBezTo>
                  <a:pt x="2393" y="814"/>
                  <a:pt x="2398" y="809"/>
                  <a:pt x="2402" y="805"/>
                </a:cubicBezTo>
                <a:cubicBezTo>
                  <a:pt x="2404" y="802"/>
                  <a:pt x="2407" y="802"/>
                  <a:pt x="2413" y="801"/>
                </a:cubicBezTo>
                <a:cubicBezTo>
                  <a:pt x="2416" y="801"/>
                  <a:pt x="2419" y="801"/>
                  <a:pt x="2422" y="799"/>
                </a:cubicBezTo>
                <a:cubicBezTo>
                  <a:pt x="2425" y="798"/>
                  <a:pt x="2428" y="794"/>
                  <a:pt x="2429" y="790"/>
                </a:cubicBezTo>
                <a:cubicBezTo>
                  <a:pt x="2431" y="784"/>
                  <a:pt x="2432" y="777"/>
                  <a:pt x="2434" y="772"/>
                </a:cubicBezTo>
                <a:cubicBezTo>
                  <a:pt x="2435" y="769"/>
                  <a:pt x="2436" y="767"/>
                  <a:pt x="2436" y="766"/>
                </a:cubicBezTo>
                <a:cubicBezTo>
                  <a:pt x="2437" y="766"/>
                  <a:pt x="2437" y="766"/>
                  <a:pt x="2437" y="766"/>
                </a:cubicBezTo>
                <a:cubicBezTo>
                  <a:pt x="2445" y="767"/>
                  <a:pt x="2457" y="774"/>
                  <a:pt x="2467" y="774"/>
                </a:cubicBezTo>
                <a:cubicBezTo>
                  <a:pt x="2475" y="773"/>
                  <a:pt x="2481" y="769"/>
                  <a:pt x="2487" y="765"/>
                </a:cubicBezTo>
                <a:cubicBezTo>
                  <a:pt x="2493" y="761"/>
                  <a:pt x="2500" y="756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1" y="755"/>
                  <a:pt x="2502" y="755"/>
                  <a:pt x="2503" y="755"/>
                </a:cubicBezTo>
                <a:cubicBezTo>
                  <a:pt x="2506" y="755"/>
                  <a:pt x="2509" y="755"/>
                  <a:pt x="2511" y="757"/>
                </a:cubicBezTo>
                <a:cubicBezTo>
                  <a:pt x="2514" y="758"/>
                  <a:pt x="2515" y="760"/>
                  <a:pt x="2516" y="762"/>
                </a:cubicBezTo>
                <a:cubicBezTo>
                  <a:pt x="2517" y="771"/>
                  <a:pt x="2524" y="778"/>
                  <a:pt x="2530" y="784"/>
                </a:cubicBezTo>
                <a:cubicBezTo>
                  <a:pt x="2536" y="790"/>
                  <a:pt x="2542" y="795"/>
                  <a:pt x="2545" y="796"/>
                </a:cubicBezTo>
                <a:cubicBezTo>
                  <a:pt x="2548" y="798"/>
                  <a:pt x="2556" y="802"/>
                  <a:pt x="2565" y="805"/>
                </a:cubicBezTo>
                <a:cubicBezTo>
                  <a:pt x="2570" y="807"/>
                  <a:pt x="2574" y="809"/>
                  <a:pt x="2577" y="810"/>
                </a:cubicBezTo>
                <a:cubicBezTo>
                  <a:pt x="2580" y="812"/>
                  <a:pt x="2583" y="814"/>
                  <a:pt x="2583" y="814"/>
                </a:cubicBezTo>
                <a:cubicBezTo>
                  <a:pt x="2586" y="816"/>
                  <a:pt x="2593" y="828"/>
                  <a:pt x="2595" y="838"/>
                </a:cubicBezTo>
                <a:cubicBezTo>
                  <a:pt x="2597" y="845"/>
                  <a:pt x="2600" y="851"/>
                  <a:pt x="2607" y="851"/>
                </a:cubicBezTo>
                <a:cubicBezTo>
                  <a:pt x="2614" y="851"/>
                  <a:pt x="2618" y="845"/>
                  <a:pt x="2618" y="839"/>
                </a:cubicBezTo>
                <a:cubicBezTo>
                  <a:pt x="2619" y="838"/>
                  <a:pt x="2619" y="837"/>
                  <a:pt x="2619" y="836"/>
                </a:cubicBezTo>
                <a:cubicBezTo>
                  <a:pt x="2619" y="829"/>
                  <a:pt x="2617" y="822"/>
                  <a:pt x="2617" y="818"/>
                </a:cubicBezTo>
                <a:cubicBezTo>
                  <a:pt x="2617" y="818"/>
                  <a:pt x="2618" y="818"/>
                  <a:pt x="2618" y="818"/>
                </a:cubicBezTo>
                <a:cubicBezTo>
                  <a:pt x="2627" y="818"/>
                  <a:pt x="2635" y="815"/>
                  <a:pt x="2636" y="815"/>
                </a:cubicBezTo>
                <a:cubicBezTo>
                  <a:pt x="2637" y="814"/>
                  <a:pt x="2636" y="812"/>
                  <a:pt x="2640" y="810"/>
                </a:cubicBezTo>
                <a:cubicBezTo>
                  <a:pt x="2640" y="810"/>
                  <a:pt x="2640" y="810"/>
                  <a:pt x="2640" y="810"/>
                </a:cubicBezTo>
                <a:cubicBezTo>
                  <a:pt x="2644" y="820"/>
                  <a:pt x="2651" y="829"/>
                  <a:pt x="2653" y="833"/>
                </a:cubicBezTo>
                <a:cubicBezTo>
                  <a:pt x="2654" y="835"/>
                  <a:pt x="2658" y="844"/>
                  <a:pt x="2661" y="853"/>
                </a:cubicBezTo>
                <a:cubicBezTo>
                  <a:pt x="2665" y="862"/>
                  <a:pt x="2669" y="871"/>
                  <a:pt x="2671" y="875"/>
                </a:cubicBezTo>
                <a:cubicBezTo>
                  <a:pt x="2672" y="879"/>
                  <a:pt x="2677" y="881"/>
                  <a:pt x="2680" y="881"/>
                </a:cubicBezTo>
                <a:cubicBezTo>
                  <a:pt x="2689" y="881"/>
                  <a:pt x="2696" y="874"/>
                  <a:pt x="2701" y="870"/>
                </a:cubicBezTo>
                <a:cubicBezTo>
                  <a:pt x="2703" y="868"/>
                  <a:pt x="2706" y="866"/>
                  <a:pt x="2711" y="863"/>
                </a:cubicBezTo>
                <a:cubicBezTo>
                  <a:pt x="2715" y="860"/>
                  <a:pt x="2719" y="854"/>
                  <a:pt x="2720" y="847"/>
                </a:cubicBezTo>
                <a:cubicBezTo>
                  <a:pt x="2720" y="846"/>
                  <a:pt x="2720" y="846"/>
                  <a:pt x="2720" y="845"/>
                </a:cubicBezTo>
                <a:cubicBezTo>
                  <a:pt x="2720" y="837"/>
                  <a:pt x="2715" y="831"/>
                  <a:pt x="2710" y="827"/>
                </a:cubicBezTo>
                <a:cubicBezTo>
                  <a:pt x="2708" y="825"/>
                  <a:pt x="2705" y="823"/>
                  <a:pt x="2703" y="822"/>
                </a:cubicBezTo>
                <a:cubicBezTo>
                  <a:pt x="2704" y="821"/>
                  <a:pt x="2705" y="821"/>
                  <a:pt x="2707" y="820"/>
                </a:cubicBezTo>
                <a:cubicBezTo>
                  <a:pt x="2710" y="818"/>
                  <a:pt x="2714" y="816"/>
                  <a:pt x="2717" y="814"/>
                </a:cubicBezTo>
                <a:cubicBezTo>
                  <a:pt x="2720" y="810"/>
                  <a:pt x="2726" y="806"/>
                  <a:pt x="2728" y="805"/>
                </a:cubicBezTo>
                <a:cubicBezTo>
                  <a:pt x="2728" y="805"/>
                  <a:pt x="2728" y="805"/>
                  <a:pt x="2728" y="805"/>
                </a:cubicBezTo>
                <a:cubicBezTo>
                  <a:pt x="2729" y="806"/>
                  <a:pt x="2730" y="817"/>
                  <a:pt x="2730" y="827"/>
                </a:cubicBezTo>
                <a:cubicBezTo>
                  <a:pt x="2731" y="832"/>
                  <a:pt x="2731" y="837"/>
                  <a:pt x="2731" y="841"/>
                </a:cubicBezTo>
                <a:cubicBezTo>
                  <a:pt x="2731" y="845"/>
                  <a:pt x="2731" y="848"/>
                  <a:pt x="2732" y="851"/>
                </a:cubicBezTo>
                <a:cubicBezTo>
                  <a:pt x="2734" y="855"/>
                  <a:pt x="2737" y="857"/>
                  <a:pt x="2740" y="859"/>
                </a:cubicBezTo>
                <a:cubicBezTo>
                  <a:pt x="2744" y="862"/>
                  <a:pt x="2749" y="864"/>
                  <a:pt x="2754" y="867"/>
                </a:cubicBezTo>
                <a:cubicBezTo>
                  <a:pt x="2759" y="869"/>
                  <a:pt x="2763" y="873"/>
                  <a:pt x="2763" y="873"/>
                </a:cubicBezTo>
                <a:cubicBezTo>
                  <a:pt x="2769" y="881"/>
                  <a:pt x="2779" y="883"/>
                  <a:pt x="2788" y="883"/>
                </a:cubicBezTo>
                <a:cubicBezTo>
                  <a:pt x="2792" y="883"/>
                  <a:pt x="2795" y="884"/>
                  <a:pt x="2799" y="880"/>
                </a:cubicBezTo>
                <a:cubicBezTo>
                  <a:pt x="2799" y="880"/>
                  <a:pt x="2799" y="880"/>
                  <a:pt x="2800" y="880"/>
                </a:cubicBezTo>
                <a:cubicBezTo>
                  <a:pt x="2804" y="880"/>
                  <a:pt x="2816" y="884"/>
                  <a:pt x="2820" y="885"/>
                </a:cubicBezTo>
                <a:cubicBezTo>
                  <a:pt x="2822" y="886"/>
                  <a:pt x="2823" y="886"/>
                  <a:pt x="2824" y="886"/>
                </a:cubicBezTo>
                <a:cubicBezTo>
                  <a:pt x="2832" y="886"/>
                  <a:pt x="2843" y="882"/>
                  <a:pt x="2851" y="880"/>
                </a:cubicBezTo>
                <a:cubicBezTo>
                  <a:pt x="2855" y="878"/>
                  <a:pt x="2859" y="877"/>
                  <a:pt x="2861" y="876"/>
                </a:cubicBezTo>
                <a:cubicBezTo>
                  <a:pt x="2861" y="877"/>
                  <a:pt x="2861" y="877"/>
                  <a:pt x="2861" y="878"/>
                </a:cubicBezTo>
                <a:cubicBezTo>
                  <a:pt x="2861" y="879"/>
                  <a:pt x="2861" y="880"/>
                  <a:pt x="2861" y="881"/>
                </a:cubicBezTo>
                <a:cubicBezTo>
                  <a:pt x="2860" y="898"/>
                  <a:pt x="2856" y="925"/>
                  <a:pt x="2846" y="936"/>
                </a:cubicBezTo>
                <a:cubicBezTo>
                  <a:pt x="2840" y="944"/>
                  <a:pt x="2837" y="950"/>
                  <a:pt x="2836" y="953"/>
                </a:cubicBezTo>
                <a:close/>
                <a:moveTo>
                  <a:pt x="2953" y="1233"/>
                </a:moveTo>
                <a:cubicBezTo>
                  <a:pt x="2950" y="1230"/>
                  <a:pt x="2948" y="1227"/>
                  <a:pt x="2944" y="1225"/>
                </a:cubicBezTo>
                <a:cubicBezTo>
                  <a:pt x="2944" y="1225"/>
                  <a:pt x="2944" y="1225"/>
                  <a:pt x="2944" y="1225"/>
                </a:cubicBezTo>
                <a:cubicBezTo>
                  <a:pt x="2944" y="1225"/>
                  <a:pt x="2939" y="1220"/>
                  <a:pt x="2935" y="1215"/>
                </a:cubicBezTo>
                <a:cubicBezTo>
                  <a:pt x="2931" y="1209"/>
                  <a:pt x="2926" y="1202"/>
                  <a:pt x="2924" y="1195"/>
                </a:cubicBezTo>
                <a:cubicBezTo>
                  <a:pt x="2918" y="1178"/>
                  <a:pt x="2910" y="1157"/>
                  <a:pt x="2900" y="1143"/>
                </a:cubicBezTo>
                <a:cubicBezTo>
                  <a:pt x="2892" y="1133"/>
                  <a:pt x="2886" y="1104"/>
                  <a:pt x="2877" y="1084"/>
                </a:cubicBezTo>
                <a:cubicBezTo>
                  <a:pt x="2868" y="1065"/>
                  <a:pt x="2860" y="1040"/>
                  <a:pt x="2852" y="1022"/>
                </a:cubicBezTo>
                <a:cubicBezTo>
                  <a:pt x="2851" y="1019"/>
                  <a:pt x="2850" y="1017"/>
                  <a:pt x="2848" y="1015"/>
                </a:cubicBezTo>
                <a:cubicBezTo>
                  <a:pt x="2853" y="1014"/>
                  <a:pt x="2858" y="1012"/>
                  <a:pt x="2861" y="1013"/>
                </a:cubicBezTo>
                <a:cubicBezTo>
                  <a:pt x="2862" y="1013"/>
                  <a:pt x="2862" y="1013"/>
                  <a:pt x="2862" y="1013"/>
                </a:cubicBezTo>
                <a:cubicBezTo>
                  <a:pt x="2866" y="1024"/>
                  <a:pt x="2877" y="1044"/>
                  <a:pt x="2879" y="1057"/>
                </a:cubicBezTo>
                <a:cubicBezTo>
                  <a:pt x="2880" y="1066"/>
                  <a:pt x="2887" y="1071"/>
                  <a:pt x="2890" y="1073"/>
                </a:cubicBezTo>
                <a:cubicBezTo>
                  <a:pt x="2894" y="1076"/>
                  <a:pt x="2894" y="1075"/>
                  <a:pt x="2895" y="1080"/>
                </a:cubicBezTo>
                <a:cubicBezTo>
                  <a:pt x="2896" y="1088"/>
                  <a:pt x="2899" y="1100"/>
                  <a:pt x="2903" y="1110"/>
                </a:cubicBezTo>
                <a:cubicBezTo>
                  <a:pt x="2905" y="1116"/>
                  <a:pt x="2907" y="1121"/>
                  <a:pt x="2909" y="1125"/>
                </a:cubicBezTo>
                <a:cubicBezTo>
                  <a:pt x="2911" y="1129"/>
                  <a:pt x="2912" y="1132"/>
                  <a:pt x="2915" y="1135"/>
                </a:cubicBezTo>
                <a:cubicBezTo>
                  <a:pt x="2916" y="1137"/>
                  <a:pt x="2923" y="1143"/>
                  <a:pt x="2929" y="1150"/>
                </a:cubicBezTo>
                <a:cubicBezTo>
                  <a:pt x="2935" y="1157"/>
                  <a:pt x="2941" y="1165"/>
                  <a:pt x="2942" y="1167"/>
                </a:cubicBezTo>
                <a:cubicBezTo>
                  <a:pt x="2945" y="1175"/>
                  <a:pt x="2949" y="1186"/>
                  <a:pt x="2953" y="1206"/>
                </a:cubicBezTo>
                <a:cubicBezTo>
                  <a:pt x="2955" y="1216"/>
                  <a:pt x="2956" y="1228"/>
                  <a:pt x="2959" y="1239"/>
                </a:cubicBezTo>
                <a:cubicBezTo>
                  <a:pt x="2959" y="1240"/>
                  <a:pt x="2959" y="1242"/>
                  <a:pt x="2960" y="1243"/>
                </a:cubicBezTo>
                <a:cubicBezTo>
                  <a:pt x="2958" y="1239"/>
                  <a:pt x="2955" y="1236"/>
                  <a:pt x="2953" y="1233"/>
                </a:cubicBezTo>
                <a:close/>
                <a:moveTo>
                  <a:pt x="3061" y="753"/>
                </a:moveTo>
                <a:cubicBezTo>
                  <a:pt x="3062" y="756"/>
                  <a:pt x="3066" y="758"/>
                  <a:pt x="3068" y="758"/>
                </a:cubicBezTo>
                <a:cubicBezTo>
                  <a:pt x="3071" y="757"/>
                  <a:pt x="3072" y="757"/>
                  <a:pt x="3073" y="757"/>
                </a:cubicBezTo>
                <a:cubicBezTo>
                  <a:pt x="3073" y="757"/>
                  <a:pt x="3073" y="757"/>
                  <a:pt x="3074" y="757"/>
                </a:cubicBezTo>
                <a:cubicBezTo>
                  <a:pt x="3079" y="761"/>
                  <a:pt x="3081" y="768"/>
                  <a:pt x="3086" y="778"/>
                </a:cubicBezTo>
                <a:cubicBezTo>
                  <a:pt x="3089" y="784"/>
                  <a:pt x="3094" y="786"/>
                  <a:pt x="3098" y="787"/>
                </a:cubicBezTo>
                <a:cubicBezTo>
                  <a:pt x="3101" y="788"/>
                  <a:pt x="3103" y="789"/>
                  <a:pt x="3104" y="790"/>
                </a:cubicBezTo>
                <a:cubicBezTo>
                  <a:pt x="3103" y="791"/>
                  <a:pt x="3102" y="793"/>
                  <a:pt x="3100" y="795"/>
                </a:cubicBezTo>
                <a:cubicBezTo>
                  <a:pt x="3098" y="797"/>
                  <a:pt x="3095" y="800"/>
                  <a:pt x="3094" y="806"/>
                </a:cubicBezTo>
                <a:cubicBezTo>
                  <a:pt x="3094" y="809"/>
                  <a:pt x="3096" y="813"/>
                  <a:pt x="3099" y="815"/>
                </a:cubicBezTo>
                <a:cubicBezTo>
                  <a:pt x="3101" y="817"/>
                  <a:pt x="3105" y="827"/>
                  <a:pt x="3107" y="837"/>
                </a:cubicBezTo>
                <a:cubicBezTo>
                  <a:pt x="3109" y="846"/>
                  <a:pt x="3111" y="855"/>
                  <a:pt x="3111" y="860"/>
                </a:cubicBezTo>
                <a:cubicBezTo>
                  <a:pt x="3110" y="861"/>
                  <a:pt x="3107" y="863"/>
                  <a:pt x="3103" y="863"/>
                </a:cubicBezTo>
                <a:cubicBezTo>
                  <a:pt x="3098" y="865"/>
                  <a:pt x="3092" y="865"/>
                  <a:pt x="3088" y="865"/>
                </a:cubicBezTo>
                <a:cubicBezTo>
                  <a:pt x="3087" y="865"/>
                  <a:pt x="3086" y="865"/>
                  <a:pt x="3085" y="865"/>
                </a:cubicBezTo>
                <a:cubicBezTo>
                  <a:pt x="3079" y="864"/>
                  <a:pt x="3055" y="855"/>
                  <a:pt x="3046" y="852"/>
                </a:cubicBezTo>
                <a:cubicBezTo>
                  <a:pt x="3045" y="851"/>
                  <a:pt x="3041" y="840"/>
                  <a:pt x="3042" y="833"/>
                </a:cubicBezTo>
                <a:cubicBezTo>
                  <a:pt x="3042" y="831"/>
                  <a:pt x="3042" y="829"/>
                  <a:pt x="3042" y="828"/>
                </a:cubicBezTo>
                <a:cubicBezTo>
                  <a:pt x="3043" y="828"/>
                  <a:pt x="3044" y="828"/>
                  <a:pt x="3045" y="828"/>
                </a:cubicBezTo>
                <a:cubicBezTo>
                  <a:pt x="3050" y="828"/>
                  <a:pt x="3055" y="826"/>
                  <a:pt x="3058" y="823"/>
                </a:cubicBezTo>
                <a:cubicBezTo>
                  <a:pt x="3062" y="820"/>
                  <a:pt x="3065" y="816"/>
                  <a:pt x="3070" y="811"/>
                </a:cubicBezTo>
                <a:cubicBezTo>
                  <a:pt x="3073" y="808"/>
                  <a:pt x="3075" y="805"/>
                  <a:pt x="3075" y="801"/>
                </a:cubicBezTo>
                <a:cubicBezTo>
                  <a:pt x="3074" y="796"/>
                  <a:pt x="3072" y="793"/>
                  <a:pt x="3069" y="790"/>
                </a:cubicBezTo>
                <a:cubicBezTo>
                  <a:pt x="3060" y="784"/>
                  <a:pt x="3047" y="782"/>
                  <a:pt x="3042" y="780"/>
                </a:cubicBezTo>
                <a:cubicBezTo>
                  <a:pt x="3042" y="780"/>
                  <a:pt x="3042" y="780"/>
                  <a:pt x="3042" y="780"/>
                </a:cubicBezTo>
                <a:cubicBezTo>
                  <a:pt x="3040" y="779"/>
                  <a:pt x="3034" y="770"/>
                  <a:pt x="3029" y="762"/>
                </a:cubicBezTo>
                <a:cubicBezTo>
                  <a:pt x="3023" y="754"/>
                  <a:pt x="3019" y="745"/>
                  <a:pt x="3016" y="740"/>
                </a:cubicBezTo>
                <a:cubicBezTo>
                  <a:pt x="3015" y="738"/>
                  <a:pt x="3014" y="736"/>
                  <a:pt x="3014" y="734"/>
                </a:cubicBezTo>
                <a:cubicBezTo>
                  <a:pt x="3014" y="728"/>
                  <a:pt x="3018" y="719"/>
                  <a:pt x="3027" y="712"/>
                </a:cubicBezTo>
                <a:cubicBezTo>
                  <a:pt x="3027" y="712"/>
                  <a:pt x="3027" y="712"/>
                  <a:pt x="3027" y="712"/>
                </a:cubicBezTo>
                <a:cubicBezTo>
                  <a:pt x="3027" y="712"/>
                  <a:pt x="3028" y="712"/>
                  <a:pt x="3028" y="712"/>
                </a:cubicBezTo>
                <a:cubicBezTo>
                  <a:pt x="3032" y="712"/>
                  <a:pt x="3041" y="715"/>
                  <a:pt x="3050" y="715"/>
                </a:cubicBezTo>
                <a:cubicBezTo>
                  <a:pt x="3054" y="715"/>
                  <a:pt x="3058" y="715"/>
                  <a:pt x="3061" y="712"/>
                </a:cubicBezTo>
                <a:cubicBezTo>
                  <a:pt x="3070" y="705"/>
                  <a:pt x="3079" y="698"/>
                  <a:pt x="3083" y="695"/>
                </a:cubicBezTo>
                <a:cubicBezTo>
                  <a:pt x="3085" y="695"/>
                  <a:pt x="3090" y="696"/>
                  <a:pt x="3095" y="698"/>
                </a:cubicBezTo>
                <a:cubicBezTo>
                  <a:pt x="3100" y="700"/>
                  <a:pt x="3104" y="703"/>
                  <a:pt x="3104" y="704"/>
                </a:cubicBezTo>
                <a:cubicBezTo>
                  <a:pt x="3106" y="709"/>
                  <a:pt x="3110" y="713"/>
                  <a:pt x="3113" y="717"/>
                </a:cubicBezTo>
                <a:cubicBezTo>
                  <a:pt x="3114" y="719"/>
                  <a:pt x="3115" y="721"/>
                  <a:pt x="3116" y="722"/>
                </a:cubicBezTo>
                <a:cubicBezTo>
                  <a:pt x="3116" y="723"/>
                  <a:pt x="3116" y="723"/>
                  <a:pt x="3116" y="723"/>
                </a:cubicBezTo>
                <a:cubicBezTo>
                  <a:pt x="3114" y="724"/>
                  <a:pt x="3108" y="725"/>
                  <a:pt x="3104" y="725"/>
                </a:cubicBezTo>
                <a:cubicBezTo>
                  <a:pt x="3099" y="725"/>
                  <a:pt x="3095" y="724"/>
                  <a:pt x="3095" y="723"/>
                </a:cubicBezTo>
                <a:cubicBezTo>
                  <a:pt x="3092" y="719"/>
                  <a:pt x="3087" y="717"/>
                  <a:pt x="3083" y="717"/>
                </a:cubicBezTo>
                <a:cubicBezTo>
                  <a:pt x="3072" y="718"/>
                  <a:pt x="3061" y="728"/>
                  <a:pt x="3060" y="743"/>
                </a:cubicBezTo>
                <a:cubicBezTo>
                  <a:pt x="3060" y="744"/>
                  <a:pt x="3060" y="745"/>
                  <a:pt x="3060" y="746"/>
                </a:cubicBezTo>
                <a:cubicBezTo>
                  <a:pt x="3060" y="749"/>
                  <a:pt x="3060" y="751"/>
                  <a:pt x="3061" y="753"/>
                </a:cubicBezTo>
                <a:close/>
                <a:moveTo>
                  <a:pt x="3441" y="353"/>
                </a:moveTo>
                <a:cubicBezTo>
                  <a:pt x="3437" y="354"/>
                  <a:pt x="3434" y="355"/>
                  <a:pt x="3431" y="355"/>
                </a:cubicBezTo>
                <a:cubicBezTo>
                  <a:pt x="3426" y="355"/>
                  <a:pt x="3423" y="353"/>
                  <a:pt x="3423" y="351"/>
                </a:cubicBezTo>
                <a:cubicBezTo>
                  <a:pt x="3421" y="346"/>
                  <a:pt x="3416" y="341"/>
                  <a:pt x="3411" y="340"/>
                </a:cubicBezTo>
                <a:cubicBezTo>
                  <a:pt x="3412" y="340"/>
                  <a:pt x="3413" y="340"/>
                  <a:pt x="3414" y="339"/>
                </a:cubicBezTo>
                <a:cubicBezTo>
                  <a:pt x="3420" y="338"/>
                  <a:pt x="3428" y="335"/>
                  <a:pt x="3433" y="335"/>
                </a:cubicBezTo>
                <a:cubicBezTo>
                  <a:pt x="3435" y="335"/>
                  <a:pt x="3436" y="336"/>
                  <a:pt x="3436" y="336"/>
                </a:cubicBezTo>
                <a:cubicBezTo>
                  <a:pt x="3436" y="336"/>
                  <a:pt x="3436" y="335"/>
                  <a:pt x="3436" y="337"/>
                </a:cubicBezTo>
                <a:cubicBezTo>
                  <a:pt x="3437" y="342"/>
                  <a:pt x="3439" y="346"/>
                  <a:pt x="3440" y="349"/>
                </a:cubicBezTo>
                <a:cubicBezTo>
                  <a:pt x="3441" y="350"/>
                  <a:pt x="3441" y="352"/>
                  <a:pt x="3442" y="352"/>
                </a:cubicBezTo>
                <a:cubicBezTo>
                  <a:pt x="3441" y="353"/>
                  <a:pt x="3441" y="353"/>
                  <a:pt x="3441" y="353"/>
                </a:cubicBezTo>
                <a:close/>
                <a:moveTo>
                  <a:pt x="3513" y="323"/>
                </a:moveTo>
                <a:cubicBezTo>
                  <a:pt x="3513" y="323"/>
                  <a:pt x="3513" y="323"/>
                  <a:pt x="3513" y="323"/>
                </a:cubicBezTo>
                <a:cubicBezTo>
                  <a:pt x="3512" y="324"/>
                  <a:pt x="3511" y="324"/>
                  <a:pt x="3511" y="324"/>
                </a:cubicBezTo>
                <a:cubicBezTo>
                  <a:pt x="3509" y="324"/>
                  <a:pt x="3508" y="324"/>
                  <a:pt x="3507" y="318"/>
                </a:cubicBezTo>
                <a:cubicBezTo>
                  <a:pt x="3506" y="312"/>
                  <a:pt x="3506" y="307"/>
                  <a:pt x="3502" y="302"/>
                </a:cubicBezTo>
                <a:cubicBezTo>
                  <a:pt x="3500" y="300"/>
                  <a:pt x="3498" y="299"/>
                  <a:pt x="3496" y="297"/>
                </a:cubicBezTo>
                <a:cubicBezTo>
                  <a:pt x="3499" y="299"/>
                  <a:pt x="3503" y="301"/>
                  <a:pt x="3505" y="302"/>
                </a:cubicBezTo>
                <a:cubicBezTo>
                  <a:pt x="3507" y="303"/>
                  <a:pt x="3507" y="304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12" y="307"/>
                  <a:pt x="3513" y="316"/>
                  <a:pt x="3513" y="320"/>
                </a:cubicBezTo>
                <a:cubicBezTo>
                  <a:pt x="3513" y="322"/>
                  <a:pt x="3513" y="323"/>
                  <a:pt x="3513" y="323"/>
                </a:cubicBezTo>
                <a:close/>
                <a:moveTo>
                  <a:pt x="2502" y="789"/>
                </a:moveTo>
                <a:cubicBezTo>
                  <a:pt x="2495" y="789"/>
                  <a:pt x="2491" y="794"/>
                  <a:pt x="2488" y="798"/>
                </a:cubicBezTo>
                <a:cubicBezTo>
                  <a:pt x="2485" y="803"/>
                  <a:pt x="2484" y="808"/>
                  <a:pt x="2484" y="814"/>
                </a:cubicBezTo>
                <a:cubicBezTo>
                  <a:pt x="2484" y="818"/>
                  <a:pt x="2485" y="823"/>
                  <a:pt x="2488" y="827"/>
                </a:cubicBezTo>
                <a:cubicBezTo>
                  <a:pt x="2492" y="831"/>
                  <a:pt x="2496" y="833"/>
                  <a:pt x="2501" y="833"/>
                </a:cubicBezTo>
                <a:cubicBezTo>
                  <a:pt x="2508" y="833"/>
                  <a:pt x="2514" y="828"/>
                  <a:pt x="2517" y="822"/>
                </a:cubicBezTo>
                <a:cubicBezTo>
                  <a:pt x="2512" y="819"/>
                  <a:pt x="2512" y="819"/>
                  <a:pt x="2512" y="819"/>
                </a:cubicBezTo>
                <a:cubicBezTo>
                  <a:pt x="2517" y="822"/>
                  <a:pt x="2517" y="822"/>
                  <a:pt x="2517" y="822"/>
                </a:cubicBezTo>
                <a:cubicBezTo>
                  <a:pt x="2519" y="819"/>
                  <a:pt x="2520" y="816"/>
                  <a:pt x="2520" y="812"/>
                </a:cubicBezTo>
                <a:cubicBezTo>
                  <a:pt x="2520" y="806"/>
                  <a:pt x="2518" y="801"/>
                  <a:pt x="2515" y="797"/>
                </a:cubicBezTo>
                <a:cubicBezTo>
                  <a:pt x="2511" y="793"/>
                  <a:pt x="2508" y="790"/>
                  <a:pt x="2502" y="789"/>
                </a:cubicBezTo>
                <a:close/>
                <a:moveTo>
                  <a:pt x="2028" y="279"/>
                </a:moveTo>
                <a:cubicBezTo>
                  <a:pt x="2029" y="279"/>
                  <a:pt x="2030" y="279"/>
                  <a:pt x="2031" y="279"/>
                </a:cubicBezTo>
                <a:cubicBezTo>
                  <a:pt x="2037" y="279"/>
                  <a:pt x="2045" y="280"/>
                  <a:pt x="2051" y="280"/>
                </a:cubicBezTo>
                <a:cubicBezTo>
                  <a:pt x="2055" y="280"/>
                  <a:pt x="2058" y="280"/>
                  <a:pt x="2062" y="278"/>
                </a:cubicBezTo>
                <a:cubicBezTo>
                  <a:pt x="2065" y="275"/>
                  <a:pt x="2067" y="271"/>
                  <a:pt x="2067" y="266"/>
                </a:cubicBezTo>
                <a:cubicBezTo>
                  <a:pt x="2067" y="266"/>
                  <a:pt x="2067" y="266"/>
                  <a:pt x="2067" y="265"/>
                </a:cubicBezTo>
                <a:cubicBezTo>
                  <a:pt x="2061" y="266"/>
                  <a:pt x="2061" y="266"/>
                  <a:pt x="2061" y="266"/>
                </a:cubicBezTo>
                <a:cubicBezTo>
                  <a:pt x="2067" y="265"/>
                  <a:pt x="2067" y="265"/>
                  <a:pt x="2067" y="265"/>
                </a:cubicBezTo>
                <a:cubicBezTo>
                  <a:pt x="2067" y="262"/>
                  <a:pt x="2067" y="259"/>
                  <a:pt x="2067" y="256"/>
                </a:cubicBezTo>
                <a:cubicBezTo>
                  <a:pt x="2067" y="245"/>
                  <a:pt x="2068" y="234"/>
                  <a:pt x="2071" y="230"/>
                </a:cubicBezTo>
                <a:cubicBezTo>
                  <a:pt x="2072" y="227"/>
                  <a:pt x="2074" y="225"/>
                  <a:pt x="2076" y="222"/>
                </a:cubicBezTo>
                <a:cubicBezTo>
                  <a:pt x="2078" y="220"/>
                  <a:pt x="2081" y="218"/>
                  <a:pt x="2081" y="212"/>
                </a:cubicBezTo>
                <a:cubicBezTo>
                  <a:pt x="2082" y="209"/>
                  <a:pt x="2079" y="206"/>
                  <a:pt x="2077" y="205"/>
                </a:cubicBezTo>
                <a:cubicBezTo>
                  <a:pt x="2074" y="204"/>
                  <a:pt x="2072" y="204"/>
                  <a:pt x="2070" y="204"/>
                </a:cubicBezTo>
                <a:cubicBezTo>
                  <a:pt x="2069" y="204"/>
                  <a:pt x="2068" y="204"/>
                  <a:pt x="2068" y="204"/>
                </a:cubicBezTo>
                <a:cubicBezTo>
                  <a:pt x="2066" y="204"/>
                  <a:pt x="2067" y="204"/>
                  <a:pt x="2066" y="204"/>
                </a:cubicBezTo>
                <a:cubicBezTo>
                  <a:pt x="2066" y="203"/>
                  <a:pt x="2065" y="202"/>
                  <a:pt x="2063" y="198"/>
                </a:cubicBezTo>
                <a:cubicBezTo>
                  <a:pt x="2063" y="196"/>
                  <a:pt x="2062" y="194"/>
                  <a:pt x="2062" y="193"/>
                </a:cubicBezTo>
                <a:cubicBezTo>
                  <a:pt x="2062" y="186"/>
                  <a:pt x="2067" y="179"/>
                  <a:pt x="2072" y="175"/>
                </a:cubicBezTo>
                <a:cubicBezTo>
                  <a:pt x="2075" y="172"/>
                  <a:pt x="2084" y="162"/>
                  <a:pt x="2094" y="152"/>
                </a:cubicBezTo>
                <a:cubicBezTo>
                  <a:pt x="2103" y="142"/>
                  <a:pt x="2115" y="132"/>
                  <a:pt x="2121" y="130"/>
                </a:cubicBezTo>
                <a:cubicBezTo>
                  <a:pt x="2135" y="125"/>
                  <a:pt x="2145" y="112"/>
                  <a:pt x="2146" y="100"/>
                </a:cubicBezTo>
                <a:cubicBezTo>
                  <a:pt x="2146" y="95"/>
                  <a:pt x="2143" y="89"/>
                  <a:pt x="2137" y="87"/>
                </a:cubicBezTo>
                <a:cubicBezTo>
                  <a:pt x="2131" y="84"/>
                  <a:pt x="2120" y="80"/>
                  <a:pt x="2108" y="80"/>
                </a:cubicBezTo>
                <a:cubicBezTo>
                  <a:pt x="2099" y="80"/>
                  <a:pt x="2090" y="83"/>
                  <a:pt x="2082" y="90"/>
                </a:cubicBezTo>
                <a:cubicBezTo>
                  <a:pt x="2076" y="97"/>
                  <a:pt x="2070" y="103"/>
                  <a:pt x="2066" y="107"/>
                </a:cubicBezTo>
                <a:cubicBezTo>
                  <a:pt x="2061" y="111"/>
                  <a:pt x="2057" y="113"/>
                  <a:pt x="2053" y="113"/>
                </a:cubicBezTo>
                <a:cubicBezTo>
                  <a:pt x="2051" y="113"/>
                  <a:pt x="2050" y="113"/>
                  <a:pt x="2048" y="113"/>
                </a:cubicBezTo>
                <a:cubicBezTo>
                  <a:pt x="2042" y="111"/>
                  <a:pt x="2039" y="106"/>
                  <a:pt x="2035" y="98"/>
                </a:cubicBezTo>
                <a:cubicBezTo>
                  <a:pt x="2031" y="90"/>
                  <a:pt x="2028" y="81"/>
                  <a:pt x="2022" y="73"/>
                </a:cubicBezTo>
                <a:cubicBezTo>
                  <a:pt x="2017" y="67"/>
                  <a:pt x="2015" y="55"/>
                  <a:pt x="2014" y="44"/>
                </a:cubicBezTo>
                <a:cubicBezTo>
                  <a:pt x="2013" y="39"/>
                  <a:pt x="2013" y="33"/>
                  <a:pt x="2011" y="29"/>
                </a:cubicBezTo>
                <a:cubicBezTo>
                  <a:pt x="2010" y="25"/>
                  <a:pt x="2005" y="19"/>
                  <a:pt x="1999" y="19"/>
                </a:cubicBezTo>
                <a:cubicBezTo>
                  <a:pt x="1998" y="19"/>
                  <a:pt x="1997" y="20"/>
                  <a:pt x="1996" y="20"/>
                </a:cubicBezTo>
                <a:cubicBezTo>
                  <a:pt x="1988" y="21"/>
                  <a:pt x="1984" y="22"/>
                  <a:pt x="1983" y="22"/>
                </a:cubicBezTo>
                <a:cubicBezTo>
                  <a:pt x="1980" y="22"/>
                  <a:pt x="1972" y="20"/>
                  <a:pt x="1964" y="20"/>
                </a:cubicBezTo>
                <a:cubicBezTo>
                  <a:pt x="1961" y="20"/>
                  <a:pt x="1957" y="21"/>
                  <a:pt x="1953" y="22"/>
                </a:cubicBezTo>
                <a:cubicBezTo>
                  <a:pt x="1948" y="23"/>
                  <a:pt x="1943" y="25"/>
                  <a:pt x="1940" y="27"/>
                </a:cubicBezTo>
                <a:cubicBezTo>
                  <a:pt x="1940" y="26"/>
                  <a:pt x="1940" y="26"/>
                  <a:pt x="1940" y="25"/>
                </a:cubicBezTo>
                <a:cubicBezTo>
                  <a:pt x="1939" y="19"/>
                  <a:pt x="1936" y="18"/>
                  <a:pt x="1934" y="16"/>
                </a:cubicBezTo>
                <a:cubicBezTo>
                  <a:pt x="1931" y="14"/>
                  <a:pt x="1928" y="13"/>
                  <a:pt x="1926" y="13"/>
                </a:cubicBezTo>
                <a:cubicBezTo>
                  <a:pt x="1909" y="11"/>
                  <a:pt x="1882" y="2"/>
                  <a:pt x="1859" y="1"/>
                </a:cubicBezTo>
                <a:cubicBezTo>
                  <a:pt x="1858" y="0"/>
                  <a:pt x="1857" y="0"/>
                  <a:pt x="1855" y="0"/>
                </a:cubicBezTo>
                <a:cubicBezTo>
                  <a:pt x="1839" y="1"/>
                  <a:pt x="1829" y="6"/>
                  <a:pt x="1815" y="6"/>
                </a:cubicBezTo>
                <a:cubicBezTo>
                  <a:pt x="1794" y="7"/>
                  <a:pt x="1767" y="5"/>
                  <a:pt x="1748" y="19"/>
                </a:cubicBezTo>
                <a:cubicBezTo>
                  <a:pt x="1741" y="24"/>
                  <a:pt x="1734" y="26"/>
                  <a:pt x="1727" y="28"/>
                </a:cubicBezTo>
                <a:cubicBezTo>
                  <a:pt x="1724" y="29"/>
                  <a:pt x="1721" y="30"/>
                  <a:pt x="1719" y="30"/>
                </a:cubicBezTo>
                <a:cubicBezTo>
                  <a:pt x="1718" y="31"/>
                  <a:pt x="1717" y="31"/>
                  <a:pt x="1715" y="31"/>
                </a:cubicBezTo>
                <a:cubicBezTo>
                  <a:pt x="1714" y="32"/>
                  <a:pt x="1713" y="32"/>
                  <a:pt x="1711" y="34"/>
                </a:cubicBezTo>
                <a:cubicBezTo>
                  <a:pt x="1707" y="40"/>
                  <a:pt x="1703" y="48"/>
                  <a:pt x="1700" y="55"/>
                </a:cubicBezTo>
                <a:cubicBezTo>
                  <a:pt x="1698" y="58"/>
                  <a:pt x="1697" y="61"/>
                  <a:pt x="1695" y="63"/>
                </a:cubicBezTo>
                <a:cubicBezTo>
                  <a:pt x="1695" y="63"/>
                  <a:pt x="1695" y="63"/>
                  <a:pt x="1695" y="63"/>
                </a:cubicBezTo>
                <a:cubicBezTo>
                  <a:pt x="1694" y="61"/>
                  <a:pt x="1692" y="57"/>
                  <a:pt x="1690" y="54"/>
                </a:cubicBezTo>
                <a:cubicBezTo>
                  <a:pt x="1689" y="52"/>
                  <a:pt x="1688" y="49"/>
                  <a:pt x="1686" y="47"/>
                </a:cubicBezTo>
                <a:cubicBezTo>
                  <a:pt x="1685" y="45"/>
                  <a:pt x="1682" y="43"/>
                  <a:pt x="1678" y="43"/>
                </a:cubicBezTo>
                <a:cubicBezTo>
                  <a:pt x="1675" y="43"/>
                  <a:pt x="1673" y="44"/>
                  <a:pt x="1671" y="46"/>
                </a:cubicBezTo>
                <a:cubicBezTo>
                  <a:pt x="1663" y="52"/>
                  <a:pt x="1664" y="61"/>
                  <a:pt x="1664" y="68"/>
                </a:cubicBezTo>
                <a:cubicBezTo>
                  <a:pt x="1664" y="69"/>
                  <a:pt x="1664" y="69"/>
                  <a:pt x="1664" y="69"/>
                </a:cubicBezTo>
                <a:cubicBezTo>
                  <a:pt x="1664" y="76"/>
                  <a:pt x="1663" y="82"/>
                  <a:pt x="1660" y="86"/>
                </a:cubicBezTo>
                <a:cubicBezTo>
                  <a:pt x="1657" y="90"/>
                  <a:pt x="1649" y="93"/>
                  <a:pt x="1641" y="93"/>
                </a:cubicBezTo>
                <a:cubicBezTo>
                  <a:pt x="1635" y="93"/>
                  <a:pt x="1630" y="91"/>
                  <a:pt x="1629" y="90"/>
                </a:cubicBezTo>
                <a:cubicBezTo>
                  <a:pt x="1622" y="86"/>
                  <a:pt x="1614" y="82"/>
                  <a:pt x="1596" y="83"/>
                </a:cubicBezTo>
                <a:cubicBezTo>
                  <a:pt x="1592" y="83"/>
                  <a:pt x="1588" y="83"/>
                  <a:pt x="1583" y="83"/>
                </a:cubicBezTo>
                <a:cubicBezTo>
                  <a:pt x="1569" y="84"/>
                  <a:pt x="1555" y="87"/>
                  <a:pt x="1545" y="91"/>
                </a:cubicBezTo>
                <a:cubicBezTo>
                  <a:pt x="1539" y="93"/>
                  <a:pt x="1534" y="95"/>
                  <a:pt x="1531" y="98"/>
                </a:cubicBezTo>
                <a:cubicBezTo>
                  <a:pt x="1527" y="101"/>
                  <a:pt x="1523" y="105"/>
                  <a:pt x="1523" y="110"/>
                </a:cubicBezTo>
                <a:cubicBezTo>
                  <a:pt x="1523" y="112"/>
                  <a:pt x="1524" y="114"/>
                  <a:pt x="1525" y="116"/>
                </a:cubicBezTo>
                <a:cubicBezTo>
                  <a:pt x="1525" y="117"/>
                  <a:pt x="1525" y="117"/>
                  <a:pt x="1525" y="117"/>
                </a:cubicBezTo>
                <a:cubicBezTo>
                  <a:pt x="1525" y="118"/>
                  <a:pt x="1525" y="118"/>
                  <a:pt x="1524" y="119"/>
                </a:cubicBezTo>
                <a:cubicBezTo>
                  <a:pt x="1522" y="120"/>
                  <a:pt x="1520" y="121"/>
                  <a:pt x="1518" y="121"/>
                </a:cubicBezTo>
                <a:cubicBezTo>
                  <a:pt x="1518" y="121"/>
                  <a:pt x="1517" y="121"/>
                  <a:pt x="1517" y="121"/>
                </a:cubicBezTo>
                <a:cubicBezTo>
                  <a:pt x="1517" y="121"/>
                  <a:pt x="1517" y="121"/>
                  <a:pt x="1517" y="121"/>
                </a:cubicBezTo>
                <a:cubicBezTo>
                  <a:pt x="1515" y="118"/>
                  <a:pt x="1511" y="118"/>
                  <a:pt x="1509" y="118"/>
                </a:cubicBezTo>
                <a:cubicBezTo>
                  <a:pt x="1503" y="118"/>
                  <a:pt x="1497" y="120"/>
                  <a:pt x="1491" y="124"/>
                </a:cubicBezTo>
                <a:cubicBezTo>
                  <a:pt x="1486" y="128"/>
                  <a:pt x="1481" y="134"/>
                  <a:pt x="1481" y="141"/>
                </a:cubicBezTo>
                <a:cubicBezTo>
                  <a:pt x="1481" y="142"/>
                  <a:pt x="1481" y="143"/>
                  <a:pt x="1481" y="143"/>
                </a:cubicBezTo>
                <a:cubicBezTo>
                  <a:pt x="1481" y="144"/>
                  <a:pt x="1481" y="145"/>
                  <a:pt x="1481" y="146"/>
                </a:cubicBezTo>
                <a:cubicBezTo>
                  <a:pt x="1481" y="150"/>
                  <a:pt x="1480" y="153"/>
                  <a:pt x="1479" y="155"/>
                </a:cubicBezTo>
                <a:cubicBezTo>
                  <a:pt x="1477" y="157"/>
                  <a:pt x="1476" y="158"/>
                  <a:pt x="1475" y="158"/>
                </a:cubicBezTo>
                <a:cubicBezTo>
                  <a:pt x="1474" y="158"/>
                  <a:pt x="1473" y="158"/>
                  <a:pt x="1473" y="158"/>
                </a:cubicBezTo>
                <a:cubicBezTo>
                  <a:pt x="1471" y="157"/>
                  <a:pt x="1469" y="157"/>
                  <a:pt x="1467" y="157"/>
                </a:cubicBezTo>
                <a:cubicBezTo>
                  <a:pt x="1454" y="157"/>
                  <a:pt x="1445" y="168"/>
                  <a:pt x="1444" y="179"/>
                </a:cubicBezTo>
                <a:cubicBezTo>
                  <a:pt x="1444" y="180"/>
                  <a:pt x="1438" y="183"/>
                  <a:pt x="1433" y="185"/>
                </a:cubicBezTo>
                <a:cubicBezTo>
                  <a:pt x="1430" y="186"/>
                  <a:pt x="1427" y="187"/>
                  <a:pt x="1424" y="188"/>
                </a:cubicBezTo>
                <a:cubicBezTo>
                  <a:pt x="1423" y="188"/>
                  <a:pt x="1422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0" y="188"/>
                  <a:pt x="1419" y="188"/>
                  <a:pt x="1418" y="188"/>
                </a:cubicBezTo>
                <a:cubicBezTo>
                  <a:pt x="1415" y="188"/>
                  <a:pt x="1409" y="188"/>
                  <a:pt x="1403" y="189"/>
                </a:cubicBezTo>
                <a:cubicBezTo>
                  <a:pt x="1400" y="190"/>
                  <a:pt x="1397" y="191"/>
                  <a:pt x="1394" y="192"/>
                </a:cubicBezTo>
                <a:cubicBezTo>
                  <a:pt x="1392" y="193"/>
                  <a:pt x="1388" y="195"/>
                  <a:pt x="1388" y="201"/>
                </a:cubicBezTo>
                <a:cubicBezTo>
                  <a:pt x="1388" y="205"/>
                  <a:pt x="1391" y="207"/>
                  <a:pt x="1393" y="209"/>
                </a:cubicBezTo>
                <a:cubicBezTo>
                  <a:pt x="1399" y="215"/>
                  <a:pt x="1405" y="216"/>
                  <a:pt x="1410" y="215"/>
                </a:cubicBezTo>
                <a:cubicBezTo>
                  <a:pt x="1411" y="215"/>
                  <a:pt x="1411" y="215"/>
                  <a:pt x="1412" y="215"/>
                </a:cubicBezTo>
                <a:cubicBezTo>
                  <a:pt x="1414" y="215"/>
                  <a:pt x="1416" y="216"/>
                  <a:pt x="1419" y="216"/>
                </a:cubicBezTo>
                <a:cubicBezTo>
                  <a:pt x="1421" y="217"/>
                  <a:pt x="1426" y="221"/>
                  <a:pt x="1430" y="227"/>
                </a:cubicBezTo>
                <a:cubicBezTo>
                  <a:pt x="1434" y="232"/>
                  <a:pt x="1437" y="238"/>
                  <a:pt x="1443" y="242"/>
                </a:cubicBezTo>
                <a:cubicBezTo>
                  <a:pt x="1445" y="243"/>
                  <a:pt x="1448" y="243"/>
                  <a:pt x="1450" y="243"/>
                </a:cubicBezTo>
                <a:cubicBezTo>
                  <a:pt x="1457" y="243"/>
                  <a:pt x="1464" y="240"/>
                  <a:pt x="1467" y="234"/>
                </a:cubicBezTo>
                <a:cubicBezTo>
                  <a:pt x="1468" y="232"/>
                  <a:pt x="1469" y="230"/>
                  <a:pt x="1470" y="228"/>
                </a:cubicBezTo>
                <a:cubicBezTo>
                  <a:pt x="1472" y="230"/>
                  <a:pt x="1474" y="232"/>
                  <a:pt x="1477" y="233"/>
                </a:cubicBezTo>
                <a:cubicBezTo>
                  <a:pt x="1480" y="235"/>
                  <a:pt x="1483" y="235"/>
                  <a:pt x="1486" y="235"/>
                </a:cubicBezTo>
                <a:cubicBezTo>
                  <a:pt x="1496" y="235"/>
                  <a:pt x="1509" y="232"/>
                  <a:pt x="1513" y="232"/>
                </a:cubicBezTo>
                <a:cubicBezTo>
                  <a:pt x="1513" y="232"/>
                  <a:pt x="1513" y="232"/>
                  <a:pt x="1513" y="232"/>
                </a:cubicBezTo>
                <a:cubicBezTo>
                  <a:pt x="1516" y="232"/>
                  <a:pt x="1525" y="234"/>
                  <a:pt x="1535" y="236"/>
                </a:cubicBezTo>
                <a:cubicBezTo>
                  <a:pt x="1545" y="238"/>
                  <a:pt x="1556" y="241"/>
                  <a:pt x="1559" y="243"/>
                </a:cubicBezTo>
                <a:cubicBezTo>
                  <a:pt x="1565" y="247"/>
                  <a:pt x="1572" y="249"/>
                  <a:pt x="1580" y="252"/>
                </a:cubicBezTo>
                <a:cubicBezTo>
                  <a:pt x="1587" y="255"/>
                  <a:pt x="1593" y="258"/>
                  <a:pt x="1594" y="262"/>
                </a:cubicBezTo>
                <a:cubicBezTo>
                  <a:pt x="1597" y="266"/>
                  <a:pt x="1599" y="279"/>
                  <a:pt x="1600" y="292"/>
                </a:cubicBezTo>
                <a:cubicBezTo>
                  <a:pt x="1601" y="298"/>
                  <a:pt x="1601" y="304"/>
                  <a:pt x="1602" y="309"/>
                </a:cubicBezTo>
                <a:cubicBezTo>
                  <a:pt x="1603" y="314"/>
                  <a:pt x="1603" y="317"/>
                  <a:pt x="1605" y="321"/>
                </a:cubicBezTo>
                <a:cubicBezTo>
                  <a:pt x="1607" y="322"/>
                  <a:pt x="1609" y="324"/>
                  <a:pt x="1612" y="324"/>
                </a:cubicBezTo>
                <a:cubicBezTo>
                  <a:pt x="1612" y="324"/>
                  <a:pt x="1613" y="324"/>
                  <a:pt x="1614" y="323"/>
                </a:cubicBezTo>
                <a:cubicBezTo>
                  <a:pt x="1613" y="327"/>
                  <a:pt x="1612" y="331"/>
                  <a:pt x="1612" y="334"/>
                </a:cubicBezTo>
                <a:cubicBezTo>
                  <a:pt x="1612" y="339"/>
                  <a:pt x="1613" y="343"/>
                  <a:pt x="1615" y="347"/>
                </a:cubicBezTo>
                <a:cubicBezTo>
                  <a:pt x="1617" y="350"/>
                  <a:pt x="1619" y="354"/>
                  <a:pt x="1625" y="354"/>
                </a:cubicBezTo>
                <a:cubicBezTo>
                  <a:pt x="1627" y="354"/>
                  <a:pt x="1630" y="354"/>
                  <a:pt x="1633" y="355"/>
                </a:cubicBezTo>
                <a:cubicBezTo>
                  <a:pt x="1632" y="356"/>
                  <a:pt x="1630" y="358"/>
                  <a:pt x="1629" y="360"/>
                </a:cubicBezTo>
                <a:cubicBezTo>
                  <a:pt x="1627" y="364"/>
                  <a:pt x="1624" y="367"/>
                  <a:pt x="1624" y="373"/>
                </a:cubicBezTo>
                <a:cubicBezTo>
                  <a:pt x="1624" y="373"/>
                  <a:pt x="1624" y="373"/>
                  <a:pt x="1624" y="374"/>
                </a:cubicBezTo>
                <a:cubicBezTo>
                  <a:pt x="1625" y="383"/>
                  <a:pt x="1634" y="403"/>
                  <a:pt x="1637" y="409"/>
                </a:cubicBezTo>
                <a:cubicBezTo>
                  <a:pt x="1641" y="414"/>
                  <a:pt x="1646" y="416"/>
                  <a:pt x="1651" y="418"/>
                </a:cubicBezTo>
                <a:cubicBezTo>
                  <a:pt x="1651" y="418"/>
                  <a:pt x="1652" y="419"/>
                  <a:pt x="1652" y="419"/>
                </a:cubicBezTo>
                <a:cubicBezTo>
                  <a:pt x="1652" y="420"/>
                  <a:pt x="1651" y="421"/>
                  <a:pt x="1651" y="423"/>
                </a:cubicBezTo>
                <a:cubicBezTo>
                  <a:pt x="1651" y="424"/>
                  <a:pt x="1652" y="426"/>
                  <a:pt x="1653" y="427"/>
                </a:cubicBezTo>
                <a:cubicBezTo>
                  <a:pt x="1654" y="430"/>
                  <a:pt x="1657" y="436"/>
                  <a:pt x="1659" y="441"/>
                </a:cubicBezTo>
                <a:cubicBezTo>
                  <a:pt x="1663" y="447"/>
                  <a:pt x="1666" y="453"/>
                  <a:pt x="1672" y="456"/>
                </a:cubicBezTo>
                <a:cubicBezTo>
                  <a:pt x="1675" y="457"/>
                  <a:pt x="1682" y="462"/>
                  <a:pt x="1689" y="467"/>
                </a:cubicBezTo>
                <a:cubicBezTo>
                  <a:pt x="1695" y="472"/>
                  <a:pt x="1701" y="479"/>
                  <a:pt x="1701" y="480"/>
                </a:cubicBezTo>
                <a:cubicBezTo>
                  <a:pt x="1703" y="484"/>
                  <a:pt x="1708" y="486"/>
                  <a:pt x="1711" y="486"/>
                </a:cubicBezTo>
                <a:cubicBezTo>
                  <a:pt x="1716" y="486"/>
                  <a:pt x="1720" y="483"/>
                  <a:pt x="1724" y="481"/>
                </a:cubicBezTo>
                <a:cubicBezTo>
                  <a:pt x="1726" y="481"/>
                  <a:pt x="1727" y="480"/>
                  <a:pt x="1727" y="480"/>
                </a:cubicBezTo>
                <a:cubicBezTo>
                  <a:pt x="1728" y="482"/>
                  <a:pt x="1729" y="484"/>
                  <a:pt x="1729" y="486"/>
                </a:cubicBezTo>
                <a:cubicBezTo>
                  <a:pt x="1731" y="490"/>
                  <a:pt x="1734" y="496"/>
                  <a:pt x="1742" y="497"/>
                </a:cubicBezTo>
                <a:cubicBezTo>
                  <a:pt x="1744" y="497"/>
                  <a:pt x="1745" y="496"/>
                  <a:pt x="1746" y="496"/>
                </a:cubicBezTo>
                <a:cubicBezTo>
                  <a:pt x="1746" y="496"/>
                  <a:pt x="1746" y="496"/>
                  <a:pt x="1747" y="496"/>
                </a:cubicBezTo>
                <a:cubicBezTo>
                  <a:pt x="1756" y="496"/>
                  <a:pt x="1762" y="492"/>
                  <a:pt x="1769" y="485"/>
                </a:cubicBezTo>
                <a:cubicBezTo>
                  <a:pt x="1780" y="474"/>
                  <a:pt x="1777" y="461"/>
                  <a:pt x="1778" y="454"/>
                </a:cubicBezTo>
                <a:cubicBezTo>
                  <a:pt x="1778" y="451"/>
                  <a:pt x="1778" y="449"/>
                  <a:pt x="1778" y="447"/>
                </a:cubicBezTo>
                <a:cubicBezTo>
                  <a:pt x="1778" y="447"/>
                  <a:pt x="1779" y="448"/>
                  <a:pt x="1779" y="448"/>
                </a:cubicBezTo>
                <a:cubicBezTo>
                  <a:pt x="1781" y="448"/>
                  <a:pt x="1783" y="449"/>
                  <a:pt x="1786" y="449"/>
                </a:cubicBezTo>
                <a:cubicBezTo>
                  <a:pt x="1790" y="449"/>
                  <a:pt x="1794" y="447"/>
                  <a:pt x="1797" y="444"/>
                </a:cubicBezTo>
                <a:cubicBezTo>
                  <a:pt x="1799" y="441"/>
                  <a:pt x="1800" y="437"/>
                  <a:pt x="1800" y="433"/>
                </a:cubicBezTo>
                <a:cubicBezTo>
                  <a:pt x="1800" y="432"/>
                  <a:pt x="1800" y="431"/>
                  <a:pt x="1800" y="431"/>
                </a:cubicBezTo>
                <a:cubicBezTo>
                  <a:pt x="1799" y="424"/>
                  <a:pt x="1797" y="419"/>
                  <a:pt x="1797" y="416"/>
                </a:cubicBezTo>
                <a:cubicBezTo>
                  <a:pt x="1797" y="415"/>
                  <a:pt x="1798" y="415"/>
                  <a:pt x="1798" y="415"/>
                </a:cubicBezTo>
                <a:cubicBezTo>
                  <a:pt x="1798" y="415"/>
                  <a:pt x="1799" y="414"/>
                  <a:pt x="1801" y="414"/>
                </a:cubicBezTo>
                <a:cubicBezTo>
                  <a:pt x="1810" y="412"/>
                  <a:pt x="1817" y="408"/>
                  <a:pt x="1822" y="405"/>
                </a:cubicBezTo>
                <a:cubicBezTo>
                  <a:pt x="1827" y="401"/>
                  <a:pt x="1830" y="399"/>
                  <a:pt x="1832" y="399"/>
                </a:cubicBezTo>
                <a:cubicBezTo>
                  <a:pt x="1837" y="399"/>
                  <a:pt x="1850" y="401"/>
                  <a:pt x="1860" y="401"/>
                </a:cubicBezTo>
                <a:cubicBezTo>
                  <a:pt x="1863" y="401"/>
                  <a:pt x="1865" y="401"/>
                  <a:pt x="1867" y="401"/>
                </a:cubicBezTo>
                <a:cubicBezTo>
                  <a:pt x="1869" y="400"/>
                  <a:pt x="1872" y="400"/>
                  <a:pt x="1874" y="397"/>
                </a:cubicBezTo>
                <a:cubicBezTo>
                  <a:pt x="1876" y="394"/>
                  <a:pt x="1879" y="388"/>
                  <a:pt x="1883" y="382"/>
                </a:cubicBezTo>
                <a:cubicBezTo>
                  <a:pt x="1885" y="379"/>
                  <a:pt x="1888" y="377"/>
                  <a:pt x="1889" y="375"/>
                </a:cubicBezTo>
                <a:cubicBezTo>
                  <a:pt x="1890" y="374"/>
                  <a:pt x="1891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900" y="372"/>
                  <a:pt x="1920" y="370"/>
                  <a:pt x="1939" y="366"/>
                </a:cubicBezTo>
                <a:cubicBezTo>
                  <a:pt x="1949" y="364"/>
                  <a:pt x="1958" y="359"/>
                  <a:pt x="1966" y="355"/>
                </a:cubicBezTo>
                <a:cubicBezTo>
                  <a:pt x="1973" y="352"/>
                  <a:pt x="1980" y="348"/>
                  <a:pt x="1981" y="348"/>
                </a:cubicBezTo>
                <a:cubicBezTo>
                  <a:pt x="1981" y="348"/>
                  <a:pt x="1981" y="348"/>
                  <a:pt x="1981" y="348"/>
                </a:cubicBezTo>
                <a:cubicBezTo>
                  <a:pt x="1984" y="348"/>
                  <a:pt x="1986" y="349"/>
                  <a:pt x="1989" y="349"/>
                </a:cubicBezTo>
                <a:cubicBezTo>
                  <a:pt x="1992" y="349"/>
                  <a:pt x="1995" y="350"/>
                  <a:pt x="1998" y="349"/>
                </a:cubicBezTo>
                <a:cubicBezTo>
                  <a:pt x="1999" y="349"/>
                  <a:pt x="2001" y="348"/>
                  <a:pt x="2002" y="347"/>
                </a:cubicBezTo>
                <a:cubicBezTo>
                  <a:pt x="2004" y="346"/>
                  <a:pt x="2006" y="344"/>
                  <a:pt x="2006" y="341"/>
                </a:cubicBezTo>
                <a:cubicBezTo>
                  <a:pt x="2006" y="339"/>
                  <a:pt x="2005" y="337"/>
                  <a:pt x="2004" y="336"/>
                </a:cubicBezTo>
                <a:cubicBezTo>
                  <a:pt x="2006" y="336"/>
                  <a:pt x="2007" y="337"/>
                  <a:pt x="2008" y="337"/>
                </a:cubicBezTo>
                <a:cubicBezTo>
                  <a:pt x="2010" y="337"/>
                  <a:pt x="2012" y="336"/>
                  <a:pt x="2014" y="336"/>
                </a:cubicBezTo>
                <a:cubicBezTo>
                  <a:pt x="2026" y="333"/>
                  <a:pt x="2030" y="323"/>
                  <a:pt x="2030" y="316"/>
                </a:cubicBezTo>
                <a:cubicBezTo>
                  <a:pt x="2030" y="312"/>
                  <a:pt x="2029" y="308"/>
                  <a:pt x="2027" y="305"/>
                </a:cubicBezTo>
                <a:cubicBezTo>
                  <a:pt x="2025" y="304"/>
                  <a:pt x="2023" y="294"/>
                  <a:pt x="2020" y="287"/>
                </a:cubicBezTo>
                <a:cubicBezTo>
                  <a:pt x="2019" y="286"/>
                  <a:pt x="2019" y="285"/>
                  <a:pt x="2019" y="284"/>
                </a:cubicBezTo>
                <a:cubicBezTo>
                  <a:pt x="2019" y="283"/>
                  <a:pt x="2019" y="282"/>
                  <a:pt x="2020" y="281"/>
                </a:cubicBezTo>
                <a:cubicBezTo>
                  <a:pt x="2021" y="281"/>
                  <a:pt x="2023" y="279"/>
                  <a:pt x="2028" y="279"/>
                </a:cubicBezTo>
                <a:close/>
                <a:moveTo>
                  <a:pt x="1640" y="304"/>
                </a:moveTo>
                <a:cubicBezTo>
                  <a:pt x="1639" y="304"/>
                  <a:pt x="1637" y="304"/>
                  <a:pt x="1636" y="304"/>
                </a:cubicBezTo>
                <a:cubicBezTo>
                  <a:pt x="1634" y="304"/>
                  <a:pt x="1633" y="304"/>
                  <a:pt x="1631" y="304"/>
                </a:cubicBezTo>
                <a:cubicBezTo>
                  <a:pt x="1632" y="303"/>
                  <a:pt x="1633" y="302"/>
                  <a:pt x="1633" y="302"/>
                </a:cubicBezTo>
                <a:cubicBezTo>
                  <a:pt x="1633" y="301"/>
                  <a:pt x="1634" y="301"/>
                  <a:pt x="1635" y="301"/>
                </a:cubicBezTo>
                <a:cubicBezTo>
                  <a:pt x="1637" y="301"/>
                  <a:pt x="1642" y="304"/>
                  <a:pt x="1645" y="304"/>
                </a:cubicBezTo>
                <a:cubicBezTo>
                  <a:pt x="1642" y="304"/>
                  <a:pt x="1641" y="304"/>
                  <a:pt x="1640" y="304"/>
                </a:cubicBezTo>
                <a:close/>
                <a:moveTo>
                  <a:pt x="1660" y="330"/>
                </a:moveTo>
                <a:cubicBezTo>
                  <a:pt x="1660" y="332"/>
                  <a:pt x="1660" y="335"/>
                  <a:pt x="1659" y="336"/>
                </a:cubicBezTo>
                <a:cubicBezTo>
                  <a:pt x="1658" y="336"/>
                  <a:pt x="1657" y="336"/>
                  <a:pt x="1657" y="335"/>
                </a:cubicBezTo>
                <a:cubicBezTo>
                  <a:pt x="1658" y="333"/>
                  <a:pt x="1658" y="329"/>
                  <a:pt x="1659" y="326"/>
                </a:cubicBezTo>
                <a:cubicBezTo>
                  <a:pt x="1660" y="328"/>
                  <a:pt x="1660" y="330"/>
                  <a:pt x="1660" y="330"/>
                </a:cubicBezTo>
                <a:close/>
                <a:moveTo>
                  <a:pt x="1978" y="315"/>
                </a:moveTo>
                <a:cubicBezTo>
                  <a:pt x="1978" y="313"/>
                  <a:pt x="1979" y="310"/>
                  <a:pt x="1980" y="308"/>
                </a:cubicBezTo>
                <a:cubicBezTo>
                  <a:pt x="1980" y="308"/>
                  <a:pt x="1980" y="307"/>
                  <a:pt x="1981" y="307"/>
                </a:cubicBezTo>
                <a:cubicBezTo>
                  <a:pt x="1982" y="307"/>
                  <a:pt x="1984" y="308"/>
                  <a:pt x="1985" y="308"/>
                </a:cubicBezTo>
                <a:cubicBezTo>
                  <a:pt x="1988" y="310"/>
                  <a:pt x="1989" y="311"/>
                  <a:pt x="1989" y="312"/>
                </a:cubicBezTo>
                <a:cubicBezTo>
                  <a:pt x="1989" y="312"/>
                  <a:pt x="1989" y="312"/>
                  <a:pt x="1989" y="312"/>
                </a:cubicBezTo>
                <a:cubicBezTo>
                  <a:pt x="1989" y="313"/>
                  <a:pt x="1989" y="313"/>
                  <a:pt x="1989" y="314"/>
                </a:cubicBezTo>
                <a:cubicBezTo>
                  <a:pt x="1989" y="316"/>
                  <a:pt x="1989" y="317"/>
                  <a:pt x="1989" y="319"/>
                </a:cubicBezTo>
                <a:cubicBezTo>
                  <a:pt x="1986" y="317"/>
                  <a:pt x="1982" y="315"/>
                  <a:pt x="1978" y="315"/>
                </a:cubicBezTo>
                <a:close/>
                <a:moveTo>
                  <a:pt x="2143" y="431"/>
                </a:moveTo>
                <a:cubicBezTo>
                  <a:pt x="2144" y="430"/>
                  <a:pt x="2149" y="428"/>
                  <a:pt x="2153" y="428"/>
                </a:cubicBezTo>
                <a:cubicBezTo>
                  <a:pt x="2158" y="427"/>
                  <a:pt x="2162" y="427"/>
                  <a:pt x="2162" y="427"/>
                </a:cubicBezTo>
                <a:cubicBezTo>
                  <a:pt x="2164" y="427"/>
                  <a:pt x="2165" y="426"/>
                  <a:pt x="2166" y="425"/>
                </a:cubicBezTo>
                <a:cubicBezTo>
                  <a:pt x="2166" y="425"/>
                  <a:pt x="2169" y="422"/>
                  <a:pt x="2173" y="418"/>
                </a:cubicBezTo>
                <a:cubicBezTo>
                  <a:pt x="2176" y="414"/>
                  <a:pt x="2180" y="409"/>
                  <a:pt x="2180" y="402"/>
                </a:cubicBezTo>
                <a:cubicBezTo>
                  <a:pt x="2180" y="400"/>
                  <a:pt x="2179" y="397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69" y="386"/>
                  <a:pt x="2154" y="382"/>
                  <a:pt x="2146" y="381"/>
                </a:cubicBezTo>
                <a:cubicBezTo>
                  <a:pt x="2145" y="381"/>
                  <a:pt x="2144" y="381"/>
                  <a:pt x="2144" y="381"/>
                </a:cubicBezTo>
                <a:cubicBezTo>
                  <a:pt x="2133" y="381"/>
                  <a:pt x="2129" y="387"/>
                  <a:pt x="2116" y="387"/>
                </a:cubicBezTo>
                <a:cubicBezTo>
                  <a:pt x="2104" y="387"/>
                  <a:pt x="2096" y="391"/>
                  <a:pt x="2092" y="391"/>
                </a:cubicBezTo>
                <a:cubicBezTo>
                  <a:pt x="2090" y="390"/>
                  <a:pt x="2090" y="390"/>
                  <a:pt x="2089" y="389"/>
                </a:cubicBezTo>
                <a:cubicBezTo>
                  <a:pt x="2082" y="381"/>
                  <a:pt x="2068" y="379"/>
                  <a:pt x="2058" y="379"/>
                </a:cubicBezTo>
                <a:cubicBezTo>
                  <a:pt x="2056" y="379"/>
                  <a:pt x="2054" y="379"/>
                  <a:pt x="2052" y="379"/>
                </a:cubicBezTo>
                <a:cubicBezTo>
                  <a:pt x="2050" y="380"/>
                  <a:pt x="2047" y="381"/>
                  <a:pt x="2045" y="384"/>
                </a:cubicBezTo>
                <a:cubicBezTo>
                  <a:pt x="2045" y="385"/>
                  <a:pt x="2044" y="386"/>
                  <a:pt x="2042" y="388"/>
                </a:cubicBezTo>
                <a:cubicBezTo>
                  <a:pt x="2041" y="390"/>
                  <a:pt x="2039" y="393"/>
                  <a:pt x="2039" y="397"/>
                </a:cubicBezTo>
                <a:cubicBezTo>
                  <a:pt x="2039" y="401"/>
                  <a:pt x="2040" y="404"/>
                  <a:pt x="2042" y="409"/>
                </a:cubicBezTo>
                <a:cubicBezTo>
                  <a:pt x="2045" y="415"/>
                  <a:pt x="2048" y="420"/>
                  <a:pt x="2051" y="424"/>
                </a:cubicBezTo>
                <a:cubicBezTo>
                  <a:pt x="2054" y="428"/>
                  <a:pt x="2057" y="431"/>
                  <a:pt x="2063" y="432"/>
                </a:cubicBezTo>
                <a:cubicBezTo>
                  <a:pt x="2063" y="432"/>
                  <a:pt x="2064" y="432"/>
                  <a:pt x="2065" y="431"/>
                </a:cubicBezTo>
                <a:cubicBezTo>
                  <a:pt x="2066" y="431"/>
                  <a:pt x="2069" y="431"/>
                  <a:pt x="2072" y="431"/>
                </a:cubicBezTo>
                <a:cubicBezTo>
                  <a:pt x="2076" y="431"/>
                  <a:pt x="2079" y="431"/>
                  <a:pt x="2082" y="432"/>
                </a:cubicBezTo>
                <a:cubicBezTo>
                  <a:pt x="2083" y="432"/>
                  <a:pt x="2084" y="433"/>
                  <a:pt x="2084" y="433"/>
                </a:cubicBezTo>
                <a:cubicBezTo>
                  <a:pt x="2084" y="433"/>
                  <a:pt x="2084" y="433"/>
                  <a:pt x="2084" y="433"/>
                </a:cubicBezTo>
                <a:cubicBezTo>
                  <a:pt x="2086" y="440"/>
                  <a:pt x="2092" y="448"/>
                  <a:pt x="2103" y="448"/>
                </a:cubicBezTo>
                <a:cubicBezTo>
                  <a:pt x="2103" y="448"/>
                  <a:pt x="2103" y="448"/>
                  <a:pt x="2103" y="448"/>
                </a:cubicBezTo>
                <a:cubicBezTo>
                  <a:pt x="2106" y="448"/>
                  <a:pt x="2110" y="447"/>
                  <a:pt x="2113" y="446"/>
                </a:cubicBezTo>
                <a:cubicBezTo>
                  <a:pt x="2120" y="444"/>
                  <a:pt x="2126" y="442"/>
                  <a:pt x="2131" y="440"/>
                </a:cubicBezTo>
                <a:cubicBezTo>
                  <a:pt x="2136" y="438"/>
                  <a:pt x="2140" y="435"/>
                  <a:pt x="2143" y="431"/>
                </a:cubicBezTo>
                <a:close/>
                <a:moveTo>
                  <a:pt x="3068" y="1676"/>
                </a:moveTo>
                <a:cubicBezTo>
                  <a:pt x="3066" y="1668"/>
                  <a:pt x="3063" y="1661"/>
                  <a:pt x="3055" y="1658"/>
                </a:cubicBezTo>
                <a:cubicBezTo>
                  <a:pt x="3053" y="1664"/>
                  <a:pt x="3053" y="1664"/>
                  <a:pt x="3053" y="1664"/>
                </a:cubicBezTo>
                <a:cubicBezTo>
                  <a:pt x="3055" y="1658"/>
                  <a:pt x="3055" y="1658"/>
                  <a:pt x="3055" y="1658"/>
                </a:cubicBezTo>
                <a:cubicBezTo>
                  <a:pt x="3053" y="1657"/>
                  <a:pt x="3051" y="1657"/>
                  <a:pt x="3049" y="1657"/>
                </a:cubicBezTo>
                <a:cubicBezTo>
                  <a:pt x="3045" y="1657"/>
                  <a:pt x="3041" y="1659"/>
                  <a:pt x="3038" y="1662"/>
                </a:cubicBezTo>
                <a:cubicBezTo>
                  <a:pt x="3031" y="1671"/>
                  <a:pt x="3028" y="1684"/>
                  <a:pt x="3021" y="1693"/>
                </a:cubicBezTo>
                <a:cubicBezTo>
                  <a:pt x="3015" y="1700"/>
                  <a:pt x="3010" y="1707"/>
                  <a:pt x="3005" y="1711"/>
                </a:cubicBezTo>
                <a:cubicBezTo>
                  <a:pt x="3003" y="1713"/>
                  <a:pt x="3001" y="1715"/>
                  <a:pt x="2999" y="1716"/>
                </a:cubicBezTo>
                <a:cubicBezTo>
                  <a:pt x="2998" y="1717"/>
                  <a:pt x="2998" y="1717"/>
                  <a:pt x="2997" y="1717"/>
                </a:cubicBezTo>
                <a:cubicBezTo>
                  <a:pt x="2997" y="1717"/>
                  <a:pt x="2996" y="1717"/>
                  <a:pt x="2996" y="1717"/>
                </a:cubicBezTo>
                <a:cubicBezTo>
                  <a:pt x="2991" y="1717"/>
                  <a:pt x="2985" y="1720"/>
                  <a:pt x="2979" y="1724"/>
                </a:cubicBezTo>
                <a:cubicBezTo>
                  <a:pt x="2973" y="1728"/>
                  <a:pt x="2967" y="1736"/>
                  <a:pt x="2967" y="1746"/>
                </a:cubicBezTo>
                <a:cubicBezTo>
                  <a:pt x="2967" y="1749"/>
                  <a:pt x="2968" y="1752"/>
                  <a:pt x="2969" y="1756"/>
                </a:cubicBezTo>
                <a:cubicBezTo>
                  <a:pt x="2973" y="1765"/>
                  <a:pt x="2974" y="1773"/>
                  <a:pt x="2974" y="1781"/>
                </a:cubicBezTo>
                <a:cubicBezTo>
                  <a:pt x="2974" y="1790"/>
                  <a:pt x="2972" y="1797"/>
                  <a:pt x="2969" y="1801"/>
                </a:cubicBezTo>
                <a:cubicBezTo>
                  <a:pt x="2966" y="1804"/>
                  <a:pt x="2965" y="1809"/>
                  <a:pt x="2965" y="1813"/>
                </a:cubicBezTo>
                <a:cubicBezTo>
                  <a:pt x="2966" y="1826"/>
                  <a:pt x="2973" y="1843"/>
                  <a:pt x="2973" y="1853"/>
                </a:cubicBezTo>
                <a:cubicBezTo>
                  <a:pt x="2973" y="1854"/>
                  <a:pt x="2972" y="1855"/>
                  <a:pt x="2972" y="1856"/>
                </a:cubicBezTo>
                <a:cubicBezTo>
                  <a:pt x="2972" y="1858"/>
                  <a:pt x="2972" y="1861"/>
                  <a:pt x="2972" y="1863"/>
                </a:cubicBezTo>
                <a:cubicBezTo>
                  <a:pt x="2972" y="1870"/>
                  <a:pt x="2974" y="1876"/>
                  <a:pt x="2978" y="1881"/>
                </a:cubicBezTo>
                <a:cubicBezTo>
                  <a:pt x="2983" y="1886"/>
                  <a:pt x="2990" y="1888"/>
                  <a:pt x="2998" y="1888"/>
                </a:cubicBezTo>
                <a:cubicBezTo>
                  <a:pt x="2998" y="1888"/>
                  <a:pt x="2998" y="1888"/>
                  <a:pt x="2998" y="1888"/>
                </a:cubicBezTo>
                <a:cubicBezTo>
                  <a:pt x="3007" y="1888"/>
                  <a:pt x="3014" y="1886"/>
                  <a:pt x="3020" y="1881"/>
                </a:cubicBezTo>
                <a:cubicBezTo>
                  <a:pt x="3025" y="1875"/>
                  <a:pt x="3029" y="1868"/>
                  <a:pt x="3032" y="1859"/>
                </a:cubicBezTo>
                <a:cubicBezTo>
                  <a:pt x="3040" y="1840"/>
                  <a:pt x="3041" y="1822"/>
                  <a:pt x="3047" y="1808"/>
                </a:cubicBezTo>
                <a:cubicBezTo>
                  <a:pt x="3051" y="1800"/>
                  <a:pt x="3054" y="1788"/>
                  <a:pt x="3057" y="1777"/>
                </a:cubicBezTo>
                <a:cubicBezTo>
                  <a:pt x="3060" y="1766"/>
                  <a:pt x="3062" y="1756"/>
                  <a:pt x="3063" y="1753"/>
                </a:cubicBezTo>
                <a:cubicBezTo>
                  <a:pt x="3067" y="1744"/>
                  <a:pt x="3073" y="1722"/>
                  <a:pt x="3073" y="1705"/>
                </a:cubicBezTo>
                <a:cubicBezTo>
                  <a:pt x="3073" y="1703"/>
                  <a:pt x="3073" y="1702"/>
                  <a:pt x="3073" y="1701"/>
                </a:cubicBezTo>
                <a:cubicBezTo>
                  <a:pt x="3072" y="1693"/>
                  <a:pt x="3071" y="1684"/>
                  <a:pt x="3068" y="1676"/>
                </a:cubicBezTo>
                <a:close/>
                <a:moveTo>
                  <a:pt x="4007" y="1637"/>
                </a:moveTo>
                <a:cubicBezTo>
                  <a:pt x="4007" y="1637"/>
                  <a:pt x="4008" y="1637"/>
                  <a:pt x="4008" y="1637"/>
                </a:cubicBezTo>
                <a:cubicBezTo>
                  <a:pt x="4014" y="1637"/>
                  <a:pt x="4021" y="1631"/>
                  <a:pt x="4021" y="1623"/>
                </a:cubicBezTo>
                <a:cubicBezTo>
                  <a:pt x="4021" y="1622"/>
                  <a:pt x="4021" y="1622"/>
                  <a:pt x="4021" y="1621"/>
                </a:cubicBezTo>
                <a:cubicBezTo>
                  <a:pt x="4021" y="1616"/>
                  <a:pt x="4019" y="1612"/>
                  <a:pt x="4016" y="1609"/>
                </a:cubicBezTo>
                <a:cubicBezTo>
                  <a:pt x="4013" y="1606"/>
                  <a:pt x="4010" y="1605"/>
                  <a:pt x="4006" y="1605"/>
                </a:cubicBezTo>
                <a:cubicBezTo>
                  <a:pt x="3999" y="1605"/>
                  <a:pt x="3992" y="1609"/>
                  <a:pt x="3991" y="1617"/>
                </a:cubicBezTo>
                <a:cubicBezTo>
                  <a:pt x="3991" y="1617"/>
                  <a:pt x="3991" y="1617"/>
                  <a:pt x="3991" y="1617"/>
                </a:cubicBezTo>
                <a:cubicBezTo>
                  <a:pt x="3991" y="1618"/>
                  <a:pt x="3990" y="1619"/>
                  <a:pt x="3990" y="1621"/>
                </a:cubicBezTo>
                <a:cubicBezTo>
                  <a:pt x="3991" y="1631"/>
                  <a:pt x="3999" y="1637"/>
                  <a:pt x="4007" y="1637"/>
                </a:cubicBezTo>
                <a:close/>
                <a:moveTo>
                  <a:pt x="1369" y="1135"/>
                </a:moveTo>
                <a:cubicBezTo>
                  <a:pt x="1368" y="1129"/>
                  <a:pt x="1365" y="1124"/>
                  <a:pt x="1360" y="1119"/>
                </a:cubicBezTo>
                <a:cubicBezTo>
                  <a:pt x="1355" y="1115"/>
                  <a:pt x="1350" y="1111"/>
                  <a:pt x="1343" y="1111"/>
                </a:cubicBezTo>
                <a:cubicBezTo>
                  <a:pt x="1342" y="1111"/>
                  <a:pt x="1342" y="1112"/>
                  <a:pt x="1341" y="1112"/>
                </a:cubicBezTo>
                <a:cubicBezTo>
                  <a:pt x="1341" y="1112"/>
                  <a:pt x="1341" y="1112"/>
                  <a:pt x="1341" y="1112"/>
                </a:cubicBezTo>
                <a:cubicBezTo>
                  <a:pt x="1339" y="1112"/>
                  <a:pt x="1333" y="1109"/>
                  <a:pt x="1327" y="1106"/>
                </a:cubicBezTo>
                <a:cubicBezTo>
                  <a:pt x="1322" y="1102"/>
                  <a:pt x="1316" y="1097"/>
                  <a:pt x="1312" y="1093"/>
                </a:cubicBezTo>
                <a:cubicBezTo>
                  <a:pt x="1300" y="1081"/>
                  <a:pt x="1281" y="1082"/>
                  <a:pt x="1274" y="1082"/>
                </a:cubicBezTo>
                <a:cubicBezTo>
                  <a:pt x="1269" y="1082"/>
                  <a:pt x="1261" y="1084"/>
                  <a:pt x="1253" y="1087"/>
                </a:cubicBezTo>
                <a:cubicBezTo>
                  <a:pt x="1245" y="1089"/>
                  <a:pt x="1238" y="1092"/>
                  <a:pt x="1238" y="1092"/>
                </a:cubicBezTo>
                <a:cubicBezTo>
                  <a:pt x="1235" y="1092"/>
                  <a:pt x="1234" y="1094"/>
                  <a:pt x="1234" y="1097"/>
                </a:cubicBezTo>
                <a:cubicBezTo>
                  <a:pt x="1233" y="1098"/>
                  <a:pt x="1233" y="1098"/>
                  <a:pt x="1233" y="1099"/>
                </a:cubicBezTo>
                <a:cubicBezTo>
                  <a:pt x="1233" y="1104"/>
                  <a:pt x="1235" y="1108"/>
                  <a:pt x="1239" y="1111"/>
                </a:cubicBezTo>
                <a:cubicBezTo>
                  <a:pt x="1243" y="1113"/>
                  <a:pt x="1246" y="1113"/>
                  <a:pt x="1250" y="1114"/>
                </a:cubicBezTo>
                <a:cubicBezTo>
                  <a:pt x="1254" y="1114"/>
                  <a:pt x="1259" y="1113"/>
                  <a:pt x="1264" y="1113"/>
                </a:cubicBezTo>
                <a:cubicBezTo>
                  <a:pt x="1270" y="1113"/>
                  <a:pt x="1278" y="1112"/>
                  <a:pt x="1286" y="1112"/>
                </a:cubicBezTo>
                <a:cubicBezTo>
                  <a:pt x="1290" y="1112"/>
                  <a:pt x="1294" y="1113"/>
                  <a:pt x="1298" y="1113"/>
                </a:cubicBezTo>
                <a:cubicBezTo>
                  <a:pt x="1299" y="1113"/>
                  <a:pt x="1300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5" y="1120"/>
                  <a:pt x="1312" y="1124"/>
                  <a:pt x="1318" y="1128"/>
                </a:cubicBezTo>
                <a:cubicBezTo>
                  <a:pt x="1325" y="1133"/>
                  <a:pt x="1331" y="1137"/>
                  <a:pt x="1333" y="1139"/>
                </a:cubicBezTo>
                <a:cubicBezTo>
                  <a:pt x="1339" y="1144"/>
                  <a:pt x="1347" y="1145"/>
                  <a:pt x="1354" y="1145"/>
                </a:cubicBezTo>
                <a:cubicBezTo>
                  <a:pt x="1357" y="1145"/>
                  <a:pt x="1359" y="1145"/>
                  <a:pt x="1362" y="1144"/>
                </a:cubicBezTo>
                <a:cubicBezTo>
                  <a:pt x="1364" y="1143"/>
                  <a:pt x="1368" y="1141"/>
                  <a:pt x="1369" y="1137"/>
                </a:cubicBezTo>
                <a:cubicBezTo>
                  <a:pt x="1363" y="1136"/>
                  <a:pt x="1363" y="1136"/>
                  <a:pt x="1363" y="1136"/>
                </a:cubicBezTo>
                <a:cubicBezTo>
                  <a:pt x="1369" y="1137"/>
                  <a:pt x="1369" y="1137"/>
                  <a:pt x="1369" y="1137"/>
                </a:cubicBezTo>
                <a:cubicBezTo>
                  <a:pt x="1369" y="1136"/>
                  <a:pt x="1369" y="1136"/>
                  <a:pt x="1369" y="1135"/>
                </a:cubicBezTo>
                <a:close/>
                <a:moveTo>
                  <a:pt x="1328" y="1167"/>
                </a:moveTo>
                <a:cubicBezTo>
                  <a:pt x="1328" y="1167"/>
                  <a:pt x="1328" y="1167"/>
                  <a:pt x="1328" y="1167"/>
                </a:cubicBezTo>
                <a:cubicBezTo>
                  <a:pt x="1319" y="1169"/>
                  <a:pt x="1317" y="1178"/>
                  <a:pt x="1317" y="1184"/>
                </a:cubicBezTo>
                <a:cubicBezTo>
                  <a:pt x="1317" y="1188"/>
                  <a:pt x="1318" y="1191"/>
                  <a:pt x="1320" y="1194"/>
                </a:cubicBezTo>
                <a:cubicBezTo>
                  <a:pt x="1322" y="1198"/>
                  <a:pt x="1326" y="1200"/>
                  <a:pt x="1331" y="1200"/>
                </a:cubicBezTo>
                <a:cubicBezTo>
                  <a:pt x="1331" y="1200"/>
                  <a:pt x="1331" y="1200"/>
                  <a:pt x="1331" y="1200"/>
                </a:cubicBezTo>
                <a:cubicBezTo>
                  <a:pt x="1333" y="1200"/>
                  <a:pt x="1334" y="1201"/>
                  <a:pt x="1336" y="1200"/>
                </a:cubicBezTo>
                <a:cubicBezTo>
                  <a:pt x="1343" y="1198"/>
                  <a:pt x="1347" y="1191"/>
                  <a:pt x="1347" y="1185"/>
                </a:cubicBezTo>
                <a:cubicBezTo>
                  <a:pt x="1347" y="1176"/>
                  <a:pt x="1342" y="1167"/>
                  <a:pt x="1331" y="1166"/>
                </a:cubicBezTo>
                <a:cubicBezTo>
                  <a:pt x="1330" y="1166"/>
                  <a:pt x="1329" y="1167"/>
                  <a:pt x="1328" y="1167"/>
                </a:cubicBezTo>
                <a:close/>
                <a:moveTo>
                  <a:pt x="1341" y="1066"/>
                </a:moveTo>
                <a:cubicBezTo>
                  <a:pt x="1341" y="1058"/>
                  <a:pt x="1334" y="1053"/>
                  <a:pt x="1325" y="1053"/>
                </a:cubicBezTo>
                <a:cubicBezTo>
                  <a:pt x="1324" y="1053"/>
                  <a:pt x="1324" y="1053"/>
                  <a:pt x="1323" y="1053"/>
                </a:cubicBezTo>
                <a:cubicBezTo>
                  <a:pt x="1316" y="1053"/>
                  <a:pt x="1311" y="1060"/>
                  <a:pt x="1311" y="1065"/>
                </a:cubicBezTo>
                <a:cubicBezTo>
                  <a:pt x="1311" y="1069"/>
                  <a:pt x="1312" y="1073"/>
                  <a:pt x="1315" y="1075"/>
                </a:cubicBezTo>
                <a:cubicBezTo>
                  <a:pt x="1317" y="1078"/>
                  <a:pt x="1321" y="1080"/>
                  <a:pt x="1325" y="1080"/>
                </a:cubicBezTo>
                <a:cubicBezTo>
                  <a:pt x="1325" y="1080"/>
                  <a:pt x="1325" y="1080"/>
                  <a:pt x="1325" y="1080"/>
                </a:cubicBezTo>
                <a:cubicBezTo>
                  <a:pt x="1327" y="1080"/>
                  <a:pt x="1328" y="1079"/>
                  <a:pt x="1329" y="1079"/>
                </a:cubicBezTo>
                <a:cubicBezTo>
                  <a:pt x="1328" y="1073"/>
                  <a:pt x="1328" y="1073"/>
                  <a:pt x="1328" y="1073"/>
                </a:cubicBezTo>
                <a:cubicBezTo>
                  <a:pt x="1329" y="1079"/>
                  <a:pt x="1329" y="1079"/>
                  <a:pt x="1329" y="1079"/>
                </a:cubicBezTo>
                <a:cubicBezTo>
                  <a:pt x="1336" y="1077"/>
                  <a:pt x="1341" y="1072"/>
                  <a:pt x="1341" y="1066"/>
                </a:cubicBezTo>
                <a:close/>
                <a:moveTo>
                  <a:pt x="3938" y="1610"/>
                </a:moveTo>
                <a:cubicBezTo>
                  <a:pt x="3940" y="1609"/>
                  <a:pt x="3943" y="1606"/>
                  <a:pt x="3943" y="1603"/>
                </a:cubicBezTo>
                <a:cubicBezTo>
                  <a:pt x="3937" y="1602"/>
                  <a:pt x="3937" y="1602"/>
                  <a:pt x="3937" y="1602"/>
                </a:cubicBezTo>
                <a:cubicBezTo>
                  <a:pt x="3943" y="1603"/>
                  <a:pt x="3943" y="1603"/>
                  <a:pt x="3943" y="1603"/>
                </a:cubicBezTo>
                <a:cubicBezTo>
                  <a:pt x="3943" y="1602"/>
                  <a:pt x="3943" y="1601"/>
                  <a:pt x="3943" y="1601"/>
                </a:cubicBezTo>
                <a:cubicBezTo>
                  <a:pt x="3943" y="1594"/>
                  <a:pt x="3938" y="1588"/>
                  <a:pt x="3934" y="1584"/>
                </a:cubicBezTo>
                <a:cubicBezTo>
                  <a:pt x="3929" y="1579"/>
                  <a:pt x="3925" y="1575"/>
                  <a:pt x="3919" y="1575"/>
                </a:cubicBezTo>
                <a:cubicBezTo>
                  <a:pt x="3917" y="1575"/>
                  <a:pt x="3908" y="1573"/>
                  <a:pt x="3901" y="1571"/>
                </a:cubicBezTo>
                <a:cubicBezTo>
                  <a:pt x="3893" y="1569"/>
                  <a:pt x="3886" y="1567"/>
                  <a:pt x="3886" y="1567"/>
                </a:cubicBezTo>
                <a:cubicBezTo>
                  <a:pt x="3884" y="1567"/>
                  <a:pt x="3883" y="1567"/>
                  <a:pt x="3881" y="1567"/>
                </a:cubicBezTo>
                <a:cubicBezTo>
                  <a:pt x="3878" y="1569"/>
                  <a:pt x="3874" y="1570"/>
                  <a:pt x="3870" y="1573"/>
                </a:cubicBezTo>
                <a:cubicBezTo>
                  <a:pt x="3870" y="1573"/>
                  <a:pt x="3869" y="1572"/>
                  <a:pt x="3869" y="1572"/>
                </a:cubicBezTo>
                <a:cubicBezTo>
                  <a:pt x="3861" y="1567"/>
                  <a:pt x="3852" y="1567"/>
                  <a:pt x="3847" y="1566"/>
                </a:cubicBezTo>
                <a:cubicBezTo>
                  <a:pt x="3844" y="1566"/>
                  <a:pt x="3842" y="1566"/>
                  <a:pt x="3841" y="1566"/>
                </a:cubicBezTo>
                <a:cubicBezTo>
                  <a:pt x="3840" y="1565"/>
                  <a:pt x="3840" y="1565"/>
                  <a:pt x="3839" y="1564"/>
                </a:cubicBezTo>
                <a:cubicBezTo>
                  <a:pt x="3836" y="1557"/>
                  <a:pt x="3831" y="1551"/>
                  <a:pt x="3824" y="1551"/>
                </a:cubicBezTo>
                <a:cubicBezTo>
                  <a:pt x="3823" y="1551"/>
                  <a:pt x="3822" y="1551"/>
                  <a:pt x="3821" y="1552"/>
                </a:cubicBezTo>
                <a:cubicBezTo>
                  <a:pt x="3821" y="1538"/>
                  <a:pt x="3824" y="1522"/>
                  <a:pt x="3828" y="1517"/>
                </a:cubicBezTo>
                <a:cubicBezTo>
                  <a:pt x="3828" y="1517"/>
                  <a:pt x="3828" y="1517"/>
                  <a:pt x="3828" y="1517"/>
                </a:cubicBezTo>
                <a:cubicBezTo>
                  <a:pt x="3831" y="1513"/>
                  <a:pt x="3832" y="1508"/>
                  <a:pt x="3832" y="1504"/>
                </a:cubicBezTo>
                <a:cubicBezTo>
                  <a:pt x="3832" y="1500"/>
                  <a:pt x="3831" y="1496"/>
                  <a:pt x="3829" y="1493"/>
                </a:cubicBezTo>
                <a:cubicBezTo>
                  <a:pt x="3827" y="1490"/>
                  <a:pt x="3823" y="1488"/>
                  <a:pt x="3819" y="1488"/>
                </a:cubicBezTo>
                <a:cubicBezTo>
                  <a:pt x="3818" y="1488"/>
                  <a:pt x="3817" y="1488"/>
                  <a:pt x="3816" y="1488"/>
                </a:cubicBezTo>
                <a:cubicBezTo>
                  <a:pt x="3816" y="1488"/>
                  <a:pt x="3816" y="1488"/>
                  <a:pt x="3816" y="1488"/>
                </a:cubicBezTo>
                <a:cubicBezTo>
                  <a:pt x="3816" y="1488"/>
                  <a:pt x="3815" y="1488"/>
                  <a:pt x="3814" y="1487"/>
                </a:cubicBezTo>
                <a:cubicBezTo>
                  <a:pt x="3808" y="1482"/>
                  <a:pt x="3801" y="1469"/>
                  <a:pt x="3789" y="1459"/>
                </a:cubicBezTo>
                <a:cubicBezTo>
                  <a:pt x="3774" y="1447"/>
                  <a:pt x="3763" y="1439"/>
                  <a:pt x="3750" y="1422"/>
                </a:cubicBezTo>
                <a:cubicBezTo>
                  <a:pt x="3735" y="1403"/>
                  <a:pt x="3717" y="1391"/>
                  <a:pt x="3709" y="1383"/>
                </a:cubicBezTo>
                <a:cubicBezTo>
                  <a:pt x="3699" y="1373"/>
                  <a:pt x="3687" y="1368"/>
                  <a:pt x="3678" y="1368"/>
                </a:cubicBezTo>
                <a:cubicBezTo>
                  <a:pt x="3677" y="1368"/>
                  <a:pt x="3676" y="1368"/>
                  <a:pt x="3674" y="1368"/>
                </a:cubicBezTo>
                <a:cubicBezTo>
                  <a:pt x="3670" y="1369"/>
                  <a:pt x="3666" y="1374"/>
                  <a:pt x="3666" y="1378"/>
                </a:cubicBezTo>
                <a:cubicBezTo>
                  <a:pt x="3666" y="1383"/>
                  <a:pt x="3669" y="1386"/>
                  <a:pt x="3671" y="1390"/>
                </a:cubicBezTo>
                <a:cubicBezTo>
                  <a:pt x="3675" y="1396"/>
                  <a:pt x="3681" y="1401"/>
                  <a:pt x="3686" y="1406"/>
                </a:cubicBezTo>
                <a:cubicBezTo>
                  <a:pt x="3690" y="1411"/>
                  <a:pt x="3695" y="1415"/>
                  <a:pt x="3695" y="1415"/>
                </a:cubicBezTo>
                <a:cubicBezTo>
                  <a:pt x="3697" y="1418"/>
                  <a:pt x="3706" y="1427"/>
                  <a:pt x="3714" y="1437"/>
                </a:cubicBezTo>
                <a:cubicBezTo>
                  <a:pt x="3722" y="1446"/>
                  <a:pt x="3729" y="1459"/>
                  <a:pt x="3728" y="1463"/>
                </a:cubicBezTo>
                <a:cubicBezTo>
                  <a:pt x="3729" y="1473"/>
                  <a:pt x="3734" y="1485"/>
                  <a:pt x="3740" y="1497"/>
                </a:cubicBezTo>
                <a:cubicBezTo>
                  <a:pt x="3746" y="1509"/>
                  <a:pt x="3752" y="1519"/>
                  <a:pt x="3757" y="1523"/>
                </a:cubicBezTo>
                <a:cubicBezTo>
                  <a:pt x="3760" y="1527"/>
                  <a:pt x="3769" y="1533"/>
                  <a:pt x="3777" y="1540"/>
                </a:cubicBezTo>
                <a:cubicBezTo>
                  <a:pt x="3785" y="1547"/>
                  <a:pt x="3793" y="1556"/>
                  <a:pt x="3794" y="1559"/>
                </a:cubicBezTo>
                <a:cubicBezTo>
                  <a:pt x="3797" y="1565"/>
                  <a:pt x="3801" y="1570"/>
                  <a:pt x="3808" y="1571"/>
                </a:cubicBezTo>
                <a:cubicBezTo>
                  <a:pt x="3808" y="1583"/>
                  <a:pt x="3816" y="1589"/>
                  <a:pt x="3819" y="1591"/>
                </a:cubicBezTo>
                <a:cubicBezTo>
                  <a:pt x="3825" y="1595"/>
                  <a:pt x="3834" y="1597"/>
                  <a:pt x="3844" y="1597"/>
                </a:cubicBezTo>
                <a:cubicBezTo>
                  <a:pt x="3847" y="1597"/>
                  <a:pt x="3849" y="1597"/>
                  <a:pt x="3851" y="1597"/>
                </a:cubicBezTo>
                <a:cubicBezTo>
                  <a:pt x="3855" y="1596"/>
                  <a:pt x="3859" y="1596"/>
                  <a:pt x="3863" y="1594"/>
                </a:cubicBezTo>
                <a:cubicBezTo>
                  <a:pt x="3865" y="1594"/>
                  <a:pt x="3866" y="1594"/>
                  <a:pt x="3868" y="1593"/>
                </a:cubicBezTo>
                <a:cubicBezTo>
                  <a:pt x="3868" y="1593"/>
                  <a:pt x="3868" y="1593"/>
                  <a:pt x="3868" y="1594"/>
                </a:cubicBezTo>
                <a:cubicBezTo>
                  <a:pt x="3876" y="1602"/>
                  <a:pt x="3884" y="1608"/>
                  <a:pt x="3896" y="1608"/>
                </a:cubicBezTo>
                <a:cubicBezTo>
                  <a:pt x="3898" y="1608"/>
                  <a:pt x="3900" y="1608"/>
                  <a:pt x="3902" y="1608"/>
                </a:cubicBezTo>
                <a:cubicBezTo>
                  <a:pt x="3903" y="1608"/>
                  <a:pt x="3903" y="1608"/>
                  <a:pt x="3904" y="1608"/>
                </a:cubicBezTo>
                <a:cubicBezTo>
                  <a:pt x="3912" y="1608"/>
                  <a:pt x="3923" y="1611"/>
                  <a:pt x="3931" y="1611"/>
                </a:cubicBezTo>
                <a:cubicBezTo>
                  <a:pt x="3933" y="1611"/>
                  <a:pt x="3936" y="1611"/>
                  <a:pt x="3938" y="1610"/>
                </a:cubicBezTo>
                <a:close/>
                <a:moveTo>
                  <a:pt x="4119" y="1427"/>
                </a:moveTo>
                <a:cubicBezTo>
                  <a:pt x="4111" y="1436"/>
                  <a:pt x="4105" y="1453"/>
                  <a:pt x="4104" y="1466"/>
                </a:cubicBezTo>
                <a:cubicBezTo>
                  <a:pt x="4104" y="1469"/>
                  <a:pt x="4105" y="1472"/>
                  <a:pt x="4106" y="1475"/>
                </a:cubicBezTo>
                <a:cubicBezTo>
                  <a:pt x="4107" y="1478"/>
                  <a:pt x="4110" y="1481"/>
                  <a:pt x="4114" y="1482"/>
                </a:cubicBezTo>
                <a:cubicBezTo>
                  <a:pt x="4115" y="1483"/>
                  <a:pt x="4116" y="1483"/>
                  <a:pt x="4117" y="1483"/>
                </a:cubicBezTo>
                <a:cubicBezTo>
                  <a:pt x="4128" y="1482"/>
                  <a:pt x="4131" y="1473"/>
                  <a:pt x="4135" y="1464"/>
                </a:cubicBezTo>
                <a:cubicBezTo>
                  <a:pt x="4138" y="1455"/>
                  <a:pt x="4140" y="1445"/>
                  <a:pt x="4140" y="1436"/>
                </a:cubicBezTo>
                <a:cubicBezTo>
                  <a:pt x="4140" y="1434"/>
                  <a:pt x="4140" y="1431"/>
                  <a:pt x="4139" y="1429"/>
                </a:cubicBezTo>
                <a:cubicBezTo>
                  <a:pt x="4139" y="1426"/>
                  <a:pt x="4138" y="1423"/>
                  <a:pt x="4134" y="1421"/>
                </a:cubicBezTo>
                <a:cubicBezTo>
                  <a:pt x="4134" y="1421"/>
                  <a:pt x="4134" y="1421"/>
                  <a:pt x="4134" y="1421"/>
                </a:cubicBezTo>
                <a:cubicBezTo>
                  <a:pt x="4133" y="1421"/>
                  <a:pt x="4131" y="1420"/>
                  <a:pt x="4130" y="1420"/>
                </a:cubicBezTo>
                <a:cubicBezTo>
                  <a:pt x="4124" y="1420"/>
                  <a:pt x="4121" y="1423"/>
                  <a:pt x="4119" y="1427"/>
                </a:cubicBezTo>
                <a:close/>
                <a:moveTo>
                  <a:pt x="4266" y="830"/>
                </a:moveTo>
                <a:cubicBezTo>
                  <a:pt x="4263" y="839"/>
                  <a:pt x="4260" y="846"/>
                  <a:pt x="4257" y="852"/>
                </a:cubicBezTo>
                <a:cubicBezTo>
                  <a:pt x="4256" y="855"/>
                  <a:pt x="4254" y="857"/>
                  <a:pt x="4253" y="858"/>
                </a:cubicBezTo>
                <a:cubicBezTo>
                  <a:pt x="4253" y="858"/>
                  <a:pt x="4253" y="858"/>
                  <a:pt x="4253" y="858"/>
                </a:cubicBezTo>
                <a:cubicBezTo>
                  <a:pt x="4251" y="859"/>
                  <a:pt x="4249" y="859"/>
                  <a:pt x="4246" y="860"/>
                </a:cubicBezTo>
                <a:cubicBezTo>
                  <a:pt x="4236" y="864"/>
                  <a:pt x="4221" y="872"/>
                  <a:pt x="4214" y="880"/>
                </a:cubicBezTo>
                <a:cubicBezTo>
                  <a:pt x="4214" y="880"/>
                  <a:pt x="4213" y="880"/>
                  <a:pt x="4211" y="880"/>
                </a:cubicBezTo>
                <a:cubicBezTo>
                  <a:pt x="4203" y="880"/>
                  <a:pt x="4189" y="876"/>
                  <a:pt x="4180" y="876"/>
                </a:cubicBezTo>
                <a:cubicBezTo>
                  <a:pt x="4176" y="876"/>
                  <a:pt x="4172" y="876"/>
                  <a:pt x="4169" y="880"/>
                </a:cubicBezTo>
                <a:cubicBezTo>
                  <a:pt x="4165" y="886"/>
                  <a:pt x="4156" y="894"/>
                  <a:pt x="4150" y="900"/>
                </a:cubicBezTo>
                <a:cubicBezTo>
                  <a:pt x="4150" y="900"/>
                  <a:pt x="4146" y="901"/>
                  <a:pt x="4141" y="903"/>
                </a:cubicBezTo>
                <a:cubicBezTo>
                  <a:pt x="4136" y="904"/>
                  <a:pt x="4129" y="909"/>
                  <a:pt x="4130" y="918"/>
                </a:cubicBezTo>
                <a:cubicBezTo>
                  <a:pt x="4130" y="920"/>
                  <a:pt x="4130" y="922"/>
                  <a:pt x="4130" y="924"/>
                </a:cubicBezTo>
                <a:cubicBezTo>
                  <a:pt x="4132" y="932"/>
                  <a:pt x="4135" y="941"/>
                  <a:pt x="4139" y="947"/>
                </a:cubicBezTo>
                <a:cubicBezTo>
                  <a:pt x="4142" y="954"/>
                  <a:pt x="4146" y="959"/>
                  <a:pt x="4154" y="960"/>
                </a:cubicBezTo>
                <a:cubicBezTo>
                  <a:pt x="4159" y="960"/>
                  <a:pt x="4165" y="958"/>
                  <a:pt x="4169" y="953"/>
                </a:cubicBezTo>
                <a:cubicBezTo>
                  <a:pt x="4173" y="949"/>
                  <a:pt x="4176" y="942"/>
                  <a:pt x="4176" y="933"/>
                </a:cubicBezTo>
                <a:cubicBezTo>
                  <a:pt x="4176" y="933"/>
                  <a:pt x="4176" y="933"/>
                  <a:pt x="4176" y="933"/>
                </a:cubicBezTo>
                <a:cubicBezTo>
                  <a:pt x="4176" y="933"/>
                  <a:pt x="4180" y="934"/>
                  <a:pt x="4182" y="935"/>
                </a:cubicBezTo>
                <a:cubicBezTo>
                  <a:pt x="4185" y="936"/>
                  <a:pt x="4189" y="938"/>
                  <a:pt x="4193" y="938"/>
                </a:cubicBezTo>
                <a:cubicBezTo>
                  <a:pt x="4194" y="938"/>
                  <a:pt x="4195" y="938"/>
                  <a:pt x="4195" y="938"/>
                </a:cubicBezTo>
                <a:cubicBezTo>
                  <a:pt x="4204" y="936"/>
                  <a:pt x="4209" y="930"/>
                  <a:pt x="4212" y="922"/>
                </a:cubicBezTo>
                <a:cubicBezTo>
                  <a:pt x="4214" y="924"/>
                  <a:pt x="4216" y="925"/>
                  <a:pt x="4218" y="925"/>
                </a:cubicBezTo>
                <a:cubicBezTo>
                  <a:pt x="4221" y="926"/>
                  <a:pt x="4223" y="926"/>
                  <a:pt x="4226" y="926"/>
                </a:cubicBezTo>
                <a:cubicBezTo>
                  <a:pt x="4232" y="926"/>
                  <a:pt x="4238" y="923"/>
                  <a:pt x="4240" y="919"/>
                </a:cubicBezTo>
                <a:cubicBezTo>
                  <a:pt x="4243" y="916"/>
                  <a:pt x="4244" y="914"/>
                  <a:pt x="4244" y="911"/>
                </a:cubicBezTo>
                <a:cubicBezTo>
                  <a:pt x="4246" y="910"/>
                  <a:pt x="4251" y="907"/>
                  <a:pt x="4256" y="905"/>
                </a:cubicBezTo>
                <a:cubicBezTo>
                  <a:pt x="4263" y="903"/>
                  <a:pt x="4268" y="901"/>
                  <a:pt x="4272" y="898"/>
                </a:cubicBezTo>
                <a:cubicBezTo>
                  <a:pt x="4273" y="897"/>
                  <a:pt x="4279" y="894"/>
                  <a:pt x="4285" y="891"/>
                </a:cubicBezTo>
                <a:cubicBezTo>
                  <a:pt x="4287" y="889"/>
                  <a:pt x="4290" y="888"/>
                  <a:pt x="4293" y="886"/>
                </a:cubicBezTo>
                <a:cubicBezTo>
                  <a:pt x="4295" y="884"/>
                  <a:pt x="4297" y="882"/>
                  <a:pt x="4298" y="878"/>
                </a:cubicBezTo>
                <a:cubicBezTo>
                  <a:pt x="4299" y="874"/>
                  <a:pt x="4299" y="865"/>
                  <a:pt x="4300" y="856"/>
                </a:cubicBezTo>
                <a:cubicBezTo>
                  <a:pt x="4300" y="852"/>
                  <a:pt x="4300" y="848"/>
                  <a:pt x="4301" y="845"/>
                </a:cubicBezTo>
                <a:cubicBezTo>
                  <a:pt x="4301" y="843"/>
                  <a:pt x="4302" y="842"/>
                  <a:pt x="4302" y="842"/>
                </a:cubicBezTo>
                <a:cubicBezTo>
                  <a:pt x="4303" y="841"/>
                  <a:pt x="4305" y="841"/>
                  <a:pt x="4308" y="839"/>
                </a:cubicBezTo>
                <a:cubicBezTo>
                  <a:pt x="4310" y="837"/>
                  <a:pt x="4313" y="833"/>
                  <a:pt x="4313" y="828"/>
                </a:cubicBezTo>
                <a:cubicBezTo>
                  <a:pt x="4313" y="824"/>
                  <a:pt x="4312" y="819"/>
                  <a:pt x="4308" y="812"/>
                </a:cubicBezTo>
                <a:cubicBezTo>
                  <a:pt x="4305" y="805"/>
                  <a:pt x="4303" y="797"/>
                  <a:pt x="4300" y="791"/>
                </a:cubicBezTo>
                <a:cubicBezTo>
                  <a:pt x="4300" y="789"/>
                  <a:pt x="4299" y="788"/>
                  <a:pt x="4298" y="786"/>
                </a:cubicBezTo>
                <a:cubicBezTo>
                  <a:pt x="4303" y="785"/>
                  <a:pt x="4308" y="783"/>
                  <a:pt x="4313" y="783"/>
                </a:cubicBezTo>
                <a:cubicBezTo>
                  <a:pt x="4327" y="782"/>
                  <a:pt x="4340" y="780"/>
                  <a:pt x="4344" y="776"/>
                </a:cubicBezTo>
                <a:cubicBezTo>
                  <a:pt x="4344" y="776"/>
                  <a:pt x="4345" y="776"/>
                  <a:pt x="4345" y="776"/>
                </a:cubicBezTo>
                <a:cubicBezTo>
                  <a:pt x="4348" y="776"/>
                  <a:pt x="4353" y="776"/>
                  <a:pt x="4358" y="775"/>
                </a:cubicBezTo>
                <a:cubicBezTo>
                  <a:pt x="4363" y="773"/>
                  <a:pt x="4370" y="769"/>
                  <a:pt x="4370" y="761"/>
                </a:cubicBezTo>
                <a:cubicBezTo>
                  <a:pt x="4370" y="759"/>
                  <a:pt x="4370" y="758"/>
                  <a:pt x="4370" y="757"/>
                </a:cubicBezTo>
                <a:cubicBezTo>
                  <a:pt x="4367" y="748"/>
                  <a:pt x="4360" y="744"/>
                  <a:pt x="4354" y="741"/>
                </a:cubicBezTo>
                <a:cubicBezTo>
                  <a:pt x="4347" y="739"/>
                  <a:pt x="4340" y="738"/>
                  <a:pt x="4335" y="738"/>
                </a:cubicBezTo>
                <a:cubicBezTo>
                  <a:pt x="4333" y="738"/>
                  <a:pt x="4332" y="738"/>
                  <a:pt x="4330" y="738"/>
                </a:cubicBezTo>
                <a:cubicBezTo>
                  <a:pt x="4329" y="737"/>
                  <a:pt x="4327" y="735"/>
                  <a:pt x="4325" y="732"/>
                </a:cubicBezTo>
                <a:cubicBezTo>
                  <a:pt x="4321" y="729"/>
                  <a:pt x="4317" y="726"/>
                  <a:pt x="4311" y="726"/>
                </a:cubicBezTo>
                <a:cubicBezTo>
                  <a:pt x="4309" y="726"/>
                  <a:pt x="4308" y="726"/>
                  <a:pt x="4307" y="726"/>
                </a:cubicBezTo>
                <a:cubicBezTo>
                  <a:pt x="4300" y="728"/>
                  <a:pt x="4296" y="734"/>
                  <a:pt x="4294" y="739"/>
                </a:cubicBezTo>
                <a:cubicBezTo>
                  <a:pt x="4292" y="743"/>
                  <a:pt x="4292" y="747"/>
                  <a:pt x="4291" y="750"/>
                </a:cubicBezTo>
                <a:cubicBezTo>
                  <a:pt x="4289" y="751"/>
                  <a:pt x="4284" y="754"/>
                  <a:pt x="4280" y="756"/>
                </a:cubicBezTo>
                <a:cubicBezTo>
                  <a:pt x="4275" y="760"/>
                  <a:pt x="4268" y="763"/>
                  <a:pt x="4267" y="772"/>
                </a:cubicBezTo>
                <a:cubicBezTo>
                  <a:pt x="4267" y="775"/>
                  <a:pt x="4269" y="778"/>
                  <a:pt x="4271" y="780"/>
                </a:cubicBezTo>
                <a:cubicBezTo>
                  <a:pt x="4272" y="782"/>
                  <a:pt x="4274" y="783"/>
                  <a:pt x="4275" y="784"/>
                </a:cubicBezTo>
                <a:cubicBezTo>
                  <a:pt x="4271" y="790"/>
                  <a:pt x="4271" y="797"/>
                  <a:pt x="4270" y="805"/>
                </a:cubicBezTo>
                <a:cubicBezTo>
                  <a:pt x="4270" y="814"/>
                  <a:pt x="4269" y="824"/>
                  <a:pt x="4266" y="830"/>
                </a:cubicBezTo>
                <a:close/>
                <a:moveTo>
                  <a:pt x="3920" y="1392"/>
                </a:moveTo>
                <a:cubicBezTo>
                  <a:pt x="3917" y="1395"/>
                  <a:pt x="3916" y="1398"/>
                  <a:pt x="3915" y="1401"/>
                </a:cubicBezTo>
                <a:cubicBezTo>
                  <a:pt x="3914" y="1402"/>
                  <a:pt x="3914" y="1403"/>
                  <a:pt x="3914" y="1404"/>
                </a:cubicBezTo>
                <a:cubicBezTo>
                  <a:pt x="3914" y="1404"/>
                  <a:pt x="3913" y="1404"/>
                  <a:pt x="3913" y="1404"/>
                </a:cubicBezTo>
                <a:cubicBezTo>
                  <a:pt x="3910" y="1407"/>
                  <a:pt x="3907" y="1408"/>
                  <a:pt x="3897" y="1411"/>
                </a:cubicBezTo>
                <a:cubicBezTo>
                  <a:pt x="3886" y="1415"/>
                  <a:pt x="3883" y="1425"/>
                  <a:pt x="3881" y="1432"/>
                </a:cubicBezTo>
                <a:cubicBezTo>
                  <a:pt x="3880" y="1431"/>
                  <a:pt x="3878" y="1430"/>
                  <a:pt x="3877" y="1429"/>
                </a:cubicBezTo>
                <a:cubicBezTo>
                  <a:pt x="3873" y="1427"/>
                  <a:pt x="3870" y="1424"/>
                  <a:pt x="3864" y="1424"/>
                </a:cubicBezTo>
                <a:cubicBezTo>
                  <a:pt x="3862" y="1424"/>
                  <a:pt x="3859" y="1425"/>
                  <a:pt x="3857" y="1427"/>
                </a:cubicBezTo>
                <a:cubicBezTo>
                  <a:pt x="3854" y="1431"/>
                  <a:pt x="3854" y="1436"/>
                  <a:pt x="3854" y="1441"/>
                </a:cubicBezTo>
                <a:cubicBezTo>
                  <a:pt x="3854" y="1453"/>
                  <a:pt x="3857" y="1471"/>
                  <a:pt x="3863" y="1487"/>
                </a:cubicBezTo>
                <a:cubicBezTo>
                  <a:pt x="3868" y="1499"/>
                  <a:pt x="3876" y="1509"/>
                  <a:pt x="3883" y="1515"/>
                </a:cubicBezTo>
                <a:cubicBezTo>
                  <a:pt x="3891" y="1522"/>
                  <a:pt x="3897" y="1526"/>
                  <a:pt x="3903" y="1527"/>
                </a:cubicBezTo>
                <a:cubicBezTo>
                  <a:pt x="3909" y="1526"/>
                  <a:pt x="3920" y="1527"/>
                  <a:pt x="3927" y="1529"/>
                </a:cubicBezTo>
                <a:cubicBezTo>
                  <a:pt x="3931" y="1530"/>
                  <a:pt x="3938" y="1532"/>
                  <a:pt x="3946" y="1532"/>
                </a:cubicBezTo>
                <a:cubicBezTo>
                  <a:pt x="3950" y="1532"/>
                  <a:pt x="3955" y="1531"/>
                  <a:pt x="3959" y="1529"/>
                </a:cubicBezTo>
                <a:cubicBezTo>
                  <a:pt x="3964" y="1528"/>
                  <a:pt x="3968" y="1523"/>
                  <a:pt x="3968" y="1517"/>
                </a:cubicBezTo>
                <a:cubicBezTo>
                  <a:pt x="3968" y="1517"/>
                  <a:pt x="3968" y="1516"/>
                  <a:pt x="3968" y="1516"/>
                </a:cubicBezTo>
                <a:cubicBezTo>
                  <a:pt x="3968" y="1511"/>
                  <a:pt x="3967" y="1506"/>
                  <a:pt x="3967" y="1501"/>
                </a:cubicBezTo>
                <a:cubicBezTo>
                  <a:pt x="3967" y="1491"/>
                  <a:pt x="3969" y="1482"/>
                  <a:pt x="3975" y="1476"/>
                </a:cubicBezTo>
                <a:cubicBezTo>
                  <a:pt x="3979" y="1472"/>
                  <a:pt x="3984" y="1467"/>
                  <a:pt x="3988" y="1462"/>
                </a:cubicBezTo>
                <a:cubicBezTo>
                  <a:pt x="3992" y="1458"/>
                  <a:pt x="3995" y="1451"/>
                  <a:pt x="3995" y="1444"/>
                </a:cubicBezTo>
                <a:cubicBezTo>
                  <a:pt x="3995" y="1440"/>
                  <a:pt x="3995" y="1437"/>
                  <a:pt x="3993" y="1433"/>
                </a:cubicBezTo>
                <a:cubicBezTo>
                  <a:pt x="3988" y="1419"/>
                  <a:pt x="3981" y="1408"/>
                  <a:pt x="3982" y="1404"/>
                </a:cubicBezTo>
                <a:cubicBezTo>
                  <a:pt x="3982" y="1403"/>
                  <a:pt x="3982" y="1403"/>
                  <a:pt x="3983" y="1402"/>
                </a:cubicBezTo>
                <a:cubicBezTo>
                  <a:pt x="3986" y="1398"/>
                  <a:pt x="3990" y="1396"/>
                  <a:pt x="3994" y="1393"/>
                </a:cubicBezTo>
                <a:cubicBezTo>
                  <a:pt x="3997" y="1390"/>
                  <a:pt x="4002" y="1386"/>
                  <a:pt x="4002" y="1380"/>
                </a:cubicBezTo>
                <a:cubicBezTo>
                  <a:pt x="4002" y="1379"/>
                  <a:pt x="4002" y="1377"/>
                  <a:pt x="4000" y="1375"/>
                </a:cubicBezTo>
                <a:cubicBezTo>
                  <a:pt x="3999" y="1373"/>
                  <a:pt x="3996" y="1373"/>
                  <a:pt x="3995" y="1373"/>
                </a:cubicBezTo>
                <a:cubicBezTo>
                  <a:pt x="3991" y="1373"/>
                  <a:pt x="3990" y="1374"/>
                  <a:pt x="3989" y="1374"/>
                </a:cubicBezTo>
                <a:cubicBezTo>
                  <a:pt x="3987" y="1375"/>
                  <a:pt x="3986" y="1375"/>
                  <a:pt x="3985" y="1375"/>
                </a:cubicBezTo>
                <a:cubicBezTo>
                  <a:pt x="3985" y="1375"/>
                  <a:pt x="3985" y="1375"/>
                  <a:pt x="3985" y="1375"/>
                </a:cubicBezTo>
                <a:cubicBezTo>
                  <a:pt x="3985" y="1375"/>
                  <a:pt x="3985" y="1375"/>
                  <a:pt x="3983" y="1373"/>
                </a:cubicBezTo>
                <a:cubicBezTo>
                  <a:pt x="3982" y="1370"/>
                  <a:pt x="3980" y="1364"/>
                  <a:pt x="3980" y="1353"/>
                </a:cubicBezTo>
                <a:cubicBezTo>
                  <a:pt x="3980" y="1351"/>
                  <a:pt x="3979" y="1349"/>
                  <a:pt x="3977" y="1347"/>
                </a:cubicBezTo>
                <a:cubicBezTo>
                  <a:pt x="3975" y="1345"/>
                  <a:pt x="3973" y="1344"/>
                  <a:pt x="3971" y="1344"/>
                </a:cubicBezTo>
                <a:cubicBezTo>
                  <a:pt x="3965" y="1344"/>
                  <a:pt x="3961" y="1347"/>
                  <a:pt x="3957" y="1351"/>
                </a:cubicBezTo>
                <a:cubicBezTo>
                  <a:pt x="3953" y="1355"/>
                  <a:pt x="3949" y="1359"/>
                  <a:pt x="3948" y="1365"/>
                </a:cubicBezTo>
                <a:cubicBezTo>
                  <a:pt x="3948" y="1366"/>
                  <a:pt x="3948" y="1367"/>
                  <a:pt x="3948" y="1367"/>
                </a:cubicBezTo>
                <a:cubicBezTo>
                  <a:pt x="3948" y="1371"/>
                  <a:pt x="3949" y="1374"/>
                  <a:pt x="3950" y="1376"/>
                </a:cubicBezTo>
                <a:cubicBezTo>
                  <a:pt x="3950" y="1377"/>
                  <a:pt x="3950" y="1377"/>
                  <a:pt x="3951" y="1378"/>
                </a:cubicBezTo>
                <a:cubicBezTo>
                  <a:pt x="3949" y="1378"/>
                  <a:pt x="3947" y="1378"/>
                  <a:pt x="3945" y="1378"/>
                </a:cubicBezTo>
                <a:cubicBezTo>
                  <a:pt x="3932" y="1378"/>
                  <a:pt x="3924" y="1385"/>
                  <a:pt x="3920" y="1392"/>
                </a:cubicBezTo>
                <a:close/>
                <a:moveTo>
                  <a:pt x="4009" y="1068"/>
                </a:moveTo>
                <a:cubicBezTo>
                  <a:pt x="4005" y="1076"/>
                  <a:pt x="4003" y="1085"/>
                  <a:pt x="4003" y="1093"/>
                </a:cubicBezTo>
                <a:cubicBezTo>
                  <a:pt x="4003" y="1096"/>
                  <a:pt x="4003" y="1099"/>
                  <a:pt x="4005" y="1102"/>
                </a:cubicBezTo>
                <a:cubicBezTo>
                  <a:pt x="4006" y="1106"/>
                  <a:pt x="4010" y="1108"/>
                  <a:pt x="4014" y="1108"/>
                </a:cubicBezTo>
                <a:cubicBezTo>
                  <a:pt x="4014" y="1108"/>
                  <a:pt x="4014" y="1108"/>
                  <a:pt x="4015" y="1108"/>
                </a:cubicBezTo>
                <a:cubicBezTo>
                  <a:pt x="4015" y="1108"/>
                  <a:pt x="4015" y="1108"/>
                  <a:pt x="4016" y="1108"/>
                </a:cubicBezTo>
                <a:cubicBezTo>
                  <a:pt x="4025" y="1107"/>
                  <a:pt x="4030" y="1099"/>
                  <a:pt x="4034" y="1091"/>
                </a:cubicBezTo>
                <a:cubicBezTo>
                  <a:pt x="4038" y="1083"/>
                  <a:pt x="4041" y="1073"/>
                  <a:pt x="4041" y="1065"/>
                </a:cubicBezTo>
                <a:cubicBezTo>
                  <a:pt x="4041" y="1062"/>
                  <a:pt x="4041" y="1059"/>
                  <a:pt x="4039" y="1056"/>
                </a:cubicBezTo>
                <a:cubicBezTo>
                  <a:pt x="4038" y="1053"/>
                  <a:pt x="4034" y="1051"/>
                  <a:pt x="4030" y="1051"/>
                </a:cubicBezTo>
                <a:cubicBezTo>
                  <a:pt x="4029" y="1051"/>
                  <a:pt x="4029" y="1051"/>
                  <a:pt x="4028" y="1051"/>
                </a:cubicBezTo>
                <a:cubicBezTo>
                  <a:pt x="4028" y="1051"/>
                  <a:pt x="4028" y="1051"/>
                  <a:pt x="4028" y="1051"/>
                </a:cubicBezTo>
                <a:cubicBezTo>
                  <a:pt x="4019" y="1053"/>
                  <a:pt x="4013" y="1061"/>
                  <a:pt x="4009" y="1068"/>
                </a:cubicBezTo>
                <a:close/>
                <a:moveTo>
                  <a:pt x="3994" y="1206"/>
                </a:moveTo>
                <a:cubicBezTo>
                  <a:pt x="3994" y="1209"/>
                  <a:pt x="3995" y="1213"/>
                  <a:pt x="3997" y="1217"/>
                </a:cubicBezTo>
                <a:cubicBezTo>
                  <a:pt x="3997" y="1217"/>
                  <a:pt x="3997" y="1217"/>
                  <a:pt x="3997" y="1217"/>
                </a:cubicBezTo>
                <a:cubicBezTo>
                  <a:pt x="4001" y="1226"/>
                  <a:pt x="4008" y="1233"/>
                  <a:pt x="4014" y="1238"/>
                </a:cubicBezTo>
                <a:cubicBezTo>
                  <a:pt x="4017" y="1241"/>
                  <a:pt x="4019" y="1244"/>
                  <a:pt x="4021" y="1246"/>
                </a:cubicBezTo>
                <a:cubicBezTo>
                  <a:pt x="4021" y="1246"/>
                  <a:pt x="4022" y="1247"/>
                  <a:pt x="4022" y="1247"/>
                </a:cubicBezTo>
                <a:cubicBezTo>
                  <a:pt x="4017" y="1254"/>
                  <a:pt x="4000" y="1267"/>
                  <a:pt x="3997" y="1282"/>
                </a:cubicBezTo>
                <a:cubicBezTo>
                  <a:pt x="3996" y="1283"/>
                  <a:pt x="3996" y="1284"/>
                  <a:pt x="3996" y="1285"/>
                </a:cubicBezTo>
                <a:cubicBezTo>
                  <a:pt x="3996" y="1286"/>
                  <a:pt x="3997" y="1288"/>
                  <a:pt x="3998" y="1289"/>
                </a:cubicBezTo>
                <a:cubicBezTo>
                  <a:pt x="3999" y="1291"/>
                  <a:pt x="4002" y="1292"/>
                  <a:pt x="4003" y="1292"/>
                </a:cubicBezTo>
                <a:cubicBezTo>
                  <a:pt x="4003" y="1292"/>
                  <a:pt x="4004" y="1292"/>
                  <a:pt x="4004" y="1292"/>
                </a:cubicBezTo>
                <a:cubicBezTo>
                  <a:pt x="4009" y="1292"/>
                  <a:pt x="4011" y="1289"/>
                  <a:pt x="4014" y="1287"/>
                </a:cubicBezTo>
                <a:cubicBezTo>
                  <a:pt x="4024" y="1279"/>
                  <a:pt x="4038" y="1264"/>
                  <a:pt x="4043" y="1255"/>
                </a:cubicBezTo>
                <a:cubicBezTo>
                  <a:pt x="4046" y="1251"/>
                  <a:pt x="4049" y="1250"/>
                  <a:pt x="4054" y="1249"/>
                </a:cubicBezTo>
                <a:cubicBezTo>
                  <a:pt x="4057" y="1249"/>
                  <a:pt x="4060" y="1249"/>
                  <a:pt x="4063" y="1248"/>
                </a:cubicBezTo>
                <a:cubicBezTo>
                  <a:pt x="4065" y="1248"/>
                  <a:pt x="4069" y="1246"/>
                  <a:pt x="4071" y="1242"/>
                </a:cubicBezTo>
                <a:cubicBezTo>
                  <a:pt x="4075" y="1235"/>
                  <a:pt x="4075" y="1235"/>
                  <a:pt x="4075" y="1235"/>
                </a:cubicBezTo>
                <a:cubicBezTo>
                  <a:pt x="4076" y="1233"/>
                  <a:pt x="4076" y="1231"/>
                  <a:pt x="4075" y="1230"/>
                </a:cubicBezTo>
                <a:cubicBezTo>
                  <a:pt x="4074" y="1228"/>
                  <a:pt x="4072" y="1227"/>
                  <a:pt x="4071" y="1226"/>
                </a:cubicBezTo>
                <a:cubicBezTo>
                  <a:pt x="4071" y="1226"/>
                  <a:pt x="4058" y="1224"/>
                  <a:pt x="4048" y="1220"/>
                </a:cubicBezTo>
                <a:cubicBezTo>
                  <a:pt x="4046" y="1219"/>
                  <a:pt x="4044" y="1219"/>
                  <a:pt x="4042" y="1219"/>
                </a:cubicBezTo>
                <a:cubicBezTo>
                  <a:pt x="4039" y="1219"/>
                  <a:pt x="4036" y="1219"/>
                  <a:pt x="4034" y="1220"/>
                </a:cubicBezTo>
                <a:cubicBezTo>
                  <a:pt x="4034" y="1219"/>
                  <a:pt x="4034" y="1218"/>
                  <a:pt x="4035" y="1216"/>
                </a:cubicBezTo>
                <a:cubicBezTo>
                  <a:pt x="4037" y="1207"/>
                  <a:pt x="4041" y="1204"/>
                  <a:pt x="4045" y="1201"/>
                </a:cubicBezTo>
                <a:cubicBezTo>
                  <a:pt x="4049" y="1198"/>
                  <a:pt x="4055" y="1193"/>
                  <a:pt x="4055" y="1184"/>
                </a:cubicBezTo>
                <a:cubicBezTo>
                  <a:pt x="4055" y="1182"/>
                  <a:pt x="4055" y="1181"/>
                  <a:pt x="4054" y="1179"/>
                </a:cubicBezTo>
                <a:cubicBezTo>
                  <a:pt x="4053" y="1169"/>
                  <a:pt x="4048" y="1163"/>
                  <a:pt x="4043" y="1159"/>
                </a:cubicBezTo>
                <a:cubicBezTo>
                  <a:pt x="4038" y="1155"/>
                  <a:pt x="4034" y="1153"/>
                  <a:pt x="4030" y="1153"/>
                </a:cubicBezTo>
                <a:cubicBezTo>
                  <a:pt x="4026" y="1153"/>
                  <a:pt x="4021" y="1157"/>
                  <a:pt x="4021" y="1160"/>
                </a:cubicBezTo>
                <a:cubicBezTo>
                  <a:pt x="4019" y="1169"/>
                  <a:pt x="4022" y="1175"/>
                  <a:pt x="4016" y="1179"/>
                </a:cubicBezTo>
                <a:cubicBezTo>
                  <a:pt x="4012" y="1183"/>
                  <a:pt x="4007" y="1186"/>
                  <a:pt x="4003" y="1190"/>
                </a:cubicBezTo>
                <a:cubicBezTo>
                  <a:pt x="3998" y="1193"/>
                  <a:pt x="3994" y="1199"/>
                  <a:pt x="3994" y="1206"/>
                </a:cubicBezTo>
                <a:close/>
              </a:path>
            </a:pathLst>
          </a:custGeom>
          <a:solidFill>
            <a:schemeClr val="bg1"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2/1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: 圆角 5"/>
          <p:cNvSpPr/>
          <p:nvPr userDrawn="1"/>
        </p:nvSpPr>
        <p:spPr>
          <a:xfrm>
            <a:off x="1463864" y="2607129"/>
            <a:ext cx="9804400" cy="2260600"/>
          </a:xfrm>
          <a:prstGeom prst="roundRect">
            <a:avLst/>
          </a:prstGeom>
          <a:gradFill>
            <a:gsLst>
              <a:gs pos="100000">
                <a:schemeClr val="accent2">
                  <a:alpha val="0"/>
                </a:schemeClr>
              </a:gs>
              <a:gs pos="0">
                <a:schemeClr val="accent1">
                  <a:alpha val="40000"/>
                </a:schemeClr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2" name="矩形: 圆角 1"/>
          <p:cNvSpPr/>
          <p:nvPr userDrawn="1"/>
        </p:nvSpPr>
        <p:spPr>
          <a:xfrm>
            <a:off x="1333500" y="2377673"/>
            <a:ext cx="9804400" cy="2260600"/>
          </a:xfrm>
          <a:prstGeom prst="round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kern="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482370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483486" y="3429002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图形 3"/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0262"/>
          <a:stretch>
            <a:fillRect/>
          </a:stretch>
        </p:blipFill>
        <p:spPr>
          <a:xfrm>
            <a:off x="923737" y="1983973"/>
            <a:ext cx="4323404" cy="3113212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2/1/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301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2/1/1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16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8" name="Freeform 113"/>
          <p:cNvSpPr>
            <a:spLocks noEditPoints="1"/>
          </p:cNvSpPr>
          <p:nvPr userDrawn="1"/>
        </p:nvSpPr>
        <p:spPr bwMode="auto">
          <a:xfrm>
            <a:off x="561232" y="688977"/>
            <a:ext cx="11069536" cy="5442156"/>
          </a:xfrm>
          <a:custGeom>
            <a:avLst/>
            <a:gdLst>
              <a:gd name="T0" fmla="*/ 1302 w 4832"/>
              <a:gd name="T1" fmla="*/ 472 h 2374"/>
              <a:gd name="T2" fmla="*/ 92 w 4832"/>
              <a:gd name="T3" fmla="*/ 600 h 2374"/>
              <a:gd name="T4" fmla="*/ 1495 w 4832"/>
              <a:gd name="T5" fmla="*/ 1292 h 2374"/>
              <a:gd name="T6" fmla="*/ 1140 w 4832"/>
              <a:gd name="T7" fmla="*/ 1152 h 2374"/>
              <a:gd name="T8" fmla="*/ 1388 w 4832"/>
              <a:gd name="T9" fmla="*/ 822 h 2374"/>
              <a:gd name="T10" fmla="*/ 1513 w 4832"/>
              <a:gd name="T11" fmla="*/ 658 h 2374"/>
              <a:gd name="T12" fmla="*/ 1510 w 4832"/>
              <a:gd name="T13" fmla="*/ 476 h 2374"/>
              <a:gd name="T14" fmla="*/ 1245 w 4832"/>
              <a:gd name="T15" fmla="*/ 556 h 2374"/>
              <a:gd name="T16" fmla="*/ 1284 w 4832"/>
              <a:gd name="T17" fmla="*/ 342 h 2374"/>
              <a:gd name="T18" fmla="*/ 1483 w 4832"/>
              <a:gd name="T19" fmla="*/ 457 h 2374"/>
              <a:gd name="T20" fmla="*/ 1210 w 4832"/>
              <a:gd name="T21" fmla="*/ 260 h 2374"/>
              <a:gd name="T22" fmla="*/ 1115 w 4832"/>
              <a:gd name="T23" fmla="*/ 248 h 2374"/>
              <a:gd name="T24" fmla="*/ 972 w 4832"/>
              <a:gd name="T25" fmla="*/ 264 h 2374"/>
              <a:gd name="T26" fmla="*/ 897 w 4832"/>
              <a:gd name="T27" fmla="*/ 188 h 2374"/>
              <a:gd name="T28" fmla="*/ 782 w 4832"/>
              <a:gd name="T29" fmla="*/ 326 h 2374"/>
              <a:gd name="T30" fmla="*/ 208 w 4832"/>
              <a:gd name="T31" fmla="*/ 312 h 2374"/>
              <a:gd name="T32" fmla="*/ 196 w 4832"/>
              <a:gd name="T33" fmla="*/ 519 h 2374"/>
              <a:gd name="T34" fmla="*/ 417 w 4832"/>
              <a:gd name="T35" fmla="*/ 484 h 2374"/>
              <a:gd name="T36" fmla="*/ 813 w 4832"/>
              <a:gd name="T37" fmla="*/ 1027 h 2374"/>
              <a:gd name="T38" fmla="*/ 1225 w 4832"/>
              <a:gd name="T39" fmla="*/ 1313 h 2374"/>
              <a:gd name="T40" fmla="*/ 1402 w 4832"/>
              <a:gd name="T41" fmla="*/ 1972 h 2374"/>
              <a:gd name="T42" fmla="*/ 1500 w 4832"/>
              <a:gd name="T43" fmla="*/ 2229 h 2374"/>
              <a:gd name="T44" fmla="*/ 1858 w 4832"/>
              <a:gd name="T45" fmla="*/ 1697 h 2374"/>
              <a:gd name="T46" fmla="*/ 1242 w 4832"/>
              <a:gd name="T47" fmla="*/ 708 h 2374"/>
              <a:gd name="T48" fmla="*/ 1197 w 4832"/>
              <a:gd name="T49" fmla="*/ 354 h 2374"/>
              <a:gd name="T50" fmla="*/ 1678 w 4832"/>
              <a:gd name="T51" fmla="*/ 1473 h 2374"/>
              <a:gd name="T52" fmla="*/ 4069 w 4832"/>
              <a:gd name="T53" fmla="*/ 1312 h 2374"/>
              <a:gd name="T54" fmla="*/ 4372 w 4832"/>
              <a:gd name="T55" fmla="*/ 1753 h 2374"/>
              <a:gd name="T56" fmla="*/ 4278 w 4832"/>
              <a:gd name="T57" fmla="*/ 1604 h 2374"/>
              <a:gd name="T58" fmla="*/ 3915 w 4832"/>
              <a:gd name="T59" fmla="*/ 1902 h 2374"/>
              <a:gd name="T60" fmla="*/ 4355 w 4832"/>
              <a:gd name="T61" fmla="*/ 2105 h 2374"/>
              <a:gd name="T62" fmla="*/ 4769 w 4832"/>
              <a:gd name="T63" fmla="*/ 2066 h 2374"/>
              <a:gd name="T64" fmla="*/ 2422 w 4832"/>
              <a:gd name="T65" fmla="*/ 804 h 2374"/>
              <a:gd name="T66" fmla="*/ 4823 w 4832"/>
              <a:gd name="T67" fmla="*/ 362 h 2374"/>
              <a:gd name="T68" fmla="*/ 4216 w 4832"/>
              <a:gd name="T69" fmla="*/ 296 h 2374"/>
              <a:gd name="T70" fmla="*/ 3529 w 4832"/>
              <a:gd name="T71" fmla="*/ 259 h 2374"/>
              <a:gd name="T72" fmla="*/ 3291 w 4832"/>
              <a:gd name="T73" fmla="*/ 342 h 2374"/>
              <a:gd name="T74" fmla="*/ 2474 w 4832"/>
              <a:gd name="T75" fmla="*/ 531 h 2374"/>
              <a:gd name="T76" fmla="*/ 2305 w 4832"/>
              <a:gd name="T77" fmla="*/ 617 h 2374"/>
              <a:gd name="T78" fmla="*/ 2144 w 4832"/>
              <a:gd name="T79" fmla="*/ 1215 h 2374"/>
              <a:gd name="T80" fmla="*/ 2625 w 4832"/>
              <a:gd name="T81" fmla="*/ 2014 h 2374"/>
              <a:gd name="T82" fmla="*/ 2980 w 4832"/>
              <a:gd name="T83" fmla="*/ 1294 h 2374"/>
              <a:gd name="T84" fmla="*/ 3319 w 4832"/>
              <a:gd name="T85" fmla="*/ 1093 h 2374"/>
              <a:gd name="T86" fmla="*/ 3704 w 4832"/>
              <a:gd name="T87" fmla="*/ 1197 h 2374"/>
              <a:gd name="T88" fmla="*/ 3889 w 4832"/>
              <a:gd name="T89" fmla="*/ 1144 h 2374"/>
              <a:gd name="T90" fmla="*/ 4171 w 4832"/>
              <a:gd name="T91" fmla="*/ 771 h 2374"/>
              <a:gd name="T92" fmla="*/ 4460 w 4832"/>
              <a:gd name="T93" fmla="*/ 517 h 2374"/>
              <a:gd name="T94" fmla="*/ 2804 w 4832"/>
              <a:gd name="T95" fmla="*/ 472 h 2374"/>
              <a:gd name="T96" fmla="*/ 2604 w 4832"/>
              <a:gd name="T97" fmla="*/ 555 h 2374"/>
              <a:gd name="T98" fmla="*/ 2520 w 4832"/>
              <a:gd name="T99" fmla="*/ 531 h 2374"/>
              <a:gd name="T100" fmla="*/ 2577 w 4832"/>
              <a:gd name="T101" fmla="*/ 935 h 2374"/>
              <a:gd name="T102" fmla="*/ 2607 w 4832"/>
              <a:gd name="T103" fmla="*/ 851 h 2374"/>
              <a:gd name="T104" fmla="*/ 2929 w 4832"/>
              <a:gd name="T105" fmla="*/ 1150 h 2374"/>
              <a:gd name="T106" fmla="*/ 3433 w 4832"/>
              <a:gd name="T107" fmla="*/ 335 h 2374"/>
              <a:gd name="T108" fmla="*/ 2048 w 4832"/>
              <a:gd name="T109" fmla="*/ 113 h 2374"/>
              <a:gd name="T110" fmla="*/ 1424 w 4832"/>
              <a:gd name="T111" fmla="*/ 188 h 2374"/>
              <a:gd name="T112" fmla="*/ 1778 w 4832"/>
              <a:gd name="T113" fmla="*/ 447 h 2374"/>
              <a:gd name="T114" fmla="*/ 1978 w 4832"/>
              <a:gd name="T115" fmla="*/ 315 h 2374"/>
              <a:gd name="T116" fmla="*/ 3020 w 4832"/>
              <a:gd name="T117" fmla="*/ 1881 h 2374"/>
              <a:gd name="T118" fmla="*/ 1328 w 4832"/>
              <a:gd name="T119" fmla="*/ 1167 h 2374"/>
              <a:gd name="T120" fmla="*/ 3863 w 4832"/>
              <a:gd name="T121" fmla="*/ 1594 h 2374"/>
              <a:gd name="T122" fmla="*/ 4308 w 4832"/>
              <a:gd name="T123" fmla="*/ 812 h 2374"/>
              <a:gd name="T124" fmla="*/ 3980 w 4832"/>
              <a:gd name="T125" fmla="*/ 1353 h 2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32" h="2374">
                <a:moveTo>
                  <a:pt x="3080" y="309"/>
                </a:moveTo>
                <a:cubicBezTo>
                  <a:pt x="3080" y="309"/>
                  <a:pt x="3080" y="309"/>
                  <a:pt x="3080" y="309"/>
                </a:cubicBezTo>
                <a:cubicBezTo>
                  <a:pt x="3088" y="312"/>
                  <a:pt x="3102" y="313"/>
                  <a:pt x="3113" y="320"/>
                </a:cubicBezTo>
                <a:cubicBezTo>
                  <a:pt x="3121" y="325"/>
                  <a:pt x="3131" y="328"/>
                  <a:pt x="3140" y="328"/>
                </a:cubicBezTo>
                <a:cubicBezTo>
                  <a:pt x="3140" y="328"/>
                  <a:pt x="3140" y="328"/>
                  <a:pt x="3140" y="328"/>
                </a:cubicBezTo>
                <a:cubicBezTo>
                  <a:pt x="3148" y="328"/>
                  <a:pt x="3155" y="326"/>
                  <a:pt x="3160" y="320"/>
                </a:cubicBezTo>
                <a:cubicBezTo>
                  <a:pt x="3163" y="316"/>
                  <a:pt x="3165" y="312"/>
                  <a:pt x="3165" y="307"/>
                </a:cubicBezTo>
                <a:cubicBezTo>
                  <a:pt x="3165" y="303"/>
                  <a:pt x="3163" y="299"/>
                  <a:pt x="3161" y="295"/>
                </a:cubicBezTo>
                <a:cubicBezTo>
                  <a:pt x="3159" y="292"/>
                  <a:pt x="3156" y="289"/>
                  <a:pt x="3152" y="288"/>
                </a:cubicBezTo>
                <a:cubicBezTo>
                  <a:pt x="3152" y="288"/>
                  <a:pt x="3152" y="288"/>
                  <a:pt x="3152" y="288"/>
                </a:cubicBezTo>
                <a:cubicBezTo>
                  <a:pt x="3152" y="287"/>
                  <a:pt x="3152" y="287"/>
                  <a:pt x="3152" y="286"/>
                </a:cubicBezTo>
                <a:cubicBezTo>
                  <a:pt x="3152" y="285"/>
                  <a:pt x="3153" y="281"/>
                  <a:pt x="3160" y="277"/>
                </a:cubicBezTo>
                <a:cubicBezTo>
                  <a:pt x="3175" y="267"/>
                  <a:pt x="3191" y="255"/>
                  <a:pt x="3206" y="253"/>
                </a:cubicBezTo>
                <a:cubicBezTo>
                  <a:pt x="3215" y="251"/>
                  <a:pt x="3231" y="250"/>
                  <a:pt x="3245" y="250"/>
                </a:cubicBezTo>
                <a:cubicBezTo>
                  <a:pt x="3257" y="250"/>
                  <a:pt x="3269" y="251"/>
                  <a:pt x="3273" y="253"/>
                </a:cubicBezTo>
                <a:cubicBezTo>
                  <a:pt x="3275" y="253"/>
                  <a:pt x="3277" y="253"/>
                  <a:pt x="3279" y="253"/>
                </a:cubicBezTo>
                <a:cubicBezTo>
                  <a:pt x="3288" y="253"/>
                  <a:pt x="3297" y="247"/>
                  <a:pt x="3304" y="241"/>
                </a:cubicBezTo>
                <a:cubicBezTo>
                  <a:pt x="3312" y="235"/>
                  <a:pt x="3318" y="228"/>
                  <a:pt x="3321" y="222"/>
                </a:cubicBezTo>
                <a:cubicBezTo>
                  <a:pt x="3322" y="220"/>
                  <a:pt x="3322" y="218"/>
                  <a:pt x="3322" y="216"/>
                </a:cubicBezTo>
                <a:cubicBezTo>
                  <a:pt x="3322" y="211"/>
                  <a:pt x="3319" y="207"/>
                  <a:pt x="3315" y="205"/>
                </a:cubicBezTo>
                <a:cubicBezTo>
                  <a:pt x="3311" y="203"/>
                  <a:pt x="3307" y="202"/>
                  <a:pt x="3302" y="202"/>
                </a:cubicBezTo>
                <a:cubicBezTo>
                  <a:pt x="3296" y="202"/>
                  <a:pt x="3289" y="204"/>
                  <a:pt x="3285" y="210"/>
                </a:cubicBezTo>
                <a:cubicBezTo>
                  <a:pt x="3285" y="213"/>
                  <a:pt x="3274" y="216"/>
                  <a:pt x="3263" y="216"/>
                </a:cubicBezTo>
                <a:cubicBezTo>
                  <a:pt x="3255" y="216"/>
                  <a:pt x="3247" y="214"/>
                  <a:pt x="3245" y="214"/>
                </a:cubicBezTo>
                <a:cubicBezTo>
                  <a:pt x="3243" y="213"/>
                  <a:pt x="3242" y="213"/>
                  <a:pt x="3240" y="213"/>
                </a:cubicBezTo>
                <a:cubicBezTo>
                  <a:pt x="3232" y="213"/>
                  <a:pt x="3217" y="216"/>
                  <a:pt x="3202" y="218"/>
                </a:cubicBezTo>
                <a:cubicBezTo>
                  <a:pt x="3188" y="221"/>
                  <a:pt x="3173" y="224"/>
                  <a:pt x="3169" y="224"/>
                </a:cubicBezTo>
                <a:cubicBezTo>
                  <a:pt x="3160" y="224"/>
                  <a:pt x="3155" y="230"/>
                  <a:pt x="3151" y="235"/>
                </a:cubicBezTo>
                <a:cubicBezTo>
                  <a:pt x="3146" y="241"/>
                  <a:pt x="3141" y="246"/>
                  <a:pt x="3134" y="250"/>
                </a:cubicBezTo>
                <a:cubicBezTo>
                  <a:pt x="3118" y="258"/>
                  <a:pt x="3096" y="270"/>
                  <a:pt x="3088" y="274"/>
                </a:cubicBezTo>
                <a:cubicBezTo>
                  <a:pt x="3080" y="279"/>
                  <a:pt x="3074" y="289"/>
                  <a:pt x="3073" y="299"/>
                </a:cubicBezTo>
                <a:cubicBezTo>
                  <a:pt x="3073" y="302"/>
                  <a:pt x="3075" y="307"/>
                  <a:pt x="3080" y="309"/>
                </a:cubicBezTo>
                <a:close/>
                <a:moveTo>
                  <a:pt x="969" y="199"/>
                </a:moveTo>
                <a:cubicBezTo>
                  <a:pt x="977" y="199"/>
                  <a:pt x="989" y="196"/>
                  <a:pt x="995" y="196"/>
                </a:cubicBezTo>
                <a:cubicBezTo>
                  <a:pt x="995" y="196"/>
                  <a:pt x="995" y="196"/>
                  <a:pt x="995" y="196"/>
                </a:cubicBezTo>
                <a:cubicBezTo>
                  <a:pt x="995" y="200"/>
                  <a:pt x="995" y="199"/>
                  <a:pt x="996" y="201"/>
                </a:cubicBezTo>
                <a:cubicBezTo>
                  <a:pt x="999" y="206"/>
                  <a:pt x="1003" y="208"/>
                  <a:pt x="1009" y="209"/>
                </a:cubicBezTo>
                <a:cubicBezTo>
                  <a:pt x="1019" y="210"/>
                  <a:pt x="1024" y="213"/>
                  <a:pt x="1031" y="213"/>
                </a:cubicBezTo>
                <a:cubicBezTo>
                  <a:pt x="1031" y="213"/>
                  <a:pt x="1032" y="213"/>
                  <a:pt x="1032" y="213"/>
                </a:cubicBezTo>
                <a:cubicBezTo>
                  <a:pt x="1035" y="213"/>
                  <a:pt x="1038" y="211"/>
                  <a:pt x="1039" y="209"/>
                </a:cubicBezTo>
                <a:cubicBezTo>
                  <a:pt x="1041" y="206"/>
                  <a:pt x="1041" y="204"/>
                  <a:pt x="1041" y="202"/>
                </a:cubicBezTo>
                <a:cubicBezTo>
                  <a:pt x="1041" y="195"/>
                  <a:pt x="1039" y="189"/>
                  <a:pt x="1035" y="183"/>
                </a:cubicBezTo>
                <a:cubicBezTo>
                  <a:pt x="1032" y="179"/>
                  <a:pt x="1031" y="177"/>
                  <a:pt x="1028" y="174"/>
                </a:cubicBezTo>
                <a:cubicBezTo>
                  <a:pt x="1024" y="172"/>
                  <a:pt x="1021" y="171"/>
                  <a:pt x="1014" y="169"/>
                </a:cubicBezTo>
                <a:cubicBezTo>
                  <a:pt x="1004" y="165"/>
                  <a:pt x="994" y="164"/>
                  <a:pt x="985" y="164"/>
                </a:cubicBezTo>
                <a:cubicBezTo>
                  <a:pt x="981" y="164"/>
                  <a:pt x="978" y="165"/>
                  <a:pt x="975" y="165"/>
                </a:cubicBezTo>
                <a:cubicBezTo>
                  <a:pt x="971" y="165"/>
                  <a:pt x="966" y="165"/>
                  <a:pt x="960" y="166"/>
                </a:cubicBezTo>
                <a:cubicBezTo>
                  <a:pt x="955" y="167"/>
                  <a:pt x="949" y="173"/>
                  <a:pt x="948" y="181"/>
                </a:cubicBezTo>
                <a:cubicBezTo>
                  <a:pt x="948" y="182"/>
                  <a:pt x="948" y="182"/>
                  <a:pt x="948" y="183"/>
                </a:cubicBezTo>
                <a:cubicBezTo>
                  <a:pt x="948" y="194"/>
                  <a:pt x="959" y="199"/>
                  <a:pt x="969" y="199"/>
                </a:cubicBezTo>
                <a:close/>
                <a:moveTo>
                  <a:pt x="1296" y="449"/>
                </a:moveTo>
                <a:cubicBezTo>
                  <a:pt x="1294" y="449"/>
                  <a:pt x="1292" y="449"/>
                  <a:pt x="1290" y="450"/>
                </a:cubicBezTo>
                <a:cubicBezTo>
                  <a:pt x="1290" y="450"/>
                  <a:pt x="1290" y="450"/>
                  <a:pt x="1290" y="450"/>
                </a:cubicBezTo>
                <a:cubicBezTo>
                  <a:pt x="1285" y="452"/>
                  <a:pt x="1281" y="455"/>
                  <a:pt x="1281" y="461"/>
                </a:cubicBezTo>
                <a:cubicBezTo>
                  <a:pt x="1282" y="470"/>
                  <a:pt x="1289" y="473"/>
                  <a:pt x="1296" y="474"/>
                </a:cubicBezTo>
                <a:cubicBezTo>
                  <a:pt x="1298" y="474"/>
                  <a:pt x="1300" y="473"/>
                  <a:pt x="1302" y="472"/>
                </a:cubicBezTo>
                <a:cubicBezTo>
                  <a:pt x="1306" y="470"/>
                  <a:pt x="1309" y="466"/>
                  <a:pt x="1309" y="461"/>
                </a:cubicBezTo>
                <a:cubicBezTo>
                  <a:pt x="1309" y="458"/>
                  <a:pt x="1308" y="455"/>
                  <a:pt x="1305" y="452"/>
                </a:cubicBezTo>
                <a:cubicBezTo>
                  <a:pt x="1303" y="450"/>
                  <a:pt x="1300" y="449"/>
                  <a:pt x="1296" y="449"/>
                </a:cubicBezTo>
                <a:close/>
                <a:moveTo>
                  <a:pt x="1480" y="1152"/>
                </a:move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71" y="1152"/>
                  <a:pt x="1469" y="1162"/>
                  <a:pt x="1469" y="1169"/>
                </a:cubicBezTo>
                <a:cubicBezTo>
                  <a:pt x="1469" y="1173"/>
                  <a:pt x="1470" y="1177"/>
                  <a:pt x="1472" y="1181"/>
                </a:cubicBezTo>
                <a:cubicBezTo>
                  <a:pt x="1474" y="1184"/>
                  <a:pt x="1478" y="1188"/>
                  <a:pt x="1483" y="1188"/>
                </a:cubicBezTo>
                <a:cubicBezTo>
                  <a:pt x="1483" y="1188"/>
                  <a:pt x="1483" y="1188"/>
                  <a:pt x="1483" y="1188"/>
                </a:cubicBezTo>
                <a:cubicBezTo>
                  <a:pt x="1485" y="1188"/>
                  <a:pt x="1486" y="1187"/>
                  <a:pt x="1488" y="1186"/>
                </a:cubicBezTo>
                <a:cubicBezTo>
                  <a:pt x="1495" y="1184"/>
                  <a:pt x="1499" y="1176"/>
                  <a:pt x="1499" y="1170"/>
                </a:cubicBezTo>
                <a:cubicBezTo>
                  <a:pt x="1499" y="1162"/>
                  <a:pt x="1494" y="1152"/>
                  <a:pt x="1483" y="1152"/>
                </a:cubicBezTo>
                <a:cubicBezTo>
                  <a:pt x="1482" y="1152"/>
                  <a:pt x="1481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ubicBezTo>
                  <a:pt x="1480" y="1152"/>
                  <a:pt x="1480" y="1152"/>
                  <a:pt x="1480" y="1152"/>
                </a:cubicBezTo>
                <a:close/>
                <a:moveTo>
                  <a:pt x="54" y="612"/>
                </a:moveTo>
                <a:cubicBezTo>
                  <a:pt x="51" y="611"/>
                  <a:pt x="38" y="605"/>
                  <a:pt x="38" y="605"/>
                </a:cubicBezTo>
                <a:cubicBezTo>
                  <a:pt x="37" y="605"/>
                  <a:pt x="37" y="605"/>
                  <a:pt x="37" y="605"/>
                </a:cubicBezTo>
                <a:cubicBezTo>
                  <a:pt x="33" y="604"/>
                  <a:pt x="30" y="604"/>
                  <a:pt x="26" y="604"/>
                </a:cubicBezTo>
                <a:cubicBezTo>
                  <a:pt x="21" y="604"/>
                  <a:pt x="16" y="605"/>
                  <a:pt x="12" y="606"/>
                </a:cubicBezTo>
                <a:cubicBezTo>
                  <a:pt x="7" y="607"/>
                  <a:pt x="3" y="609"/>
                  <a:pt x="0" y="614"/>
                </a:cubicBezTo>
                <a:cubicBezTo>
                  <a:pt x="0" y="615"/>
                  <a:pt x="0" y="616"/>
                  <a:pt x="0" y="617"/>
                </a:cubicBezTo>
                <a:cubicBezTo>
                  <a:pt x="0" y="622"/>
                  <a:pt x="2" y="624"/>
                  <a:pt x="4" y="626"/>
                </a:cubicBezTo>
                <a:cubicBezTo>
                  <a:pt x="11" y="630"/>
                  <a:pt x="20" y="632"/>
                  <a:pt x="28" y="632"/>
                </a:cubicBezTo>
                <a:cubicBezTo>
                  <a:pt x="33" y="632"/>
                  <a:pt x="40" y="630"/>
                  <a:pt x="45" y="628"/>
                </a:cubicBezTo>
                <a:cubicBezTo>
                  <a:pt x="48" y="627"/>
                  <a:pt x="50" y="627"/>
                  <a:pt x="53" y="626"/>
                </a:cubicBezTo>
                <a:cubicBezTo>
                  <a:pt x="54" y="625"/>
                  <a:pt x="54" y="624"/>
                  <a:pt x="55" y="624"/>
                </a:cubicBezTo>
                <a:cubicBezTo>
                  <a:pt x="56" y="623"/>
                  <a:pt x="58" y="622"/>
                  <a:pt x="59" y="618"/>
                </a:cubicBezTo>
                <a:cubicBezTo>
                  <a:pt x="59" y="614"/>
                  <a:pt x="55" y="612"/>
                  <a:pt x="54" y="612"/>
                </a:cubicBezTo>
                <a:close/>
                <a:moveTo>
                  <a:pt x="1421" y="1133"/>
                </a:moveTo>
                <a:cubicBezTo>
                  <a:pt x="1413" y="1133"/>
                  <a:pt x="1406" y="1135"/>
                  <a:pt x="1402" y="1135"/>
                </a:cubicBezTo>
                <a:cubicBezTo>
                  <a:pt x="1395" y="1137"/>
                  <a:pt x="1389" y="1143"/>
                  <a:pt x="1383" y="1148"/>
                </a:cubicBezTo>
                <a:cubicBezTo>
                  <a:pt x="1377" y="1154"/>
                  <a:pt x="1372" y="1159"/>
                  <a:pt x="1372" y="1159"/>
                </a:cubicBezTo>
                <a:cubicBezTo>
                  <a:pt x="1371" y="1161"/>
                  <a:pt x="1370" y="1163"/>
                  <a:pt x="1371" y="1165"/>
                </a:cubicBezTo>
                <a:cubicBezTo>
                  <a:pt x="1371" y="1167"/>
                  <a:pt x="1373" y="1169"/>
                  <a:pt x="1375" y="1169"/>
                </a:cubicBezTo>
                <a:cubicBezTo>
                  <a:pt x="1376" y="1169"/>
                  <a:pt x="1388" y="1172"/>
                  <a:pt x="1397" y="1172"/>
                </a:cubicBezTo>
                <a:cubicBezTo>
                  <a:pt x="1402" y="1172"/>
                  <a:pt x="1406" y="1176"/>
                  <a:pt x="1414" y="1181"/>
                </a:cubicBezTo>
                <a:cubicBezTo>
                  <a:pt x="1416" y="1182"/>
                  <a:pt x="1419" y="1183"/>
                  <a:pt x="1421" y="1183"/>
                </a:cubicBezTo>
                <a:cubicBezTo>
                  <a:pt x="1426" y="1183"/>
                  <a:pt x="1431" y="1181"/>
                  <a:pt x="1435" y="1179"/>
                </a:cubicBezTo>
                <a:cubicBezTo>
                  <a:pt x="1437" y="1178"/>
                  <a:pt x="1438" y="1178"/>
                  <a:pt x="1440" y="1177"/>
                </a:cubicBezTo>
                <a:cubicBezTo>
                  <a:pt x="1440" y="1177"/>
                  <a:pt x="1440" y="1177"/>
                  <a:pt x="1440" y="1177"/>
                </a:cubicBezTo>
                <a:cubicBezTo>
                  <a:pt x="1441" y="1177"/>
                  <a:pt x="1441" y="1178"/>
                  <a:pt x="1442" y="1179"/>
                </a:cubicBezTo>
                <a:cubicBezTo>
                  <a:pt x="1444" y="1180"/>
                  <a:pt x="1444" y="1183"/>
                  <a:pt x="1450" y="1183"/>
                </a:cubicBezTo>
                <a:cubicBezTo>
                  <a:pt x="1454" y="1183"/>
                  <a:pt x="1457" y="1179"/>
                  <a:pt x="1457" y="1178"/>
                </a:cubicBezTo>
                <a:cubicBezTo>
                  <a:pt x="1458" y="1175"/>
                  <a:pt x="1458" y="1173"/>
                  <a:pt x="1459" y="1169"/>
                </a:cubicBezTo>
                <a:cubicBezTo>
                  <a:pt x="1459" y="1169"/>
                  <a:pt x="1459" y="1168"/>
                  <a:pt x="1459" y="1167"/>
                </a:cubicBezTo>
                <a:cubicBezTo>
                  <a:pt x="1458" y="1146"/>
                  <a:pt x="1441" y="1137"/>
                  <a:pt x="1431" y="1134"/>
                </a:cubicBezTo>
                <a:cubicBezTo>
                  <a:pt x="1428" y="1133"/>
                  <a:pt x="1424" y="1133"/>
                  <a:pt x="1421" y="1133"/>
                </a:cubicBezTo>
                <a:close/>
                <a:moveTo>
                  <a:pt x="128" y="575"/>
                </a:moveTo>
                <a:cubicBezTo>
                  <a:pt x="128" y="575"/>
                  <a:pt x="128" y="575"/>
                  <a:pt x="128" y="575"/>
                </a:cubicBezTo>
                <a:cubicBezTo>
                  <a:pt x="124" y="574"/>
                  <a:pt x="124" y="574"/>
                  <a:pt x="122" y="574"/>
                </a:cubicBezTo>
                <a:cubicBezTo>
                  <a:pt x="118" y="573"/>
                  <a:pt x="114" y="577"/>
                  <a:pt x="113" y="580"/>
                </a:cubicBezTo>
                <a:cubicBezTo>
                  <a:pt x="111" y="584"/>
                  <a:pt x="110" y="588"/>
                  <a:pt x="109" y="591"/>
                </a:cubicBezTo>
                <a:cubicBezTo>
                  <a:pt x="108" y="594"/>
                  <a:pt x="107" y="595"/>
                  <a:pt x="106" y="595"/>
                </a:cubicBezTo>
                <a:cubicBezTo>
                  <a:pt x="101" y="596"/>
                  <a:pt x="96" y="598"/>
                  <a:pt x="92" y="600"/>
                </a:cubicBezTo>
                <a:cubicBezTo>
                  <a:pt x="90" y="601"/>
                  <a:pt x="88" y="602"/>
                  <a:pt x="86" y="604"/>
                </a:cubicBezTo>
                <a:cubicBezTo>
                  <a:pt x="85" y="605"/>
                  <a:pt x="82" y="607"/>
                  <a:pt x="82" y="611"/>
                </a:cubicBezTo>
                <a:cubicBezTo>
                  <a:pt x="82" y="613"/>
                  <a:pt x="84" y="616"/>
                  <a:pt x="85" y="617"/>
                </a:cubicBezTo>
                <a:cubicBezTo>
                  <a:pt x="87" y="618"/>
                  <a:pt x="88" y="619"/>
                  <a:pt x="89" y="619"/>
                </a:cubicBezTo>
                <a:cubicBezTo>
                  <a:pt x="92" y="620"/>
                  <a:pt x="96" y="620"/>
                  <a:pt x="99" y="620"/>
                </a:cubicBezTo>
                <a:cubicBezTo>
                  <a:pt x="104" y="620"/>
                  <a:pt x="110" y="620"/>
                  <a:pt x="116" y="618"/>
                </a:cubicBezTo>
                <a:cubicBezTo>
                  <a:pt x="121" y="616"/>
                  <a:pt x="125" y="616"/>
                  <a:pt x="129" y="611"/>
                </a:cubicBezTo>
                <a:cubicBezTo>
                  <a:pt x="130" y="608"/>
                  <a:pt x="131" y="605"/>
                  <a:pt x="131" y="601"/>
                </a:cubicBezTo>
                <a:cubicBezTo>
                  <a:pt x="132" y="597"/>
                  <a:pt x="132" y="592"/>
                  <a:pt x="132" y="588"/>
                </a:cubicBezTo>
                <a:cubicBezTo>
                  <a:pt x="132" y="586"/>
                  <a:pt x="133" y="584"/>
                  <a:pt x="132" y="582"/>
                </a:cubicBezTo>
                <a:cubicBezTo>
                  <a:pt x="132" y="580"/>
                  <a:pt x="132" y="577"/>
                  <a:pt x="128" y="575"/>
                </a:cubicBezTo>
                <a:close/>
                <a:moveTo>
                  <a:pt x="1894" y="1537"/>
                </a:moveTo>
                <a:cubicBezTo>
                  <a:pt x="1894" y="1537"/>
                  <a:pt x="1894" y="1537"/>
                  <a:pt x="1894" y="1537"/>
                </a:cubicBezTo>
                <a:cubicBezTo>
                  <a:pt x="1884" y="1532"/>
                  <a:pt x="1868" y="1530"/>
                  <a:pt x="1864" y="1523"/>
                </a:cubicBezTo>
                <a:cubicBezTo>
                  <a:pt x="1860" y="1517"/>
                  <a:pt x="1854" y="1511"/>
                  <a:pt x="1847" y="1507"/>
                </a:cubicBezTo>
                <a:cubicBezTo>
                  <a:pt x="1841" y="1503"/>
                  <a:pt x="1834" y="1500"/>
                  <a:pt x="1828" y="1500"/>
                </a:cubicBezTo>
                <a:cubicBezTo>
                  <a:pt x="1826" y="1500"/>
                  <a:pt x="1825" y="1500"/>
                  <a:pt x="1823" y="1501"/>
                </a:cubicBezTo>
                <a:cubicBezTo>
                  <a:pt x="1820" y="1502"/>
                  <a:pt x="1816" y="1504"/>
                  <a:pt x="1811" y="1504"/>
                </a:cubicBezTo>
                <a:cubicBezTo>
                  <a:pt x="1808" y="1504"/>
                  <a:pt x="1804" y="1503"/>
                  <a:pt x="1801" y="1500"/>
                </a:cubicBezTo>
                <a:cubicBezTo>
                  <a:pt x="1792" y="1493"/>
                  <a:pt x="1777" y="1485"/>
                  <a:pt x="1772" y="1480"/>
                </a:cubicBezTo>
                <a:cubicBezTo>
                  <a:pt x="1764" y="1473"/>
                  <a:pt x="1749" y="1469"/>
                  <a:pt x="1740" y="1469"/>
                </a:cubicBezTo>
                <a:cubicBezTo>
                  <a:pt x="1739" y="1469"/>
                  <a:pt x="1739" y="1468"/>
                  <a:pt x="1734" y="1468"/>
                </a:cubicBezTo>
                <a:cubicBezTo>
                  <a:pt x="1732" y="1468"/>
                  <a:pt x="1730" y="1469"/>
                  <a:pt x="1728" y="1470"/>
                </a:cubicBezTo>
                <a:cubicBezTo>
                  <a:pt x="1728" y="1466"/>
                  <a:pt x="1726" y="1463"/>
                  <a:pt x="1723" y="1460"/>
                </a:cubicBezTo>
                <a:cubicBezTo>
                  <a:pt x="1720" y="1457"/>
                  <a:pt x="1715" y="1456"/>
                  <a:pt x="1711" y="1456"/>
                </a:cubicBezTo>
                <a:cubicBezTo>
                  <a:pt x="1711" y="1456"/>
                  <a:pt x="1710" y="1456"/>
                  <a:pt x="1710" y="1456"/>
                </a:cubicBezTo>
                <a:cubicBezTo>
                  <a:pt x="1712" y="1453"/>
                  <a:pt x="1715" y="1451"/>
                  <a:pt x="1715" y="1446"/>
                </a:cubicBezTo>
                <a:cubicBezTo>
                  <a:pt x="1715" y="1442"/>
                  <a:pt x="1715" y="1437"/>
                  <a:pt x="1712" y="1431"/>
                </a:cubicBezTo>
                <a:cubicBezTo>
                  <a:pt x="1711" y="1426"/>
                  <a:pt x="1706" y="1419"/>
                  <a:pt x="1698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7" y="1419"/>
                  <a:pt x="1697" y="1419"/>
                  <a:pt x="1697" y="1419"/>
                </a:cubicBezTo>
                <a:cubicBezTo>
                  <a:pt x="1695" y="1417"/>
                  <a:pt x="1693" y="1404"/>
                  <a:pt x="1682" y="1390"/>
                </a:cubicBezTo>
                <a:cubicBezTo>
                  <a:pt x="1669" y="1373"/>
                  <a:pt x="1653" y="1361"/>
                  <a:pt x="1636" y="1361"/>
                </a:cubicBezTo>
                <a:cubicBezTo>
                  <a:pt x="1635" y="1361"/>
                  <a:pt x="1633" y="1361"/>
                  <a:pt x="1631" y="1362"/>
                </a:cubicBezTo>
                <a:cubicBezTo>
                  <a:pt x="1625" y="1363"/>
                  <a:pt x="1619" y="1364"/>
                  <a:pt x="1616" y="1364"/>
                </a:cubicBezTo>
                <a:cubicBezTo>
                  <a:pt x="1612" y="1364"/>
                  <a:pt x="1610" y="1364"/>
                  <a:pt x="1606" y="1357"/>
                </a:cubicBezTo>
                <a:cubicBezTo>
                  <a:pt x="1599" y="1340"/>
                  <a:pt x="1590" y="1336"/>
                  <a:pt x="1587" y="1330"/>
                </a:cubicBezTo>
                <a:cubicBezTo>
                  <a:pt x="1584" y="1325"/>
                  <a:pt x="1578" y="1323"/>
                  <a:pt x="1574" y="1323"/>
                </a:cubicBezTo>
                <a:cubicBezTo>
                  <a:pt x="1570" y="1323"/>
                  <a:pt x="1567" y="1324"/>
                  <a:pt x="1566" y="1324"/>
                </a:cubicBezTo>
                <a:cubicBezTo>
                  <a:pt x="1563" y="1321"/>
                  <a:pt x="1563" y="1321"/>
                  <a:pt x="1563" y="1321"/>
                </a:cubicBezTo>
                <a:cubicBezTo>
                  <a:pt x="1562" y="1319"/>
                  <a:pt x="1559" y="1318"/>
                  <a:pt x="1557" y="1319"/>
                </a:cubicBezTo>
                <a:cubicBezTo>
                  <a:pt x="1564" y="1308"/>
                  <a:pt x="1567" y="1294"/>
                  <a:pt x="1567" y="1285"/>
                </a:cubicBezTo>
                <a:cubicBezTo>
                  <a:pt x="1567" y="1284"/>
                  <a:pt x="1567" y="1283"/>
                  <a:pt x="1566" y="1281"/>
                </a:cubicBezTo>
                <a:cubicBezTo>
                  <a:pt x="1566" y="1280"/>
                  <a:pt x="1566" y="1279"/>
                  <a:pt x="1565" y="1278"/>
                </a:cubicBezTo>
                <a:cubicBezTo>
                  <a:pt x="1564" y="1277"/>
                  <a:pt x="1562" y="1276"/>
                  <a:pt x="1560" y="1276"/>
                </a:cubicBezTo>
                <a:cubicBezTo>
                  <a:pt x="1559" y="1276"/>
                  <a:pt x="1558" y="1276"/>
                  <a:pt x="1557" y="1277"/>
                </a:cubicBezTo>
                <a:cubicBezTo>
                  <a:pt x="1557" y="1277"/>
                  <a:pt x="1557" y="1277"/>
                  <a:pt x="1557" y="1277"/>
                </a:cubicBezTo>
                <a:cubicBezTo>
                  <a:pt x="1553" y="1279"/>
                  <a:pt x="1553" y="1281"/>
                  <a:pt x="1551" y="1283"/>
                </a:cubicBezTo>
                <a:cubicBezTo>
                  <a:pt x="1550" y="1286"/>
                  <a:pt x="1548" y="1290"/>
                  <a:pt x="1546" y="1292"/>
                </a:cubicBezTo>
                <a:cubicBezTo>
                  <a:pt x="1546" y="1293"/>
                  <a:pt x="1545" y="1293"/>
                  <a:pt x="1545" y="1294"/>
                </a:cubicBezTo>
                <a:cubicBezTo>
                  <a:pt x="1544" y="1291"/>
                  <a:pt x="1541" y="1288"/>
                  <a:pt x="1535" y="1284"/>
                </a:cubicBezTo>
                <a:cubicBezTo>
                  <a:pt x="1530" y="1280"/>
                  <a:pt x="1525" y="1279"/>
                  <a:pt x="1519" y="1279"/>
                </a:cubicBezTo>
                <a:cubicBezTo>
                  <a:pt x="1514" y="1279"/>
                  <a:pt x="1509" y="1280"/>
                  <a:pt x="1504" y="1283"/>
                </a:cubicBezTo>
                <a:cubicBezTo>
                  <a:pt x="1500" y="1285"/>
                  <a:pt x="1496" y="1288"/>
                  <a:pt x="1496" y="1294"/>
                </a:cubicBezTo>
                <a:cubicBezTo>
                  <a:pt x="1496" y="1294"/>
                  <a:pt x="1496" y="1294"/>
                  <a:pt x="1496" y="1294"/>
                </a:cubicBezTo>
                <a:cubicBezTo>
                  <a:pt x="1496" y="1294"/>
                  <a:pt x="1495" y="1293"/>
                  <a:pt x="1495" y="1292"/>
                </a:cubicBezTo>
                <a:cubicBezTo>
                  <a:pt x="1491" y="1284"/>
                  <a:pt x="1483" y="1281"/>
                  <a:pt x="1476" y="1281"/>
                </a:cubicBezTo>
                <a:cubicBezTo>
                  <a:pt x="1470" y="1281"/>
                  <a:pt x="1464" y="1283"/>
                  <a:pt x="1459" y="1287"/>
                </a:cubicBezTo>
                <a:cubicBezTo>
                  <a:pt x="1458" y="1285"/>
                  <a:pt x="1456" y="1282"/>
                  <a:pt x="1455" y="1279"/>
                </a:cubicBezTo>
                <a:cubicBezTo>
                  <a:pt x="1454" y="1276"/>
                  <a:pt x="1453" y="1274"/>
                  <a:pt x="1452" y="1272"/>
                </a:cubicBezTo>
                <a:cubicBezTo>
                  <a:pt x="1450" y="1270"/>
                  <a:pt x="1449" y="1267"/>
                  <a:pt x="1443" y="1266"/>
                </a:cubicBezTo>
                <a:cubicBezTo>
                  <a:pt x="1434" y="1267"/>
                  <a:pt x="1422" y="1275"/>
                  <a:pt x="1415" y="1289"/>
                </a:cubicBezTo>
                <a:cubicBezTo>
                  <a:pt x="1414" y="1290"/>
                  <a:pt x="1414" y="1292"/>
                  <a:pt x="1413" y="1293"/>
                </a:cubicBezTo>
                <a:cubicBezTo>
                  <a:pt x="1413" y="1291"/>
                  <a:pt x="1413" y="1289"/>
                  <a:pt x="1414" y="1288"/>
                </a:cubicBezTo>
                <a:cubicBezTo>
                  <a:pt x="1414" y="1287"/>
                  <a:pt x="1415" y="1283"/>
                  <a:pt x="1417" y="1280"/>
                </a:cubicBezTo>
                <a:cubicBezTo>
                  <a:pt x="1419" y="1276"/>
                  <a:pt x="1421" y="1272"/>
                  <a:pt x="1422" y="1267"/>
                </a:cubicBezTo>
                <a:cubicBezTo>
                  <a:pt x="1422" y="1263"/>
                  <a:pt x="1418" y="1258"/>
                  <a:pt x="1414" y="1257"/>
                </a:cubicBezTo>
                <a:cubicBezTo>
                  <a:pt x="1413" y="1257"/>
                  <a:pt x="1411" y="1256"/>
                  <a:pt x="1410" y="1256"/>
                </a:cubicBezTo>
                <a:cubicBezTo>
                  <a:pt x="1402" y="1257"/>
                  <a:pt x="1397" y="1261"/>
                  <a:pt x="1392" y="1265"/>
                </a:cubicBezTo>
                <a:cubicBezTo>
                  <a:pt x="1389" y="1267"/>
                  <a:pt x="1387" y="1269"/>
                  <a:pt x="1385" y="1270"/>
                </a:cubicBezTo>
                <a:cubicBezTo>
                  <a:pt x="1384" y="1271"/>
                  <a:pt x="1383" y="1271"/>
                  <a:pt x="1383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82" y="1272"/>
                  <a:pt x="1382" y="1272"/>
                  <a:pt x="1382" y="1272"/>
                </a:cubicBezTo>
                <a:cubicBezTo>
                  <a:pt x="1373" y="1275"/>
                  <a:pt x="1362" y="1284"/>
                  <a:pt x="1354" y="1297"/>
                </a:cubicBezTo>
                <a:cubicBezTo>
                  <a:pt x="1347" y="1308"/>
                  <a:pt x="1344" y="1314"/>
                  <a:pt x="1339" y="1317"/>
                </a:cubicBezTo>
                <a:cubicBezTo>
                  <a:pt x="1338" y="1317"/>
                  <a:pt x="1336" y="1318"/>
                  <a:pt x="1335" y="1318"/>
                </a:cubicBezTo>
                <a:cubicBezTo>
                  <a:pt x="1334" y="1318"/>
                  <a:pt x="1332" y="1318"/>
                  <a:pt x="1332" y="1317"/>
                </a:cubicBezTo>
                <a:cubicBezTo>
                  <a:pt x="1332" y="1317"/>
                  <a:pt x="1332" y="1317"/>
                  <a:pt x="1332" y="1317"/>
                </a:cubicBezTo>
                <a:cubicBezTo>
                  <a:pt x="1332" y="1313"/>
                  <a:pt x="1330" y="1311"/>
                  <a:pt x="1329" y="1309"/>
                </a:cubicBezTo>
                <a:cubicBezTo>
                  <a:pt x="1323" y="1303"/>
                  <a:pt x="1315" y="1297"/>
                  <a:pt x="1306" y="1297"/>
                </a:cubicBezTo>
                <a:cubicBezTo>
                  <a:pt x="1304" y="1297"/>
                  <a:pt x="1301" y="1298"/>
                  <a:pt x="1299" y="1301"/>
                </a:cubicBezTo>
                <a:cubicBezTo>
                  <a:pt x="1298" y="1303"/>
                  <a:pt x="1288" y="1308"/>
                  <a:pt x="1277" y="1314"/>
                </a:cubicBezTo>
                <a:cubicBezTo>
                  <a:pt x="1276" y="1314"/>
                  <a:pt x="1275" y="1315"/>
                  <a:pt x="1275" y="1315"/>
                </a:cubicBezTo>
                <a:cubicBezTo>
                  <a:pt x="1271" y="1315"/>
                  <a:pt x="1265" y="1308"/>
                  <a:pt x="1264" y="1304"/>
                </a:cubicBezTo>
                <a:cubicBezTo>
                  <a:pt x="1260" y="1296"/>
                  <a:pt x="1257" y="1299"/>
                  <a:pt x="1256" y="1282"/>
                </a:cubicBezTo>
                <a:cubicBezTo>
                  <a:pt x="1256" y="1279"/>
                  <a:pt x="1256" y="1277"/>
                  <a:pt x="1256" y="1275"/>
                </a:cubicBezTo>
                <a:cubicBezTo>
                  <a:pt x="1256" y="1260"/>
                  <a:pt x="1259" y="1244"/>
                  <a:pt x="1261" y="1236"/>
                </a:cubicBezTo>
                <a:cubicBezTo>
                  <a:pt x="1262" y="1234"/>
                  <a:pt x="1262" y="1232"/>
                  <a:pt x="1262" y="1231"/>
                </a:cubicBezTo>
                <a:cubicBezTo>
                  <a:pt x="1262" y="1223"/>
                  <a:pt x="1257" y="1215"/>
                  <a:pt x="1251" y="1208"/>
                </a:cubicBezTo>
                <a:cubicBezTo>
                  <a:pt x="1245" y="1202"/>
                  <a:pt x="1239" y="1196"/>
                  <a:pt x="1231" y="1196"/>
                </a:cubicBezTo>
                <a:cubicBezTo>
                  <a:pt x="1231" y="1196"/>
                  <a:pt x="1230" y="1196"/>
                  <a:pt x="1229" y="1196"/>
                </a:cubicBezTo>
                <a:cubicBezTo>
                  <a:pt x="1224" y="1197"/>
                  <a:pt x="1220" y="1200"/>
                  <a:pt x="1216" y="1202"/>
                </a:cubicBezTo>
                <a:cubicBezTo>
                  <a:pt x="1212" y="1205"/>
                  <a:pt x="1209" y="1206"/>
                  <a:pt x="1208" y="1206"/>
                </a:cubicBezTo>
                <a:cubicBezTo>
                  <a:pt x="1208" y="1206"/>
                  <a:pt x="1207" y="1206"/>
                  <a:pt x="1207" y="1206"/>
                </a:cubicBezTo>
                <a:cubicBezTo>
                  <a:pt x="1204" y="1205"/>
                  <a:pt x="1205" y="1205"/>
                  <a:pt x="1202" y="1204"/>
                </a:cubicBezTo>
                <a:cubicBezTo>
                  <a:pt x="1200" y="1203"/>
                  <a:pt x="1197" y="1202"/>
                  <a:pt x="1192" y="1202"/>
                </a:cubicBezTo>
                <a:cubicBezTo>
                  <a:pt x="1193" y="1199"/>
                  <a:pt x="1194" y="1197"/>
                  <a:pt x="1195" y="1194"/>
                </a:cubicBezTo>
                <a:cubicBezTo>
                  <a:pt x="1195" y="1191"/>
                  <a:pt x="1196" y="1188"/>
                  <a:pt x="1196" y="1186"/>
                </a:cubicBezTo>
                <a:cubicBezTo>
                  <a:pt x="1196" y="1181"/>
                  <a:pt x="1195" y="1177"/>
                  <a:pt x="1195" y="1173"/>
                </a:cubicBezTo>
                <a:cubicBezTo>
                  <a:pt x="1195" y="1166"/>
                  <a:pt x="1196" y="1161"/>
                  <a:pt x="1201" y="1157"/>
                </a:cubicBezTo>
                <a:cubicBezTo>
                  <a:pt x="1209" y="1150"/>
                  <a:pt x="1211" y="1141"/>
                  <a:pt x="1211" y="1132"/>
                </a:cubicBezTo>
                <a:cubicBezTo>
                  <a:pt x="1211" y="1127"/>
                  <a:pt x="1210" y="1122"/>
                  <a:pt x="1208" y="1117"/>
                </a:cubicBezTo>
                <a:cubicBezTo>
                  <a:pt x="1206" y="1113"/>
                  <a:pt x="1204" y="1109"/>
                  <a:pt x="1198" y="1108"/>
                </a:cubicBezTo>
                <a:cubicBezTo>
                  <a:pt x="1197" y="1108"/>
                  <a:pt x="1195" y="1108"/>
                  <a:pt x="1194" y="1108"/>
                </a:cubicBezTo>
                <a:cubicBezTo>
                  <a:pt x="1185" y="1108"/>
                  <a:pt x="1175" y="1111"/>
                  <a:pt x="1167" y="1111"/>
                </a:cubicBezTo>
                <a:cubicBezTo>
                  <a:pt x="1166" y="1111"/>
                  <a:pt x="1165" y="1111"/>
                  <a:pt x="1164" y="1111"/>
                </a:cubicBezTo>
                <a:cubicBezTo>
                  <a:pt x="1164" y="1110"/>
                  <a:pt x="1163" y="1110"/>
                  <a:pt x="1162" y="1110"/>
                </a:cubicBezTo>
                <a:cubicBezTo>
                  <a:pt x="1150" y="1111"/>
                  <a:pt x="1142" y="1121"/>
                  <a:pt x="1142" y="1133"/>
                </a:cubicBezTo>
                <a:cubicBezTo>
                  <a:pt x="1142" y="1135"/>
                  <a:pt x="1142" y="1138"/>
                  <a:pt x="1143" y="1140"/>
                </a:cubicBezTo>
                <a:cubicBezTo>
                  <a:pt x="1143" y="1142"/>
                  <a:pt x="1143" y="1143"/>
                  <a:pt x="1143" y="1144"/>
                </a:cubicBezTo>
                <a:cubicBezTo>
                  <a:pt x="1143" y="1147"/>
                  <a:pt x="1142" y="1149"/>
                  <a:pt x="1141" y="1151"/>
                </a:cubicBezTo>
                <a:cubicBezTo>
                  <a:pt x="1141" y="1151"/>
                  <a:pt x="1141" y="1151"/>
                  <a:pt x="1140" y="1152"/>
                </a:cubicBezTo>
                <a:cubicBezTo>
                  <a:pt x="1139" y="1150"/>
                  <a:pt x="1136" y="1148"/>
                  <a:pt x="1131" y="1148"/>
                </a:cubicBezTo>
                <a:cubicBezTo>
                  <a:pt x="1126" y="1148"/>
                  <a:pt x="1121" y="1151"/>
                  <a:pt x="1115" y="1156"/>
                </a:cubicBezTo>
                <a:cubicBezTo>
                  <a:pt x="1110" y="1160"/>
                  <a:pt x="1108" y="1161"/>
                  <a:pt x="1106" y="1161"/>
                </a:cubicBezTo>
                <a:cubicBezTo>
                  <a:pt x="1105" y="1161"/>
                  <a:pt x="1101" y="1159"/>
                  <a:pt x="1093" y="1151"/>
                </a:cubicBezTo>
                <a:cubicBezTo>
                  <a:pt x="1080" y="1138"/>
                  <a:pt x="1068" y="1127"/>
                  <a:pt x="1066" y="1110"/>
                </a:cubicBezTo>
                <a:cubicBezTo>
                  <a:pt x="1065" y="1101"/>
                  <a:pt x="1064" y="1091"/>
                  <a:pt x="1064" y="1083"/>
                </a:cubicBezTo>
                <a:cubicBezTo>
                  <a:pt x="1064" y="1075"/>
                  <a:pt x="1065" y="1068"/>
                  <a:pt x="1067" y="1064"/>
                </a:cubicBezTo>
                <a:cubicBezTo>
                  <a:pt x="1069" y="1058"/>
                  <a:pt x="1071" y="1051"/>
                  <a:pt x="1071" y="1044"/>
                </a:cubicBezTo>
                <a:cubicBezTo>
                  <a:pt x="1071" y="1040"/>
                  <a:pt x="1070" y="1036"/>
                  <a:pt x="1069" y="1032"/>
                </a:cubicBezTo>
                <a:cubicBezTo>
                  <a:pt x="1068" y="1029"/>
                  <a:pt x="1067" y="1027"/>
                  <a:pt x="1064" y="1025"/>
                </a:cubicBezTo>
                <a:cubicBezTo>
                  <a:pt x="1064" y="1025"/>
                  <a:pt x="1064" y="1024"/>
                  <a:pt x="1064" y="1024"/>
                </a:cubicBezTo>
                <a:cubicBezTo>
                  <a:pt x="1067" y="1021"/>
                  <a:pt x="1074" y="1016"/>
                  <a:pt x="1077" y="1015"/>
                </a:cubicBezTo>
                <a:cubicBezTo>
                  <a:pt x="1088" y="1010"/>
                  <a:pt x="1099" y="999"/>
                  <a:pt x="1104" y="991"/>
                </a:cubicBezTo>
                <a:cubicBezTo>
                  <a:pt x="1104" y="991"/>
                  <a:pt x="1108" y="990"/>
                  <a:pt x="1113" y="990"/>
                </a:cubicBezTo>
                <a:cubicBezTo>
                  <a:pt x="1116" y="990"/>
                  <a:pt x="1120" y="990"/>
                  <a:pt x="1125" y="990"/>
                </a:cubicBezTo>
                <a:cubicBezTo>
                  <a:pt x="1138" y="991"/>
                  <a:pt x="1136" y="990"/>
                  <a:pt x="1149" y="998"/>
                </a:cubicBezTo>
                <a:cubicBezTo>
                  <a:pt x="1153" y="1000"/>
                  <a:pt x="1156" y="1001"/>
                  <a:pt x="1160" y="1001"/>
                </a:cubicBezTo>
                <a:cubicBezTo>
                  <a:pt x="1166" y="1001"/>
                  <a:pt x="1170" y="997"/>
                  <a:pt x="1171" y="993"/>
                </a:cubicBezTo>
                <a:cubicBezTo>
                  <a:pt x="1173" y="990"/>
                  <a:pt x="1173" y="987"/>
                  <a:pt x="1173" y="984"/>
                </a:cubicBezTo>
                <a:cubicBezTo>
                  <a:pt x="1173" y="984"/>
                  <a:pt x="1174" y="979"/>
                  <a:pt x="1183" y="979"/>
                </a:cubicBezTo>
                <a:cubicBezTo>
                  <a:pt x="1183" y="979"/>
                  <a:pt x="1184" y="979"/>
                  <a:pt x="1185" y="979"/>
                </a:cubicBezTo>
                <a:cubicBezTo>
                  <a:pt x="1186" y="979"/>
                  <a:pt x="1188" y="979"/>
                  <a:pt x="1189" y="979"/>
                </a:cubicBezTo>
                <a:cubicBezTo>
                  <a:pt x="1200" y="979"/>
                  <a:pt x="1212" y="976"/>
                  <a:pt x="1217" y="977"/>
                </a:cubicBezTo>
                <a:cubicBezTo>
                  <a:pt x="1218" y="977"/>
                  <a:pt x="1218" y="977"/>
                  <a:pt x="1218" y="977"/>
                </a:cubicBezTo>
                <a:cubicBezTo>
                  <a:pt x="1219" y="978"/>
                  <a:pt x="1221" y="982"/>
                  <a:pt x="1223" y="985"/>
                </a:cubicBezTo>
                <a:cubicBezTo>
                  <a:pt x="1226" y="988"/>
                  <a:pt x="1229" y="993"/>
                  <a:pt x="1237" y="994"/>
                </a:cubicBezTo>
                <a:cubicBezTo>
                  <a:pt x="1239" y="994"/>
                  <a:pt x="1242" y="993"/>
                  <a:pt x="1243" y="992"/>
                </a:cubicBezTo>
                <a:cubicBezTo>
                  <a:pt x="1244" y="991"/>
                  <a:pt x="1245" y="991"/>
                  <a:pt x="1245" y="990"/>
                </a:cubicBezTo>
                <a:cubicBezTo>
                  <a:pt x="1246" y="998"/>
                  <a:pt x="1248" y="1009"/>
                  <a:pt x="1252" y="1018"/>
                </a:cubicBezTo>
                <a:cubicBezTo>
                  <a:pt x="1255" y="1027"/>
                  <a:pt x="1259" y="1036"/>
                  <a:pt x="1267" y="1040"/>
                </a:cubicBezTo>
                <a:cubicBezTo>
                  <a:pt x="1269" y="1040"/>
                  <a:pt x="1270" y="1042"/>
                  <a:pt x="1271" y="1047"/>
                </a:cubicBezTo>
                <a:cubicBezTo>
                  <a:pt x="1272" y="1050"/>
                  <a:pt x="1272" y="1053"/>
                  <a:pt x="1274" y="1056"/>
                </a:cubicBezTo>
                <a:cubicBezTo>
                  <a:pt x="1276" y="1059"/>
                  <a:pt x="1279" y="1062"/>
                  <a:pt x="1284" y="1062"/>
                </a:cubicBezTo>
                <a:cubicBezTo>
                  <a:pt x="1284" y="1062"/>
                  <a:pt x="1285" y="1062"/>
                  <a:pt x="1285" y="1062"/>
                </a:cubicBezTo>
                <a:cubicBezTo>
                  <a:pt x="1289" y="1062"/>
                  <a:pt x="1293" y="1060"/>
                  <a:pt x="1295" y="1057"/>
                </a:cubicBezTo>
                <a:cubicBezTo>
                  <a:pt x="1301" y="1050"/>
                  <a:pt x="1303" y="1038"/>
                  <a:pt x="1303" y="1029"/>
                </a:cubicBezTo>
                <a:cubicBezTo>
                  <a:pt x="1303" y="1025"/>
                  <a:pt x="1303" y="1021"/>
                  <a:pt x="1302" y="1018"/>
                </a:cubicBezTo>
                <a:cubicBezTo>
                  <a:pt x="1300" y="1014"/>
                  <a:pt x="1298" y="1004"/>
                  <a:pt x="1295" y="994"/>
                </a:cubicBezTo>
                <a:cubicBezTo>
                  <a:pt x="1292" y="985"/>
                  <a:pt x="1289" y="976"/>
                  <a:pt x="1285" y="971"/>
                </a:cubicBezTo>
                <a:cubicBezTo>
                  <a:pt x="1283" y="969"/>
                  <a:pt x="1282" y="966"/>
                  <a:pt x="1282" y="962"/>
                </a:cubicBezTo>
                <a:cubicBezTo>
                  <a:pt x="1282" y="956"/>
                  <a:pt x="1284" y="951"/>
                  <a:pt x="1288" y="950"/>
                </a:cubicBezTo>
                <a:cubicBezTo>
                  <a:pt x="1296" y="946"/>
                  <a:pt x="1305" y="938"/>
                  <a:pt x="1315" y="929"/>
                </a:cubicBezTo>
                <a:cubicBezTo>
                  <a:pt x="1324" y="920"/>
                  <a:pt x="1333" y="911"/>
                  <a:pt x="1337" y="907"/>
                </a:cubicBezTo>
                <a:cubicBezTo>
                  <a:pt x="1340" y="905"/>
                  <a:pt x="1345" y="901"/>
                  <a:pt x="1351" y="898"/>
                </a:cubicBezTo>
                <a:cubicBezTo>
                  <a:pt x="1356" y="894"/>
                  <a:pt x="1363" y="890"/>
                  <a:pt x="1363" y="881"/>
                </a:cubicBezTo>
                <a:cubicBezTo>
                  <a:pt x="1363" y="878"/>
                  <a:pt x="1362" y="876"/>
                  <a:pt x="1361" y="873"/>
                </a:cubicBezTo>
                <a:cubicBezTo>
                  <a:pt x="1356" y="865"/>
                  <a:pt x="1354" y="860"/>
                  <a:pt x="1353" y="855"/>
                </a:cubicBezTo>
                <a:cubicBezTo>
                  <a:pt x="1355" y="857"/>
                  <a:pt x="1357" y="858"/>
                  <a:pt x="1359" y="858"/>
                </a:cubicBezTo>
                <a:cubicBezTo>
                  <a:pt x="1365" y="857"/>
                  <a:pt x="1368" y="854"/>
                  <a:pt x="1371" y="851"/>
                </a:cubicBezTo>
                <a:cubicBezTo>
                  <a:pt x="1375" y="847"/>
                  <a:pt x="1377" y="843"/>
                  <a:pt x="1377" y="838"/>
                </a:cubicBezTo>
                <a:cubicBezTo>
                  <a:pt x="1377" y="836"/>
                  <a:pt x="1377" y="834"/>
                  <a:pt x="1376" y="833"/>
                </a:cubicBezTo>
                <a:cubicBezTo>
                  <a:pt x="1375" y="831"/>
                  <a:pt x="1375" y="829"/>
                  <a:pt x="1375" y="828"/>
                </a:cubicBezTo>
                <a:cubicBezTo>
                  <a:pt x="1375" y="827"/>
                  <a:pt x="1375" y="826"/>
                  <a:pt x="1375" y="826"/>
                </a:cubicBezTo>
                <a:cubicBezTo>
                  <a:pt x="1375" y="826"/>
                  <a:pt x="1375" y="826"/>
                  <a:pt x="1376" y="826"/>
                </a:cubicBezTo>
                <a:cubicBezTo>
                  <a:pt x="1376" y="826"/>
                  <a:pt x="1377" y="826"/>
                  <a:pt x="1378" y="826"/>
                </a:cubicBezTo>
                <a:cubicBezTo>
                  <a:pt x="1382" y="826"/>
                  <a:pt x="1386" y="825"/>
                  <a:pt x="1388" y="822"/>
                </a:cubicBezTo>
                <a:cubicBezTo>
                  <a:pt x="1390" y="819"/>
                  <a:pt x="1391" y="816"/>
                  <a:pt x="1391" y="813"/>
                </a:cubicBezTo>
                <a:cubicBezTo>
                  <a:pt x="1391" y="811"/>
                  <a:pt x="1390" y="808"/>
                  <a:pt x="1389" y="806"/>
                </a:cubicBezTo>
                <a:cubicBezTo>
                  <a:pt x="1390" y="805"/>
                  <a:pt x="1393" y="803"/>
                  <a:pt x="1396" y="804"/>
                </a:cubicBezTo>
                <a:cubicBezTo>
                  <a:pt x="1396" y="804"/>
                  <a:pt x="1397" y="804"/>
                  <a:pt x="1398" y="804"/>
                </a:cubicBezTo>
                <a:cubicBezTo>
                  <a:pt x="1400" y="805"/>
                  <a:pt x="1403" y="805"/>
                  <a:pt x="1406" y="805"/>
                </a:cubicBezTo>
                <a:cubicBezTo>
                  <a:pt x="1412" y="805"/>
                  <a:pt x="1418" y="804"/>
                  <a:pt x="1423" y="803"/>
                </a:cubicBezTo>
                <a:cubicBezTo>
                  <a:pt x="1429" y="801"/>
                  <a:pt x="1433" y="799"/>
                  <a:pt x="1437" y="794"/>
                </a:cubicBezTo>
                <a:cubicBezTo>
                  <a:pt x="1438" y="793"/>
                  <a:pt x="1439" y="791"/>
                  <a:pt x="1439" y="789"/>
                </a:cubicBezTo>
                <a:cubicBezTo>
                  <a:pt x="1438" y="783"/>
                  <a:pt x="1435" y="781"/>
                  <a:pt x="1434" y="778"/>
                </a:cubicBezTo>
                <a:cubicBezTo>
                  <a:pt x="1432" y="775"/>
                  <a:pt x="1431" y="772"/>
                  <a:pt x="1431" y="769"/>
                </a:cubicBezTo>
                <a:cubicBezTo>
                  <a:pt x="1431" y="766"/>
                  <a:pt x="1433" y="762"/>
                  <a:pt x="1437" y="759"/>
                </a:cubicBezTo>
                <a:cubicBezTo>
                  <a:pt x="1440" y="756"/>
                  <a:pt x="1445" y="753"/>
                  <a:pt x="1448" y="753"/>
                </a:cubicBezTo>
                <a:cubicBezTo>
                  <a:pt x="1451" y="753"/>
                  <a:pt x="1456" y="752"/>
                  <a:pt x="1460" y="752"/>
                </a:cubicBezTo>
                <a:cubicBezTo>
                  <a:pt x="1462" y="752"/>
                  <a:pt x="1464" y="752"/>
                  <a:pt x="1466" y="751"/>
                </a:cubicBezTo>
                <a:cubicBezTo>
                  <a:pt x="1468" y="750"/>
                  <a:pt x="1471" y="748"/>
                  <a:pt x="1472" y="745"/>
                </a:cubicBezTo>
                <a:cubicBezTo>
                  <a:pt x="1472" y="745"/>
                  <a:pt x="1472" y="745"/>
                  <a:pt x="1472" y="745"/>
                </a:cubicBezTo>
                <a:cubicBezTo>
                  <a:pt x="1472" y="744"/>
                  <a:pt x="1473" y="743"/>
                  <a:pt x="1474" y="742"/>
                </a:cubicBezTo>
                <a:cubicBezTo>
                  <a:pt x="1475" y="746"/>
                  <a:pt x="1475" y="751"/>
                  <a:pt x="1476" y="755"/>
                </a:cubicBezTo>
                <a:cubicBezTo>
                  <a:pt x="1476" y="758"/>
                  <a:pt x="1477" y="762"/>
                  <a:pt x="1479" y="764"/>
                </a:cubicBezTo>
                <a:cubicBezTo>
                  <a:pt x="1481" y="767"/>
                  <a:pt x="1485" y="770"/>
                  <a:pt x="1489" y="770"/>
                </a:cubicBezTo>
                <a:cubicBezTo>
                  <a:pt x="1497" y="770"/>
                  <a:pt x="1502" y="766"/>
                  <a:pt x="1507" y="762"/>
                </a:cubicBezTo>
                <a:cubicBezTo>
                  <a:pt x="1510" y="760"/>
                  <a:pt x="1512" y="759"/>
                  <a:pt x="1513" y="757"/>
                </a:cubicBezTo>
                <a:cubicBezTo>
                  <a:pt x="1514" y="757"/>
                  <a:pt x="1515" y="756"/>
                  <a:pt x="1515" y="756"/>
                </a:cubicBezTo>
                <a:cubicBezTo>
                  <a:pt x="1516" y="756"/>
                  <a:pt x="1516" y="756"/>
                  <a:pt x="1516" y="756"/>
                </a:cubicBezTo>
                <a:cubicBezTo>
                  <a:pt x="1516" y="755"/>
                  <a:pt x="1516" y="755"/>
                  <a:pt x="1516" y="755"/>
                </a:cubicBezTo>
                <a:cubicBezTo>
                  <a:pt x="1520" y="754"/>
                  <a:pt x="1541" y="749"/>
                  <a:pt x="1545" y="747"/>
                </a:cubicBezTo>
                <a:cubicBezTo>
                  <a:pt x="1546" y="747"/>
                  <a:pt x="1554" y="746"/>
                  <a:pt x="1561" y="744"/>
                </a:cubicBezTo>
                <a:cubicBezTo>
                  <a:pt x="1565" y="743"/>
                  <a:pt x="1568" y="742"/>
                  <a:pt x="1572" y="740"/>
                </a:cubicBezTo>
                <a:cubicBezTo>
                  <a:pt x="1575" y="738"/>
                  <a:pt x="1578" y="735"/>
                  <a:pt x="1579" y="729"/>
                </a:cubicBezTo>
                <a:cubicBezTo>
                  <a:pt x="1579" y="728"/>
                  <a:pt x="1578" y="727"/>
                  <a:pt x="1578" y="726"/>
                </a:cubicBezTo>
                <a:cubicBezTo>
                  <a:pt x="1574" y="716"/>
                  <a:pt x="1571" y="706"/>
                  <a:pt x="1566" y="701"/>
                </a:cubicBezTo>
                <a:cubicBezTo>
                  <a:pt x="1565" y="699"/>
                  <a:pt x="1562" y="697"/>
                  <a:pt x="1559" y="697"/>
                </a:cubicBezTo>
                <a:cubicBezTo>
                  <a:pt x="1554" y="697"/>
                  <a:pt x="1552" y="700"/>
                  <a:pt x="1551" y="702"/>
                </a:cubicBezTo>
                <a:cubicBezTo>
                  <a:pt x="1549" y="704"/>
                  <a:pt x="1547" y="707"/>
                  <a:pt x="1545" y="709"/>
                </a:cubicBezTo>
                <a:cubicBezTo>
                  <a:pt x="1544" y="712"/>
                  <a:pt x="1542" y="712"/>
                  <a:pt x="1542" y="712"/>
                </a:cubicBezTo>
                <a:cubicBezTo>
                  <a:pt x="1541" y="712"/>
                  <a:pt x="1541" y="712"/>
                  <a:pt x="1541" y="712"/>
                </a:cubicBezTo>
                <a:cubicBezTo>
                  <a:pt x="1541" y="712"/>
                  <a:pt x="1540" y="707"/>
                  <a:pt x="1540" y="703"/>
                </a:cubicBezTo>
                <a:cubicBezTo>
                  <a:pt x="1540" y="701"/>
                  <a:pt x="1540" y="699"/>
                  <a:pt x="1539" y="697"/>
                </a:cubicBezTo>
                <a:cubicBezTo>
                  <a:pt x="1539" y="694"/>
                  <a:pt x="1536" y="690"/>
                  <a:pt x="1531" y="690"/>
                </a:cubicBezTo>
                <a:cubicBezTo>
                  <a:pt x="1529" y="690"/>
                  <a:pt x="1527" y="691"/>
                  <a:pt x="1525" y="693"/>
                </a:cubicBezTo>
                <a:cubicBezTo>
                  <a:pt x="1521" y="695"/>
                  <a:pt x="1519" y="698"/>
                  <a:pt x="1517" y="699"/>
                </a:cubicBezTo>
                <a:cubicBezTo>
                  <a:pt x="1517" y="699"/>
                  <a:pt x="1517" y="700"/>
                  <a:pt x="1517" y="700"/>
                </a:cubicBezTo>
                <a:cubicBezTo>
                  <a:pt x="1516" y="699"/>
                  <a:pt x="1514" y="697"/>
                  <a:pt x="1513" y="695"/>
                </a:cubicBezTo>
                <a:cubicBezTo>
                  <a:pt x="1513" y="695"/>
                  <a:pt x="1513" y="695"/>
                  <a:pt x="1513" y="695"/>
                </a:cubicBezTo>
                <a:cubicBezTo>
                  <a:pt x="1515" y="692"/>
                  <a:pt x="1518" y="688"/>
                  <a:pt x="1518" y="683"/>
                </a:cubicBezTo>
                <a:cubicBezTo>
                  <a:pt x="1518" y="679"/>
                  <a:pt x="1517" y="675"/>
                  <a:pt x="1514" y="671"/>
                </a:cubicBezTo>
                <a:cubicBezTo>
                  <a:pt x="1509" y="663"/>
                  <a:pt x="1502" y="659"/>
                  <a:pt x="1495" y="659"/>
                </a:cubicBezTo>
                <a:cubicBezTo>
                  <a:pt x="1487" y="659"/>
                  <a:pt x="1481" y="662"/>
                  <a:pt x="1475" y="666"/>
                </a:cubicBezTo>
                <a:cubicBezTo>
                  <a:pt x="1468" y="670"/>
                  <a:pt x="1466" y="671"/>
                  <a:pt x="1463" y="672"/>
                </a:cubicBezTo>
                <a:cubicBezTo>
                  <a:pt x="1463" y="672"/>
                  <a:pt x="1464" y="672"/>
                  <a:pt x="1464" y="671"/>
                </a:cubicBezTo>
                <a:cubicBezTo>
                  <a:pt x="1471" y="664"/>
                  <a:pt x="1481" y="660"/>
                  <a:pt x="1489" y="650"/>
                </a:cubicBezTo>
                <a:cubicBezTo>
                  <a:pt x="1490" y="650"/>
                  <a:pt x="1490" y="650"/>
                  <a:pt x="1492" y="650"/>
                </a:cubicBezTo>
                <a:cubicBezTo>
                  <a:pt x="1494" y="650"/>
                  <a:pt x="1498" y="651"/>
                  <a:pt x="1501" y="653"/>
                </a:cubicBezTo>
                <a:cubicBezTo>
                  <a:pt x="1504" y="654"/>
                  <a:pt x="1507" y="656"/>
                  <a:pt x="1507" y="656"/>
                </a:cubicBezTo>
                <a:cubicBezTo>
                  <a:pt x="1509" y="657"/>
                  <a:pt x="1511" y="657"/>
                  <a:pt x="1513" y="656"/>
                </a:cubicBezTo>
                <a:cubicBezTo>
                  <a:pt x="1513" y="657"/>
                  <a:pt x="1513" y="657"/>
                  <a:pt x="1513" y="658"/>
                </a:cubicBezTo>
                <a:cubicBezTo>
                  <a:pt x="1513" y="662"/>
                  <a:pt x="1513" y="665"/>
                  <a:pt x="1514" y="669"/>
                </a:cubicBezTo>
                <a:cubicBezTo>
                  <a:pt x="1515" y="672"/>
                  <a:pt x="1518" y="677"/>
                  <a:pt x="1524" y="677"/>
                </a:cubicBezTo>
                <a:cubicBezTo>
                  <a:pt x="1529" y="677"/>
                  <a:pt x="1534" y="675"/>
                  <a:pt x="1539" y="672"/>
                </a:cubicBezTo>
                <a:cubicBezTo>
                  <a:pt x="1542" y="671"/>
                  <a:pt x="1544" y="669"/>
                  <a:pt x="1546" y="668"/>
                </a:cubicBezTo>
                <a:cubicBezTo>
                  <a:pt x="1547" y="666"/>
                  <a:pt x="1549" y="665"/>
                  <a:pt x="1550" y="661"/>
                </a:cubicBezTo>
                <a:cubicBezTo>
                  <a:pt x="1550" y="661"/>
                  <a:pt x="1551" y="661"/>
                  <a:pt x="1551" y="661"/>
                </a:cubicBezTo>
                <a:cubicBezTo>
                  <a:pt x="1556" y="660"/>
                  <a:pt x="1561" y="659"/>
                  <a:pt x="1566" y="655"/>
                </a:cubicBezTo>
                <a:cubicBezTo>
                  <a:pt x="1572" y="650"/>
                  <a:pt x="1579" y="650"/>
                  <a:pt x="1587" y="646"/>
                </a:cubicBezTo>
                <a:cubicBezTo>
                  <a:pt x="1592" y="643"/>
                  <a:pt x="1593" y="639"/>
                  <a:pt x="1595" y="636"/>
                </a:cubicBezTo>
                <a:cubicBezTo>
                  <a:pt x="1598" y="633"/>
                  <a:pt x="1599" y="632"/>
                  <a:pt x="1600" y="632"/>
                </a:cubicBezTo>
                <a:cubicBezTo>
                  <a:pt x="1600" y="632"/>
                  <a:pt x="1601" y="632"/>
                  <a:pt x="1601" y="634"/>
                </a:cubicBezTo>
                <a:cubicBezTo>
                  <a:pt x="1601" y="636"/>
                  <a:pt x="1600" y="639"/>
                  <a:pt x="1596" y="642"/>
                </a:cubicBezTo>
                <a:cubicBezTo>
                  <a:pt x="1589" y="647"/>
                  <a:pt x="1585" y="656"/>
                  <a:pt x="1583" y="663"/>
                </a:cubicBezTo>
                <a:cubicBezTo>
                  <a:pt x="1580" y="670"/>
                  <a:pt x="1578" y="676"/>
                  <a:pt x="1577" y="677"/>
                </a:cubicBezTo>
                <a:cubicBezTo>
                  <a:pt x="1574" y="679"/>
                  <a:pt x="1573" y="683"/>
                  <a:pt x="1573" y="687"/>
                </a:cubicBezTo>
                <a:cubicBezTo>
                  <a:pt x="1572" y="690"/>
                  <a:pt x="1574" y="693"/>
                  <a:pt x="1577" y="695"/>
                </a:cubicBezTo>
                <a:cubicBezTo>
                  <a:pt x="1579" y="697"/>
                  <a:pt x="1583" y="698"/>
                  <a:pt x="1586" y="698"/>
                </a:cubicBezTo>
                <a:cubicBezTo>
                  <a:pt x="1587" y="698"/>
                  <a:pt x="1588" y="698"/>
                  <a:pt x="1589" y="698"/>
                </a:cubicBezTo>
                <a:cubicBezTo>
                  <a:pt x="1591" y="698"/>
                  <a:pt x="1593" y="698"/>
                  <a:pt x="1594" y="698"/>
                </a:cubicBezTo>
                <a:cubicBezTo>
                  <a:pt x="1598" y="698"/>
                  <a:pt x="1601" y="698"/>
                  <a:pt x="1605" y="698"/>
                </a:cubicBezTo>
                <a:cubicBezTo>
                  <a:pt x="1608" y="698"/>
                  <a:pt x="1612" y="698"/>
                  <a:pt x="1616" y="696"/>
                </a:cubicBezTo>
                <a:cubicBezTo>
                  <a:pt x="1617" y="696"/>
                  <a:pt x="1617" y="696"/>
                  <a:pt x="1618" y="696"/>
                </a:cubicBezTo>
                <a:cubicBezTo>
                  <a:pt x="1620" y="696"/>
                  <a:pt x="1622" y="698"/>
                  <a:pt x="1623" y="700"/>
                </a:cubicBezTo>
                <a:cubicBezTo>
                  <a:pt x="1624" y="703"/>
                  <a:pt x="1628" y="705"/>
                  <a:pt x="1630" y="705"/>
                </a:cubicBezTo>
                <a:cubicBezTo>
                  <a:pt x="1635" y="704"/>
                  <a:pt x="1637" y="702"/>
                  <a:pt x="1639" y="701"/>
                </a:cubicBezTo>
                <a:cubicBezTo>
                  <a:pt x="1640" y="700"/>
                  <a:pt x="1641" y="699"/>
                  <a:pt x="1641" y="699"/>
                </a:cubicBezTo>
                <a:cubicBezTo>
                  <a:pt x="1641" y="699"/>
                  <a:pt x="1641" y="699"/>
                  <a:pt x="1642" y="699"/>
                </a:cubicBezTo>
                <a:cubicBezTo>
                  <a:pt x="1643" y="698"/>
                  <a:pt x="1645" y="698"/>
                  <a:pt x="1647" y="698"/>
                </a:cubicBezTo>
                <a:cubicBezTo>
                  <a:pt x="1650" y="698"/>
                  <a:pt x="1652" y="699"/>
                  <a:pt x="1652" y="699"/>
                </a:cubicBezTo>
                <a:cubicBezTo>
                  <a:pt x="1654" y="702"/>
                  <a:pt x="1656" y="704"/>
                  <a:pt x="1660" y="704"/>
                </a:cubicBezTo>
                <a:cubicBezTo>
                  <a:pt x="1665" y="704"/>
                  <a:pt x="1667" y="701"/>
                  <a:pt x="1668" y="699"/>
                </a:cubicBezTo>
                <a:cubicBezTo>
                  <a:pt x="1669" y="696"/>
                  <a:pt x="1669" y="694"/>
                  <a:pt x="1669" y="691"/>
                </a:cubicBezTo>
                <a:cubicBezTo>
                  <a:pt x="1669" y="689"/>
                  <a:pt x="1669" y="685"/>
                  <a:pt x="1667" y="682"/>
                </a:cubicBezTo>
                <a:cubicBezTo>
                  <a:pt x="1664" y="675"/>
                  <a:pt x="1659" y="668"/>
                  <a:pt x="1656" y="661"/>
                </a:cubicBezTo>
                <a:cubicBezTo>
                  <a:pt x="1653" y="654"/>
                  <a:pt x="1647" y="647"/>
                  <a:pt x="1639" y="648"/>
                </a:cubicBezTo>
                <a:cubicBezTo>
                  <a:pt x="1637" y="648"/>
                  <a:pt x="1634" y="648"/>
                  <a:pt x="1631" y="649"/>
                </a:cubicBezTo>
                <a:cubicBezTo>
                  <a:pt x="1630" y="649"/>
                  <a:pt x="1629" y="649"/>
                  <a:pt x="1629" y="649"/>
                </a:cubicBezTo>
                <a:cubicBezTo>
                  <a:pt x="1627" y="649"/>
                  <a:pt x="1627" y="649"/>
                  <a:pt x="1626" y="648"/>
                </a:cubicBezTo>
                <a:cubicBezTo>
                  <a:pt x="1624" y="647"/>
                  <a:pt x="1622" y="645"/>
                  <a:pt x="1619" y="643"/>
                </a:cubicBezTo>
                <a:cubicBezTo>
                  <a:pt x="1619" y="643"/>
                  <a:pt x="1618" y="642"/>
                  <a:pt x="1618" y="642"/>
                </a:cubicBezTo>
                <a:cubicBezTo>
                  <a:pt x="1621" y="636"/>
                  <a:pt x="1623" y="633"/>
                  <a:pt x="1626" y="625"/>
                </a:cubicBezTo>
                <a:cubicBezTo>
                  <a:pt x="1627" y="624"/>
                  <a:pt x="1629" y="620"/>
                  <a:pt x="1632" y="616"/>
                </a:cubicBezTo>
                <a:cubicBezTo>
                  <a:pt x="1634" y="612"/>
                  <a:pt x="1636" y="608"/>
                  <a:pt x="1637" y="602"/>
                </a:cubicBezTo>
                <a:cubicBezTo>
                  <a:pt x="1637" y="597"/>
                  <a:pt x="1632" y="591"/>
                  <a:pt x="1626" y="590"/>
                </a:cubicBezTo>
                <a:cubicBezTo>
                  <a:pt x="1618" y="588"/>
                  <a:pt x="1614" y="586"/>
                  <a:pt x="1612" y="584"/>
                </a:cubicBezTo>
                <a:cubicBezTo>
                  <a:pt x="1610" y="583"/>
                  <a:pt x="1609" y="582"/>
                  <a:pt x="1608" y="579"/>
                </a:cubicBezTo>
                <a:cubicBezTo>
                  <a:pt x="1606" y="572"/>
                  <a:pt x="1601" y="566"/>
                  <a:pt x="1595" y="561"/>
                </a:cubicBezTo>
                <a:cubicBezTo>
                  <a:pt x="1592" y="558"/>
                  <a:pt x="1589" y="556"/>
                  <a:pt x="1587" y="554"/>
                </a:cubicBezTo>
                <a:cubicBezTo>
                  <a:pt x="1584" y="553"/>
                  <a:pt x="1582" y="551"/>
                  <a:pt x="1578" y="551"/>
                </a:cubicBezTo>
                <a:cubicBezTo>
                  <a:pt x="1576" y="551"/>
                  <a:pt x="1571" y="551"/>
                  <a:pt x="1567" y="550"/>
                </a:cubicBezTo>
                <a:cubicBezTo>
                  <a:pt x="1565" y="550"/>
                  <a:pt x="1563" y="549"/>
                  <a:pt x="1562" y="549"/>
                </a:cubicBezTo>
                <a:cubicBezTo>
                  <a:pt x="1562" y="549"/>
                  <a:pt x="1562" y="549"/>
                  <a:pt x="1562" y="548"/>
                </a:cubicBezTo>
                <a:cubicBezTo>
                  <a:pt x="1559" y="538"/>
                  <a:pt x="1548" y="525"/>
                  <a:pt x="1542" y="517"/>
                </a:cubicBezTo>
                <a:cubicBezTo>
                  <a:pt x="1540" y="514"/>
                  <a:pt x="1533" y="505"/>
                  <a:pt x="1526" y="496"/>
                </a:cubicBezTo>
                <a:cubicBezTo>
                  <a:pt x="1523" y="491"/>
                  <a:pt x="1520" y="487"/>
                  <a:pt x="1517" y="484"/>
                </a:cubicBezTo>
                <a:cubicBezTo>
                  <a:pt x="1514" y="480"/>
                  <a:pt x="1512" y="478"/>
                  <a:pt x="1510" y="476"/>
                </a:cubicBezTo>
                <a:cubicBezTo>
                  <a:pt x="1509" y="475"/>
                  <a:pt x="1506" y="474"/>
                  <a:pt x="1504" y="474"/>
                </a:cubicBezTo>
                <a:cubicBezTo>
                  <a:pt x="1495" y="475"/>
                  <a:pt x="1491" y="481"/>
                  <a:pt x="1483" y="493"/>
                </a:cubicBezTo>
                <a:cubicBezTo>
                  <a:pt x="1476" y="505"/>
                  <a:pt x="1470" y="507"/>
                  <a:pt x="1467" y="507"/>
                </a:cubicBezTo>
                <a:cubicBezTo>
                  <a:pt x="1466" y="507"/>
                  <a:pt x="1465" y="507"/>
                  <a:pt x="1463" y="506"/>
                </a:cubicBezTo>
                <a:cubicBezTo>
                  <a:pt x="1459" y="504"/>
                  <a:pt x="1457" y="503"/>
                  <a:pt x="1455" y="502"/>
                </a:cubicBezTo>
                <a:cubicBezTo>
                  <a:pt x="1454" y="501"/>
                  <a:pt x="1452" y="499"/>
                  <a:pt x="1448" y="494"/>
                </a:cubicBezTo>
                <a:cubicBezTo>
                  <a:pt x="1447" y="493"/>
                  <a:pt x="1447" y="492"/>
                  <a:pt x="1447" y="492"/>
                </a:cubicBezTo>
                <a:cubicBezTo>
                  <a:pt x="1447" y="492"/>
                  <a:pt x="1448" y="491"/>
                  <a:pt x="1450" y="489"/>
                </a:cubicBezTo>
                <a:cubicBezTo>
                  <a:pt x="1451" y="488"/>
                  <a:pt x="1454" y="486"/>
                  <a:pt x="1454" y="480"/>
                </a:cubicBezTo>
                <a:cubicBezTo>
                  <a:pt x="1454" y="479"/>
                  <a:pt x="1454" y="477"/>
                  <a:pt x="1453" y="476"/>
                </a:cubicBezTo>
                <a:cubicBezTo>
                  <a:pt x="1449" y="469"/>
                  <a:pt x="1443" y="467"/>
                  <a:pt x="1436" y="465"/>
                </a:cubicBezTo>
                <a:cubicBezTo>
                  <a:pt x="1429" y="463"/>
                  <a:pt x="1421" y="462"/>
                  <a:pt x="1415" y="461"/>
                </a:cubicBezTo>
                <a:cubicBezTo>
                  <a:pt x="1412" y="461"/>
                  <a:pt x="1408" y="458"/>
                  <a:pt x="1402" y="453"/>
                </a:cubicBezTo>
                <a:cubicBezTo>
                  <a:pt x="1396" y="449"/>
                  <a:pt x="1389" y="444"/>
                  <a:pt x="1378" y="443"/>
                </a:cubicBezTo>
                <a:cubicBezTo>
                  <a:pt x="1376" y="443"/>
                  <a:pt x="1373" y="443"/>
                  <a:pt x="1370" y="443"/>
                </a:cubicBezTo>
                <a:cubicBezTo>
                  <a:pt x="1354" y="443"/>
                  <a:pt x="1337" y="446"/>
                  <a:pt x="1334" y="446"/>
                </a:cubicBezTo>
                <a:cubicBezTo>
                  <a:pt x="1331" y="446"/>
                  <a:pt x="1327" y="448"/>
                  <a:pt x="1326" y="450"/>
                </a:cubicBezTo>
                <a:cubicBezTo>
                  <a:pt x="1321" y="457"/>
                  <a:pt x="1322" y="465"/>
                  <a:pt x="1320" y="476"/>
                </a:cubicBezTo>
                <a:cubicBezTo>
                  <a:pt x="1320" y="478"/>
                  <a:pt x="1320" y="480"/>
                  <a:pt x="1320" y="481"/>
                </a:cubicBezTo>
                <a:cubicBezTo>
                  <a:pt x="1320" y="486"/>
                  <a:pt x="1320" y="489"/>
                  <a:pt x="1321" y="492"/>
                </a:cubicBezTo>
                <a:cubicBezTo>
                  <a:pt x="1321" y="492"/>
                  <a:pt x="1322" y="493"/>
                  <a:pt x="1322" y="493"/>
                </a:cubicBezTo>
                <a:cubicBezTo>
                  <a:pt x="1319" y="494"/>
                  <a:pt x="1316" y="495"/>
                  <a:pt x="1314" y="496"/>
                </a:cubicBezTo>
                <a:cubicBezTo>
                  <a:pt x="1313" y="496"/>
                  <a:pt x="1311" y="497"/>
                  <a:pt x="1310" y="498"/>
                </a:cubicBezTo>
                <a:cubicBezTo>
                  <a:pt x="1309" y="499"/>
                  <a:pt x="1307" y="501"/>
                  <a:pt x="1307" y="504"/>
                </a:cubicBezTo>
                <a:cubicBezTo>
                  <a:pt x="1307" y="507"/>
                  <a:pt x="1309" y="509"/>
                  <a:pt x="1311" y="510"/>
                </a:cubicBezTo>
                <a:cubicBezTo>
                  <a:pt x="1312" y="512"/>
                  <a:pt x="1314" y="513"/>
                  <a:pt x="1316" y="514"/>
                </a:cubicBezTo>
                <a:cubicBezTo>
                  <a:pt x="1320" y="516"/>
                  <a:pt x="1326" y="522"/>
                  <a:pt x="1330" y="528"/>
                </a:cubicBezTo>
                <a:cubicBezTo>
                  <a:pt x="1333" y="532"/>
                  <a:pt x="1336" y="536"/>
                  <a:pt x="1337" y="538"/>
                </a:cubicBezTo>
                <a:cubicBezTo>
                  <a:pt x="1337" y="539"/>
                  <a:pt x="1337" y="540"/>
                  <a:pt x="1336" y="542"/>
                </a:cubicBezTo>
                <a:cubicBezTo>
                  <a:pt x="1335" y="545"/>
                  <a:pt x="1334" y="549"/>
                  <a:pt x="1331" y="551"/>
                </a:cubicBezTo>
                <a:cubicBezTo>
                  <a:pt x="1327" y="555"/>
                  <a:pt x="1321" y="558"/>
                  <a:pt x="1320" y="559"/>
                </a:cubicBezTo>
                <a:cubicBezTo>
                  <a:pt x="1320" y="559"/>
                  <a:pt x="1320" y="558"/>
                  <a:pt x="1320" y="558"/>
                </a:cubicBezTo>
                <a:cubicBezTo>
                  <a:pt x="1316" y="552"/>
                  <a:pt x="1311" y="549"/>
                  <a:pt x="1305" y="549"/>
                </a:cubicBezTo>
                <a:cubicBezTo>
                  <a:pt x="1303" y="549"/>
                  <a:pt x="1300" y="550"/>
                  <a:pt x="1298" y="552"/>
                </a:cubicBezTo>
                <a:cubicBezTo>
                  <a:pt x="1296" y="553"/>
                  <a:pt x="1294" y="557"/>
                  <a:pt x="1294" y="560"/>
                </a:cubicBezTo>
                <a:cubicBezTo>
                  <a:pt x="1294" y="561"/>
                  <a:pt x="1294" y="563"/>
                  <a:pt x="1295" y="565"/>
                </a:cubicBezTo>
                <a:cubicBezTo>
                  <a:pt x="1297" y="570"/>
                  <a:pt x="1300" y="573"/>
                  <a:pt x="1302" y="576"/>
                </a:cubicBezTo>
                <a:cubicBezTo>
                  <a:pt x="1304" y="579"/>
                  <a:pt x="1305" y="581"/>
                  <a:pt x="1305" y="583"/>
                </a:cubicBezTo>
                <a:cubicBezTo>
                  <a:pt x="1305" y="588"/>
                  <a:pt x="1307" y="593"/>
                  <a:pt x="1308" y="598"/>
                </a:cubicBezTo>
                <a:cubicBezTo>
                  <a:pt x="1310" y="603"/>
                  <a:pt x="1311" y="608"/>
                  <a:pt x="1311" y="612"/>
                </a:cubicBezTo>
                <a:cubicBezTo>
                  <a:pt x="1311" y="614"/>
                  <a:pt x="1310" y="615"/>
                  <a:pt x="1310" y="615"/>
                </a:cubicBezTo>
                <a:cubicBezTo>
                  <a:pt x="1308" y="616"/>
                  <a:pt x="1308" y="616"/>
                  <a:pt x="1306" y="616"/>
                </a:cubicBezTo>
                <a:cubicBezTo>
                  <a:pt x="1303" y="616"/>
                  <a:pt x="1300" y="615"/>
                  <a:pt x="1296" y="615"/>
                </a:cubicBezTo>
                <a:cubicBezTo>
                  <a:pt x="1295" y="615"/>
                  <a:pt x="1294" y="615"/>
                  <a:pt x="1293" y="616"/>
                </a:cubicBezTo>
                <a:cubicBezTo>
                  <a:pt x="1292" y="615"/>
                  <a:pt x="1291" y="613"/>
                  <a:pt x="1291" y="612"/>
                </a:cubicBezTo>
                <a:cubicBezTo>
                  <a:pt x="1295" y="609"/>
                  <a:pt x="1294" y="605"/>
                  <a:pt x="1295" y="602"/>
                </a:cubicBezTo>
                <a:cubicBezTo>
                  <a:pt x="1295" y="593"/>
                  <a:pt x="1292" y="583"/>
                  <a:pt x="1291" y="583"/>
                </a:cubicBezTo>
                <a:cubicBezTo>
                  <a:pt x="1291" y="581"/>
                  <a:pt x="1289" y="579"/>
                  <a:pt x="1286" y="578"/>
                </a:cubicBezTo>
                <a:cubicBezTo>
                  <a:pt x="1284" y="578"/>
                  <a:pt x="1282" y="579"/>
                  <a:pt x="1280" y="581"/>
                </a:cubicBezTo>
                <a:cubicBezTo>
                  <a:pt x="1280" y="581"/>
                  <a:pt x="1280" y="583"/>
                  <a:pt x="1278" y="585"/>
                </a:cubicBezTo>
                <a:cubicBezTo>
                  <a:pt x="1277" y="583"/>
                  <a:pt x="1276" y="581"/>
                  <a:pt x="1276" y="579"/>
                </a:cubicBezTo>
                <a:cubicBezTo>
                  <a:pt x="1274" y="576"/>
                  <a:pt x="1273" y="575"/>
                  <a:pt x="1273" y="572"/>
                </a:cubicBezTo>
                <a:cubicBezTo>
                  <a:pt x="1273" y="567"/>
                  <a:pt x="1272" y="562"/>
                  <a:pt x="1269" y="559"/>
                </a:cubicBezTo>
                <a:cubicBezTo>
                  <a:pt x="1265" y="556"/>
                  <a:pt x="1261" y="554"/>
                  <a:pt x="1256" y="554"/>
                </a:cubicBezTo>
                <a:cubicBezTo>
                  <a:pt x="1253" y="554"/>
                  <a:pt x="1251" y="555"/>
                  <a:pt x="1248" y="555"/>
                </a:cubicBezTo>
                <a:cubicBezTo>
                  <a:pt x="1247" y="555"/>
                  <a:pt x="1246" y="556"/>
                  <a:pt x="1245" y="556"/>
                </a:cubicBezTo>
                <a:cubicBezTo>
                  <a:pt x="1238" y="556"/>
                  <a:pt x="1226" y="550"/>
                  <a:pt x="1209" y="547"/>
                </a:cubicBezTo>
                <a:cubicBezTo>
                  <a:pt x="1189" y="543"/>
                  <a:pt x="1183" y="540"/>
                  <a:pt x="1167" y="531"/>
                </a:cubicBezTo>
                <a:cubicBezTo>
                  <a:pt x="1160" y="527"/>
                  <a:pt x="1154" y="525"/>
                  <a:pt x="1149" y="525"/>
                </a:cubicBezTo>
                <a:cubicBezTo>
                  <a:pt x="1142" y="525"/>
                  <a:pt x="1137" y="528"/>
                  <a:pt x="1134" y="529"/>
                </a:cubicBezTo>
                <a:cubicBezTo>
                  <a:pt x="1134" y="527"/>
                  <a:pt x="1133" y="523"/>
                  <a:pt x="1132" y="519"/>
                </a:cubicBezTo>
                <a:cubicBezTo>
                  <a:pt x="1130" y="515"/>
                  <a:pt x="1127" y="509"/>
                  <a:pt x="1120" y="507"/>
                </a:cubicBezTo>
                <a:cubicBezTo>
                  <a:pt x="1114" y="505"/>
                  <a:pt x="1109" y="506"/>
                  <a:pt x="1109" y="505"/>
                </a:cubicBezTo>
                <a:cubicBezTo>
                  <a:pt x="1109" y="505"/>
                  <a:pt x="1109" y="505"/>
                  <a:pt x="1108" y="504"/>
                </a:cubicBezTo>
                <a:cubicBezTo>
                  <a:pt x="1108" y="503"/>
                  <a:pt x="1107" y="501"/>
                  <a:pt x="1106" y="497"/>
                </a:cubicBezTo>
                <a:cubicBezTo>
                  <a:pt x="1106" y="495"/>
                  <a:pt x="1106" y="493"/>
                  <a:pt x="1106" y="491"/>
                </a:cubicBezTo>
                <a:cubicBezTo>
                  <a:pt x="1106" y="486"/>
                  <a:pt x="1107" y="484"/>
                  <a:pt x="1111" y="479"/>
                </a:cubicBezTo>
                <a:cubicBezTo>
                  <a:pt x="1115" y="475"/>
                  <a:pt x="1122" y="469"/>
                  <a:pt x="1133" y="461"/>
                </a:cubicBezTo>
                <a:cubicBezTo>
                  <a:pt x="1146" y="451"/>
                  <a:pt x="1152" y="444"/>
                  <a:pt x="1156" y="439"/>
                </a:cubicBezTo>
                <a:cubicBezTo>
                  <a:pt x="1161" y="435"/>
                  <a:pt x="1162" y="433"/>
                  <a:pt x="1171" y="432"/>
                </a:cubicBezTo>
                <a:cubicBezTo>
                  <a:pt x="1176" y="431"/>
                  <a:pt x="1180" y="431"/>
                  <a:pt x="1183" y="431"/>
                </a:cubicBezTo>
                <a:cubicBezTo>
                  <a:pt x="1187" y="431"/>
                  <a:pt x="1191" y="432"/>
                  <a:pt x="1194" y="432"/>
                </a:cubicBezTo>
                <a:cubicBezTo>
                  <a:pt x="1196" y="431"/>
                  <a:pt x="1198" y="432"/>
                  <a:pt x="1201" y="430"/>
                </a:cubicBezTo>
                <a:cubicBezTo>
                  <a:pt x="1204" y="428"/>
                  <a:pt x="1206" y="424"/>
                  <a:pt x="1205" y="422"/>
                </a:cubicBezTo>
                <a:cubicBezTo>
                  <a:pt x="1205" y="421"/>
                  <a:pt x="1206" y="419"/>
                  <a:pt x="1206" y="416"/>
                </a:cubicBezTo>
                <a:cubicBezTo>
                  <a:pt x="1207" y="417"/>
                  <a:pt x="1207" y="418"/>
                  <a:pt x="1208" y="418"/>
                </a:cubicBezTo>
                <a:cubicBezTo>
                  <a:pt x="1210" y="419"/>
                  <a:pt x="1212" y="421"/>
                  <a:pt x="1213" y="421"/>
                </a:cubicBezTo>
                <a:cubicBezTo>
                  <a:pt x="1212" y="421"/>
                  <a:pt x="1212" y="421"/>
                  <a:pt x="1212" y="421"/>
                </a:cubicBezTo>
                <a:cubicBezTo>
                  <a:pt x="1208" y="426"/>
                  <a:pt x="1205" y="428"/>
                  <a:pt x="1205" y="434"/>
                </a:cubicBezTo>
                <a:cubicBezTo>
                  <a:pt x="1205" y="439"/>
                  <a:pt x="1210" y="442"/>
                  <a:pt x="1212" y="442"/>
                </a:cubicBezTo>
                <a:cubicBezTo>
                  <a:pt x="1215" y="443"/>
                  <a:pt x="1217" y="443"/>
                  <a:pt x="1220" y="443"/>
                </a:cubicBezTo>
                <a:cubicBezTo>
                  <a:pt x="1226" y="443"/>
                  <a:pt x="1232" y="440"/>
                  <a:pt x="1237" y="438"/>
                </a:cubicBezTo>
                <a:cubicBezTo>
                  <a:pt x="1242" y="435"/>
                  <a:pt x="1245" y="433"/>
                  <a:pt x="1246" y="433"/>
                </a:cubicBezTo>
                <a:cubicBezTo>
                  <a:pt x="1247" y="432"/>
                  <a:pt x="1248" y="431"/>
                  <a:pt x="1251" y="431"/>
                </a:cubicBezTo>
                <a:cubicBezTo>
                  <a:pt x="1253" y="430"/>
                  <a:pt x="1257" y="429"/>
                  <a:pt x="1259" y="429"/>
                </a:cubicBezTo>
                <a:cubicBezTo>
                  <a:pt x="1260" y="429"/>
                  <a:pt x="1261" y="429"/>
                  <a:pt x="1261" y="429"/>
                </a:cubicBezTo>
                <a:cubicBezTo>
                  <a:pt x="1261" y="429"/>
                  <a:pt x="1261" y="429"/>
                  <a:pt x="1261" y="429"/>
                </a:cubicBezTo>
                <a:cubicBezTo>
                  <a:pt x="1263" y="432"/>
                  <a:pt x="1264" y="436"/>
                  <a:pt x="1266" y="440"/>
                </a:cubicBezTo>
                <a:cubicBezTo>
                  <a:pt x="1266" y="440"/>
                  <a:pt x="1266" y="440"/>
                  <a:pt x="1266" y="440"/>
                </a:cubicBezTo>
                <a:cubicBezTo>
                  <a:pt x="1263" y="438"/>
                  <a:pt x="1260" y="437"/>
                  <a:pt x="1256" y="437"/>
                </a:cubicBezTo>
                <a:cubicBezTo>
                  <a:pt x="1251" y="437"/>
                  <a:pt x="1246" y="439"/>
                  <a:pt x="1243" y="444"/>
                </a:cubicBezTo>
                <a:cubicBezTo>
                  <a:pt x="1243" y="444"/>
                  <a:pt x="1243" y="444"/>
                  <a:pt x="1243" y="444"/>
                </a:cubicBezTo>
                <a:cubicBezTo>
                  <a:pt x="1242" y="445"/>
                  <a:pt x="1241" y="447"/>
                  <a:pt x="1241" y="449"/>
                </a:cubicBezTo>
                <a:cubicBezTo>
                  <a:pt x="1242" y="455"/>
                  <a:pt x="1246" y="456"/>
                  <a:pt x="1249" y="458"/>
                </a:cubicBezTo>
                <a:cubicBezTo>
                  <a:pt x="1252" y="459"/>
                  <a:pt x="1256" y="460"/>
                  <a:pt x="1259" y="460"/>
                </a:cubicBezTo>
                <a:cubicBezTo>
                  <a:pt x="1262" y="460"/>
                  <a:pt x="1267" y="460"/>
                  <a:pt x="1270" y="455"/>
                </a:cubicBezTo>
                <a:cubicBezTo>
                  <a:pt x="1271" y="454"/>
                  <a:pt x="1271" y="452"/>
                  <a:pt x="1271" y="450"/>
                </a:cubicBezTo>
                <a:cubicBezTo>
                  <a:pt x="1271" y="448"/>
                  <a:pt x="1271" y="447"/>
                  <a:pt x="1270" y="445"/>
                </a:cubicBezTo>
                <a:cubicBezTo>
                  <a:pt x="1272" y="447"/>
                  <a:pt x="1275" y="449"/>
                  <a:pt x="1279" y="449"/>
                </a:cubicBezTo>
                <a:cubicBezTo>
                  <a:pt x="1284" y="448"/>
                  <a:pt x="1288" y="447"/>
                  <a:pt x="1292" y="444"/>
                </a:cubicBezTo>
                <a:cubicBezTo>
                  <a:pt x="1297" y="441"/>
                  <a:pt x="1301" y="437"/>
                  <a:pt x="1301" y="430"/>
                </a:cubicBezTo>
                <a:cubicBezTo>
                  <a:pt x="1301" y="425"/>
                  <a:pt x="1298" y="420"/>
                  <a:pt x="1292" y="417"/>
                </a:cubicBezTo>
                <a:cubicBezTo>
                  <a:pt x="1284" y="411"/>
                  <a:pt x="1278" y="409"/>
                  <a:pt x="1273" y="407"/>
                </a:cubicBezTo>
                <a:cubicBezTo>
                  <a:pt x="1267" y="405"/>
                  <a:pt x="1264" y="403"/>
                  <a:pt x="1260" y="399"/>
                </a:cubicBezTo>
                <a:cubicBezTo>
                  <a:pt x="1259" y="396"/>
                  <a:pt x="1257" y="395"/>
                  <a:pt x="1256" y="393"/>
                </a:cubicBezTo>
                <a:cubicBezTo>
                  <a:pt x="1260" y="392"/>
                  <a:pt x="1268" y="388"/>
                  <a:pt x="1271" y="387"/>
                </a:cubicBezTo>
                <a:cubicBezTo>
                  <a:pt x="1271" y="387"/>
                  <a:pt x="1277" y="386"/>
                  <a:pt x="1282" y="384"/>
                </a:cubicBezTo>
                <a:cubicBezTo>
                  <a:pt x="1286" y="382"/>
                  <a:pt x="1293" y="377"/>
                  <a:pt x="1293" y="368"/>
                </a:cubicBezTo>
                <a:cubicBezTo>
                  <a:pt x="1293" y="367"/>
                  <a:pt x="1293" y="365"/>
                  <a:pt x="1293" y="364"/>
                </a:cubicBezTo>
                <a:cubicBezTo>
                  <a:pt x="1290" y="356"/>
                  <a:pt x="1285" y="351"/>
                  <a:pt x="1281" y="349"/>
                </a:cubicBezTo>
                <a:cubicBezTo>
                  <a:pt x="1279" y="348"/>
                  <a:pt x="1277" y="347"/>
                  <a:pt x="1276" y="346"/>
                </a:cubicBezTo>
                <a:cubicBezTo>
                  <a:pt x="1278" y="345"/>
                  <a:pt x="1281" y="343"/>
                  <a:pt x="1284" y="342"/>
                </a:cubicBezTo>
                <a:cubicBezTo>
                  <a:pt x="1284" y="342"/>
                  <a:pt x="1286" y="341"/>
                  <a:pt x="1289" y="341"/>
                </a:cubicBezTo>
                <a:cubicBezTo>
                  <a:pt x="1292" y="341"/>
                  <a:pt x="1295" y="341"/>
                  <a:pt x="1298" y="342"/>
                </a:cubicBezTo>
                <a:cubicBezTo>
                  <a:pt x="1300" y="342"/>
                  <a:pt x="1302" y="342"/>
                  <a:pt x="1302" y="342"/>
                </a:cubicBezTo>
                <a:cubicBezTo>
                  <a:pt x="1302" y="342"/>
                  <a:pt x="1304" y="343"/>
                  <a:pt x="1306" y="343"/>
                </a:cubicBezTo>
                <a:cubicBezTo>
                  <a:pt x="1308" y="342"/>
                  <a:pt x="1310" y="342"/>
                  <a:pt x="1313" y="341"/>
                </a:cubicBezTo>
                <a:cubicBezTo>
                  <a:pt x="1314" y="341"/>
                  <a:pt x="1316" y="340"/>
                  <a:pt x="1317" y="339"/>
                </a:cubicBezTo>
                <a:cubicBezTo>
                  <a:pt x="1317" y="339"/>
                  <a:pt x="1318" y="340"/>
                  <a:pt x="1319" y="341"/>
                </a:cubicBezTo>
                <a:cubicBezTo>
                  <a:pt x="1320" y="343"/>
                  <a:pt x="1323" y="344"/>
                  <a:pt x="1326" y="344"/>
                </a:cubicBezTo>
                <a:cubicBezTo>
                  <a:pt x="1327" y="344"/>
                  <a:pt x="1328" y="344"/>
                  <a:pt x="1330" y="343"/>
                </a:cubicBezTo>
                <a:cubicBezTo>
                  <a:pt x="1332" y="343"/>
                  <a:pt x="1334" y="343"/>
                  <a:pt x="1335" y="343"/>
                </a:cubicBezTo>
                <a:cubicBezTo>
                  <a:pt x="1338" y="343"/>
                  <a:pt x="1338" y="343"/>
                  <a:pt x="1343" y="346"/>
                </a:cubicBezTo>
                <a:cubicBezTo>
                  <a:pt x="1343" y="347"/>
                  <a:pt x="1343" y="347"/>
                  <a:pt x="1343" y="347"/>
                </a:cubicBezTo>
                <a:cubicBezTo>
                  <a:pt x="1343" y="349"/>
                  <a:pt x="1342" y="353"/>
                  <a:pt x="1340" y="355"/>
                </a:cubicBezTo>
                <a:cubicBezTo>
                  <a:pt x="1340" y="357"/>
                  <a:pt x="1339" y="358"/>
                  <a:pt x="1338" y="359"/>
                </a:cubicBezTo>
                <a:cubicBezTo>
                  <a:pt x="1338" y="360"/>
                  <a:pt x="1337" y="360"/>
                  <a:pt x="1337" y="360"/>
                </a:cubicBezTo>
                <a:cubicBezTo>
                  <a:pt x="1335" y="361"/>
                  <a:pt x="1333" y="362"/>
                  <a:pt x="1331" y="364"/>
                </a:cubicBezTo>
                <a:cubicBezTo>
                  <a:pt x="1329" y="365"/>
                  <a:pt x="1326" y="366"/>
                  <a:pt x="1325" y="372"/>
                </a:cubicBezTo>
                <a:cubicBezTo>
                  <a:pt x="1325" y="376"/>
                  <a:pt x="1328" y="378"/>
                  <a:pt x="1330" y="379"/>
                </a:cubicBezTo>
                <a:cubicBezTo>
                  <a:pt x="1332" y="380"/>
                  <a:pt x="1334" y="381"/>
                  <a:pt x="1337" y="381"/>
                </a:cubicBezTo>
                <a:cubicBezTo>
                  <a:pt x="1350" y="382"/>
                  <a:pt x="1359" y="382"/>
                  <a:pt x="1359" y="382"/>
                </a:cubicBezTo>
                <a:cubicBezTo>
                  <a:pt x="1361" y="382"/>
                  <a:pt x="1363" y="382"/>
                  <a:pt x="1364" y="380"/>
                </a:cubicBezTo>
                <a:cubicBezTo>
                  <a:pt x="1364" y="380"/>
                  <a:pt x="1372" y="370"/>
                  <a:pt x="1376" y="361"/>
                </a:cubicBezTo>
                <a:cubicBezTo>
                  <a:pt x="1376" y="361"/>
                  <a:pt x="1376" y="361"/>
                  <a:pt x="1376" y="360"/>
                </a:cubicBezTo>
                <a:cubicBezTo>
                  <a:pt x="1378" y="361"/>
                  <a:pt x="1380" y="362"/>
                  <a:pt x="1382" y="364"/>
                </a:cubicBezTo>
                <a:cubicBezTo>
                  <a:pt x="1383" y="364"/>
                  <a:pt x="1385" y="365"/>
                  <a:pt x="1386" y="366"/>
                </a:cubicBezTo>
                <a:cubicBezTo>
                  <a:pt x="1371" y="371"/>
                  <a:pt x="1365" y="381"/>
                  <a:pt x="1362" y="387"/>
                </a:cubicBezTo>
                <a:cubicBezTo>
                  <a:pt x="1361" y="390"/>
                  <a:pt x="1360" y="392"/>
                  <a:pt x="1359" y="392"/>
                </a:cubicBezTo>
                <a:cubicBezTo>
                  <a:pt x="1359" y="392"/>
                  <a:pt x="1359" y="392"/>
                  <a:pt x="1357" y="393"/>
                </a:cubicBezTo>
                <a:cubicBezTo>
                  <a:pt x="1356" y="393"/>
                  <a:pt x="1353" y="392"/>
                  <a:pt x="1349" y="391"/>
                </a:cubicBezTo>
                <a:cubicBezTo>
                  <a:pt x="1343" y="389"/>
                  <a:pt x="1338" y="389"/>
                  <a:pt x="1334" y="389"/>
                </a:cubicBezTo>
                <a:cubicBezTo>
                  <a:pt x="1326" y="388"/>
                  <a:pt x="1319" y="392"/>
                  <a:pt x="1316" y="398"/>
                </a:cubicBezTo>
                <a:cubicBezTo>
                  <a:pt x="1314" y="402"/>
                  <a:pt x="1314" y="407"/>
                  <a:pt x="1314" y="411"/>
                </a:cubicBezTo>
                <a:cubicBezTo>
                  <a:pt x="1314" y="415"/>
                  <a:pt x="1314" y="420"/>
                  <a:pt x="1315" y="424"/>
                </a:cubicBezTo>
                <a:cubicBezTo>
                  <a:pt x="1316" y="426"/>
                  <a:pt x="1317" y="428"/>
                  <a:pt x="1318" y="429"/>
                </a:cubicBezTo>
                <a:cubicBezTo>
                  <a:pt x="1319" y="431"/>
                  <a:pt x="1321" y="433"/>
                  <a:pt x="1325" y="434"/>
                </a:cubicBezTo>
                <a:cubicBezTo>
                  <a:pt x="1326" y="434"/>
                  <a:pt x="1327" y="433"/>
                  <a:pt x="1328" y="433"/>
                </a:cubicBezTo>
                <a:cubicBezTo>
                  <a:pt x="1333" y="431"/>
                  <a:pt x="1338" y="431"/>
                  <a:pt x="1347" y="427"/>
                </a:cubicBezTo>
                <a:cubicBezTo>
                  <a:pt x="1347" y="427"/>
                  <a:pt x="1348" y="427"/>
                  <a:pt x="1351" y="427"/>
                </a:cubicBezTo>
                <a:cubicBezTo>
                  <a:pt x="1359" y="427"/>
                  <a:pt x="1374" y="429"/>
                  <a:pt x="1383" y="429"/>
                </a:cubicBezTo>
                <a:cubicBezTo>
                  <a:pt x="1384" y="429"/>
                  <a:pt x="1385" y="429"/>
                  <a:pt x="1387" y="429"/>
                </a:cubicBezTo>
                <a:cubicBezTo>
                  <a:pt x="1387" y="429"/>
                  <a:pt x="1388" y="429"/>
                  <a:pt x="1389" y="430"/>
                </a:cubicBezTo>
                <a:cubicBezTo>
                  <a:pt x="1391" y="431"/>
                  <a:pt x="1394" y="434"/>
                  <a:pt x="1396" y="436"/>
                </a:cubicBezTo>
                <a:cubicBezTo>
                  <a:pt x="1399" y="438"/>
                  <a:pt x="1401" y="440"/>
                  <a:pt x="1407" y="441"/>
                </a:cubicBezTo>
                <a:cubicBezTo>
                  <a:pt x="1408" y="441"/>
                  <a:pt x="1409" y="440"/>
                  <a:pt x="1410" y="440"/>
                </a:cubicBezTo>
                <a:cubicBezTo>
                  <a:pt x="1412" y="441"/>
                  <a:pt x="1417" y="446"/>
                  <a:pt x="1421" y="450"/>
                </a:cubicBezTo>
                <a:cubicBezTo>
                  <a:pt x="1423" y="451"/>
                  <a:pt x="1425" y="452"/>
                  <a:pt x="1427" y="452"/>
                </a:cubicBezTo>
                <a:cubicBezTo>
                  <a:pt x="1430" y="452"/>
                  <a:pt x="1433" y="451"/>
                  <a:pt x="1434" y="450"/>
                </a:cubicBezTo>
                <a:cubicBezTo>
                  <a:pt x="1435" y="448"/>
                  <a:pt x="1435" y="447"/>
                  <a:pt x="1436" y="447"/>
                </a:cubicBezTo>
                <a:cubicBezTo>
                  <a:pt x="1436" y="447"/>
                  <a:pt x="1437" y="448"/>
                  <a:pt x="1438" y="448"/>
                </a:cubicBezTo>
                <a:cubicBezTo>
                  <a:pt x="1444" y="454"/>
                  <a:pt x="1445" y="455"/>
                  <a:pt x="1445" y="456"/>
                </a:cubicBezTo>
                <a:cubicBezTo>
                  <a:pt x="1445" y="457"/>
                  <a:pt x="1447" y="459"/>
                  <a:pt x="1450" y="460"/>
                </a:cubicBezTo>
                <a:cubicBezTo>
                  <a:pt x="1452" y="460"/>
                  <a:pt x="1453" y="460"/>
                  <a:pt x="1454" y="460"/>
                </a:cubicBezTo>
                <a:cubicBezTo>
                  <a:pt x="1454" y="460"/>
                  <a:pt x="1454" y="460"/>
                  <a:pt x="1455" y="460"/>
                </a:cubicBezTo>
                <a:cubicBezTo>
                  <a:pt x="1461" y="460"/>
                  <a:pt x="1476" y="462"/>
                  <a:pt x="1476" y="462"/>
                </a:cubicBezTo>
                <a:cubicBezTo>
                  <a:pt x="1478" y="462"/>
                  <a:pt x="1479" y="462"/>
                  <a:pt x="1481" y="461"/>
                </a:cubicBezTo>
                <a:cubicBezTo>
                  <a:pt x="1482" y="460"/>
                  <a:pt x="1483" y="458"/>
                  <a:pt x="1483" y="457"/>
                </a:cubicBezTo>
                <a:cubicBezTo>
                  <a:pt x="1483" y="457"/>
                  <a:pt x="1483" y="456"/>
                  <a:pt x="1483" y="456"/>
                </a:cubicBezTo>
                <a:cubicBezTo>
                  <a:pt x="1483" y="455"/>
                  <a:pt x="1484" y="453"/>
                  <a:pt x="1484" y="452"/>
                </a:cubicBezTo>
                <a:cubicBezTo>
                  <a:pt x="1485" y="451"/>
                  <a:pt x="1485" y="451"/>
                  <a:pt x="1486" y="451"/>
                </a:cubicBezTo>
                <a:cubicBezTo>
                  <a:pt x="1487" y="451"/>
                  <a:pt x="1487" y="451"/>
                  <a:pt x="1488" y="451"/>
                </a:cubicBezTo>
                <a:cubicBezTo>
                  <a:pt x="1491" y="452"/>
                  <a:pt x="1494" y="454"/>
                  <a:pt x="1498" y="456"/>
                </a:cubicBezTo>
                <a:cubicBezTo>
                  <a:pt x="1499" y="458"/>
                  <a:pt x="1501" y="459"/>
                  <a:pt x="1502" y="460"/>
                </a:cubicBezTo>
                <a:cubicBezTo>
                  <a:pt x="1504" y="461"/>
                  <a:pt x="1505" y="462"/>
                  <a:pt x="1509" y="462"/>
                </a:cubicBezTo>
                <a:cubicBezTo>
                  <a:pt x="1511" y="462"/>
                  <a:pt x="1514" y="461"/>
                  <a:pt x="1515" y="459"/>
                </a:cubicBezTo>
                <a:cubicBezTo>
                  <a:pt x="1516" y="456"/>
                  <a:pt x="1516" y="455"/>
                  <a:pt x="1516" y="454"/>
                </a:cubicBezTo>
                <a:cubicBezTo>
                  <a:pt x="1516" y="453"/>
                  <a:pt x="1516" y="452"/>
                  <a:pt x="1516" y="452"/>
                </a:cubicBezTo>
                <a:cubicBezTo>
                  <a:pt x="1516" y="447"/>
                  <a:pt x="1516" y="442"/>
                  <a:pt x="1515" y="436"/>
                </a:cubicBezTo>
                <a:cubicBezTo>
                  <a:pt x="1514" y="431"/>
                  <a:pt x="1512" y="425"/>
                  <a:pt x="1506" y="420"/>
                </a:cubicBezTo>
                <a:cubicBezTo>
                  <a:pt x="1501" y="415"/>
                  <a:pt x="1494" y="412"/>
                  <a:pt x="1489" y="409"/>
                </a:cubicBezTo>
                <a:cubicBezTo>
                  <a:pt x="1487" y="407"/>
                  <a:pt x="1484" y="406"/>
                  <a:pt x="1483" y="405"/>
                </a:cubicBezTo>
                <a:cubicBezTo>
                  <a:pt x="1482" y="404"/>
                  <a:pt x="1481" y="404"/>
                  <a:pt x="1481" y="404"/>
                </a:cubicBezTo>
                <a:cubicBezTo>
                  <a:pt x="1481" y="404"/>
                  <a:pt x="1481" y="404"/>
                  <a:pt x="1481" y="404"/>
                </a:cubicBezTo>
                <a:cubicBezTo>
                  <a:pt x="1480" y="402"/>
                  <a:pt x="1479" y="401"/>
                  <a:pt x="1479" y="399"/>
                </a:cubicBezTo>
                <a:cubicBezTo>
                  <a:pt x="1484" y="400"/>
                  <a:pt x="1494" y="403"/>
                  <a:pt x="1499" y="407"/>
                </a:cubicBezTo>
                <a:cubicBezTo>
                  <a:pt x="1506" y="412"/>
                  <a:pt x="1512" y="418"/>
                  <a:pt x="1522" y="419"/>
                </a:cubicBezTo>
                <a:cubicBezTo>
                  <a:pt x="1525" y="419"/>
                  <a:pt x="1528" y="418"/>
                  <a:pt x="1531" y="415"/>
                </a:cubicBezTo>
                <a:cubicBezTo>
                  <a:pt x="1537" y="411"/>
                  <a:pt x="1545" y="408"/>
                  <a:pt x="1550" y="402"/>
                </a:cubicBezTo>
                <a:cubicBezTo>
                  <a:pt x="1554" y="397"/>
                  <a:pt x="1562" y="385"/>
                  <a:pt x="1562" y="385"/>
                </a:cubicBezTo>
                <a:cubicBezTo>
                  <a:pt x="1563" y="383"/>
                  <a:pt x="1564" y="381"/>
                  <a:pt x="1563" y="379"/>
                </a:cubicBezTo>
                <a:cubicBezTo>
                  <a:pt x="1562" y="377"/>
                  <a:pt x="1560" y="376"/>
                  <a:pt x="1558" y="376"/>
                </a:cubicBezTo>
                <a:cubicBezTo>
                  <a:pt x="1558" y="376"/>
                  <a:pt x="1550" y="374"/>
                  <a:pt x="1541" y="372"/>
                </a:cubicBezTo>
                <a:cubicBezTo>
                  <a:pt x="1536" y="371"/>
                  <a:pt x="1532" y="370"/>
                  <a:pt x="1528" y="369"/>
                </a:cubicBezTo>
                <a:cubicBezTo>
                  <a:pt x="1527" y="368"/>
                  <a:pt x="1525" y="368"/>
                  <a:pt x="1524" y="368"/>
                </a:cubicBezTo>
                <a:cubicBezTo>
                  <a:pt x="1524" y="367"/>
                  <a:pt x="1523" y="368"/>
                  <a:pt x="1523" y="368"/>
                </a:cubicBezTo>
                <a:cubicBezTo>
                  <a:pt x="1523" y="368"/>
                  <a:pt x="1523" y="368"/>
                  <a:pt x="1523" y="368"/>
                </a:cubicBezTo>
                <a:cubicBezTo>
                  <a:pt x="1520" y="360"/>
                  <a:pt x="1514" y="358"/>
                  <a:pt x="1509" y="354"/>
                </a:cubicBezTo>
                <a:cubicBezTo>
                  <a:pt x="1503" y="351"/>
                  <a:pt x="1498" y="348"/>
                  <a:pt x="1493" y="347"/>
                </a:cubicBezTo>
                <a:cubicBezTo>
                  <a:pt x="1489" y="347"/>
                  <a:pt x="1487" y="348"/>
                  <a:pt x="1485" y="349"/>
                </a:cubicBezTo>
                <a:cubicBezTo>
                  <a:pt x="1483" y="350"/>
                  <a:pt x="1481" y="350"/>
                  <a:pt x="1480" y="350"/>
                </a:cubicBezTo>
                <a:cubicBezTo>
                  <a:pt x="1478" y="350"/>
                  <a:pt x="1478" y="351"/>
                  <a:pt x="1477" y="347"/>
                </a:cubicBezTo>
                <a:cubicBezTo>
                  <a:pt x="1475" y="341"/>
                  <a:pt x="1473" y="333"/>
                  <a:pt x="1472" y="327"/>
                </a:cubicBezTo>
                <a:cubicBezTo>
                  <a:pt x="1472" y="324"/>
                  <a:pt x="1471" y="321"/>
                  <a:pt x="1470" y="319"/>
                </a:cubicBezTo>
                <a:cubicBezTo>
                  <a:pt x="1469" y="316"/>
                  <a:pt x="1468" y="313"/>
                  <a:pt x="1464" y="311"/>
                </a:cubicBezTo>
                <a:cubicBezTo>
                  <a:pt x="1460" y="310"/>
                  <a:pt x="1448" y="308"/>
                  <a:pt x="1434" y="305"/>
                </a:cubicBezTo>
                <a:cubicBezTo>
                  <a:pt x="1427" y="304"/>
                  <a:pt x="1420" y="302"/>
                  <a:pt x="1415" y="301"/>
                </a:cubicBezTo>
                <a:cubicBezTo>
                  <a:pt x="1410" y="300"/>
                  <a:pt x="1405" y="298"/>
                  <a:pt x="1405" y="298"/>
                </a:cubicBezTo>
                <a:cubicBezTo>
                  <a:pt x="1401" y="295"/>
                  <a:pt x="1392" y="292"/>
                  <a:pt x="1383" y="288"/>
                </a:cubicBezTo>
                <a:cubicBezTo>
                  <a:pt x="1374" y="285"/>
                  <a:pt x="1365" y="280"/>
                  <a:pt x="1360" y="278"/>
                </a:cubicBezTo>
                <a:cubicBezTo>
                  <a:pt x="1350" y="271"/>
                  <a:pt x="1335" y="260"/>
                  <a:pt x="1322" y="260"/>
                </a:cubicBezTo>
                <a:cubicBezTo>
                  <a:pt x="1313" y="260"/>
                  <a:pt x="1283" y="264"/>
                  <a:pt x="1272" y="264"/>
                </a:cubicBezTo>
                <a:cubicBezTo>
                  <a:pt x="1271" y="264"/>
                  <a:pt x="1270" y="264"/>
                  <a:pt x="1270" y="264"/>
                </a:cubicBezTo>
                <a:cubicBezTo>
                  <a:pt x="1268" y="264"/>
                  <a:pt x="1266" y="264"/>
                  <a:pt x="1265" y="264"/>
                </a:cubicBezTo>
                <a:cubicBezTo>
                  <a:pt x="1255" y="264"/>
                  <a:pt x="1239" y="267"/>
                  <a:pt x="1232" y="268"/>
                </a:cubicBezTo>
                <a:cubicBezTo>
                  <a:pt x="1230" y="269"/>
                  <a:pt x="1228" y="270"/>
                  <a:pt x="1226" y="271"/>
                </a:cubicBezTo>
                <a:cubicBezTo>
                  <a:pt x="1225" y="273"/>
                  <a:pt x="1225" y="275"/>
                  <a:pt x="1225" y="277"/>
                </a:cubicBezTo>
                <a:cubicBezTo>
                  <a:pt x="1225" y="283"/>
                  <a:pt x="1228" y="287"/>
                  <a:pt x="1227" y="290"/>
                </a:cubicBezTo>
                <a:cubicBezTo>
                  <a:pt x="1227" y="291"/>
                  <a:pt x="1229" y="290"/>
                  <a:pt x="1224" y="292"/>
                </a:cubicBezTo>
                <a:cubicBezTo>
                  <a:pt x="1222" y="292"/>
                  <a:pt x="1220" y="293"/>
                  <a:pt x="1219" y="293"/>
                </a:cubicBezTo>
                <a:cubicBezTo>
                  <a:pt x="1219" y="291"/>
                  <a:pt x="1220" y="288"/>
                  <a:pt x="1220" y="285"/>
                </a:cubicBezTo>
                <a:cubicBezTo>
                  <a:pt x="1221" y="283"/>
                  <a:pt x="1221" y="280"/>
                  <a:pt x="1221" y="278"/>
                </a:cubicBezTo>
                <a:cubicBezTo>
                  <a:pt x="1221" y="272"/>
                  <a:pt x="1219" y="267"/>
                  <a:pt x="1215" y="263"/>
                </a:cubicBezTo>
                <a:cubicBezTo>
                  <a:pt x="1214" y="261"/>
                  <a:pt x="1212" y="260"/>
                  <a:pt x="1210" y="260"/>
                </a:cubicBezTo>
                <a:cubicBezTo>
                  <a:pt x="1210" y="260"/>
                  <a:pt x="1210" y="260"/>
                  <a:pt x="1211" y="260"/>
                </a:cubicBezTo>
                <a:cubicBezTo>
                  <a:pt x="1213" y="260"/>
                  <a:pt x="1216" y="259"/>
                  <a:pt x="1219" y="260"/>
                </a:cubicBezTo>
                <a:cubicBezTo>
                  <a:pt x="1234" y="261"/>
                  <a:pt x="1256" y="263"/>
                  <a:pt x="1271" y="263"/>
                </a:cubicBezTo>
                <a:cubicBezTo>
                  <a:pt x="1274" y="263"/>
                  <a:pt x="1276" y="263"/>
                  <a:pt x="1278" y="263"/>
                </a:cubicBezTo>
                <a:cubicBezTo>
                  <a:pt x="1286" y="262"/>
                  <a:pt x="1291" y="260"/>
                  <a:pt x="1295" y="257"/>
                </a:cubicBezTo>
                <a:cubicBezTo>
                  <a:pt x="1299" y="254"/>
                  <a:pt x="1301" y="250"/>
                  <a:pt x="1302" y="249"/>
                </a:cubicBezTo>
                <a:cubicBezTo>
                  <a:pt x="1302" y="248"/>
                  <a:pt x="1302" y="247"/>
                  <a:pt x="1302" y="246"/>
                </a:cubicBezTo>
                <a:cubicBezTo>
                  <a:pt x="1302" y="242"/>
                  <a:pt x="1300" y="241"/>
                  <a:pt x="1299" y="240"/>
                </a:cubicBezTo>
                <a:cubicBezTo>
                  <a:pt x="1295" y="237"/>
                  <a:pt x="1289" y="235"/>
                  <a:pt x="1282" y="233"/>
                </a:cubicBezTo>
                <a:cubicBezTo>
                  <a:pt x="1275" y="231"/>
                  <a:pt x="1269" y="230"/>
                  <a:pt x="1264" y="230"/>
                </a:cubicBezTo>
                <a:cubicBezTo>
                  <a:pt x="1263" y="230"/>
                  <a:pt x="1262" y="230"/>
                  <a:pt x="1261" y="230"/>
                </a:cubicBezTo>
                <a:cubicBezTo>
                  <a:pt x="1259" y="231"/>
                  <a:pt x="1247" y="231"/>
                  <a:pt x="1235" y="231"/>
                </a:cubicBezTo>
                <a:cubicBezTo>
                  <a:pt x="1223" y="231"/>
                  <a:pt x="1210" y="231"/>
                  <a:pt x="1205" y="230"/>
                </a:cubicBezTo>
                <a:cubicBezTo>
                  <a:pt x="1199" y="230"/>
                  <a:pt x="1193" y="230"/>
                  <a:pt x="1186" y="230"/>
                </a:cubicBezTo>
                <a:cubicBezTo>
                  <a:pt x="1180" y="230"/>
                  <a:pt x="1174" y="228"/>
                  <a:pt x="1169" y="232"/>
                </a:cubicBezTo>
                <a:cubicBezTo>
                  <a:pt x="1169" y="232"/>
                  <a:pt x="1168" y="232"/>
                  <a:pt x="1168" y="232"/>
                </a:cubicBezTo>
                <a:cubicBezTo>
                  <a:pt x="1163" y="232"/>
                  <a:pt x="1157" y="225"/>
                  <a:pt x="1150" y="220"/>
                </a:cubicBezTo>
                <a:cubicBezTo>
                  <a:pt x="1147" y="218"/>
                  <a:pt x="1141" y="213"/>
                  <a:pt x="1135" y="208"/>
                </a:cubicBezTo>
                <a:cubicBezTo>
                  <a:pt x="1129" y="204"/>
                  <a:pt x="1123" y="199"/>
                  <a:pt x="1116" y="197"/>
                </a:cubicBezTo>
                <a:cubicBezTo>
                  <a:pt x="1107" y="196"/>
                  <a:pt x="1109" y="196"/>
                  <a:pt x="1090" y="190"/>
                </a:cubicBezTo>
                <a:cubicBezTo>
                  <a:pt x="1085" y="189"/>
                  <a:pt x="1078" y="187"/>
                  <a:pt x="1073" y="186"/>
                </a:cubicBezTo>
                <a:cubicBezTo>
                  <a:pt x="1071" y="185"/>
                  <a:pt x="1068" y="184"/>
                  <a:pt x="1067" y="184"/>
                </a:cubicBezTo>
                <a:cubicBezTo>
                  <a:pt x="1067" y="184"/>
                  <a:pt x="1067" y="184"/>
                  <a:pt x="1067" y="184"/>
                </a:cubicBezTo>
                <a:cubicBezTo>
                  <a:pt x="1067" y="184"/>
                  <a:pt x="1067" y="183"/>
                  <a:pt x="1067" y="183"/>
                </a:cubicBezTo>
                <a:cubicBezTo>
                  <a:pt x="1066" y="182"/>
                  <a:pt x="1064" y="180"/>
                  <a:pt x="1062" y="180"/>
                </a:cubicBezTo>
                <a:cubicBezTo>
                  <a:pt x="1059" y="181"/>
                  <a:pt x="1058" y="182"/>
                  <a:pt x="1057" y="182"/>
                </a:cubicBezTo>
                <a:cubicBezTo>
                  <a:pt x="1056" y="184"/>
                  <a:pt x="1056" y="184"/>
                  <a:pt x="1056" y="185"/>
                </a:cubicBezTo>
                <a:cubicBezTo>
                  <a:pt x="1055" y="187"/>
                  <a:pt x="1055" y="190"/>
                  <a:pt x="1055" y="193"/>
                </a:cubicBezTo>
                <a:cubicBezTo>
                  <a:pt x="1055" y="198"/>
                  <a:pt x="1056" y="205"/>
                  <a:pt x="1063" y="209"/>
                </a:cubicBezTo>
                <a:cubicBezTo>
                  <a:pt x="1071" y="214"/>
                  <a:pt x="1085" y="222"/>
                  <a:pt x="1096" y="227"/>
                </a:cubicBezTo>
                <a:cubicBezTo>
                  <a:pt x="1102" y="230"/>
                  <a:pt x="1109" y="231"/>
                  <a:pt x="1115" y="233"/>
                </a:cubicBezTo>
                <a:cubicBezTo>
                  <a:pt x="1122" y="235"/>
                  <a:pt x="1127" y="237"/>
                  <a:pt x="1128" y="240"/>
                </a:cubicBezTo>
                <a:cubicBezTo>
                  <a:pt x="1137" y="252"/>
                  <a:pt x="1158" y="258"/>
                  <a:pt x="1158" y="258"/>
                </a:cubicBezTo>
                <a:cubicBezTo>
                  <a:pt x="1160" y="259"/>
                  <a:pt x="1160" y="259"/>
                  <a:pt x="1160" y="259"/>
                </a:cubicBezTo>
                <a:cubicBezTo>
                  <a:pt x="1184" y="261"/>
                  <a:pt x="1184" y="261"/>
                  <a:pt x="1184" y="261"/>
                </a:cubicBezTo>
                <a:cubicBezTo>
                  <a:pt x="1178" y="265"/>
                  <a:pt x="1170" y="268"/>
                  <a:pt x="1163" y="271"/>
                </a:cubicBezTo>
                <a:cubicBezTo>
                  <a:pt x="1160" y="272"/>
                  <a:pt x="1156" y="274"/>
                  <a:pt x="1153" y="276"/>
                </a:cubicBezTo>
                <a:cubicBezTo>
                  <a:pt x="1151" y="278"/>
                  <a:pt x="1148" y="282"/>
                  <a:pt x="1148" y="287"/>
                </a:cubicBezTo>
                <a:cubicBezTo>
                  <a:pt x="1147" y="289"/>
                  <a:pt x="1148" y="291"/>
                  <a:pt x="1149" y="293"/>
                </a:cubicBezTo>
                <a:cubicBezTo>
                  <a:pt x="1151" y="296"/>
                  <a:pt x="1151" y="298"/>
                  <a:pt x="1151" y="303"/>
                </a:cubicBezTo>
                <a:cubicBezTo>
                  <a:pt x="1152" y="308"/>
                  <a:pt x="1154" y="315"/>
                  <a:pt x="1161" y="320"/>
                </a:cubicBezTo>
                <a:cubicBezTo>
                  <a:pt x="1167" y="326"/>
                  <a:pt x="1172" y="329"/>
                  <a:pt x="1178" y="331"/>
                </a:cubicBezTo>
                <a:cubicBezTo>
                  <a:pt x="1178" y="331"/>
                  <a:pt x="1177" y="331"/>
                  <a:pt x="1177" y="331"/>
                </a:cubicBezTo>
                <a:cubicBezTo>
                  <a:pt x="1172" y="331"/>
                  <a:pt x="1168" y="334"/>
                  <a:pt x="1164" y="337"/>
                </a:cubicBezTo>
                <a:cubicBezTo>
                  <a:pt x="1162" y="338"/>
                  <a:pt x="1160" y="340"/>
                  <a:pt x="1159" y="341"/>
                </a:cubicBezTo>
                <a:cubicBezTo>
                  <a:pt x="1159" y="340"/>
                  <a:pt x="1158" y="339"/>
                  <a:pt x="1158" y="338"/>
                </a:cubicBezTo>
                <a:cubicBezTo>
                  <a:pt x="1153" y="327"/>
                  <a:pt x="1142" y="318"/>
                  <a:pt x="1138" y="316"/>
                </a:cubicBezTo>
                <a:cubicBezTo>
                  <a:pt x="1136" y="312"/>
                  <a:pt x="1128" y="301"/>
                  <a:pt x="1122" y="295"/>
                </a:cubicBezTo>
                <a:cubicBezTo>
                  <a:pt x="1120" y="293"/>
                  <a:pt x="1118" y="292"/>
                  <a:pt x="1116" y="290"/>
                </a:cubicBezTo>
                <a:cubicBezTo>
                  <a:pt x="1122" y="290"/>
                  <a:pt x="1129" y="289"/>
                  <a:pt x="1133" y="288"/>
                </a:cubicBezTo>
                <a:cubicBezTo>
                  <a:pt x="1142" y="287"/>
                  <a:pt x="1144" y="279"/>
                  <a:pt x="1145" y="273"/>
                </a:cubicBezTo>
                <a:cubicBezTo>
                  <a:pt x="1145" y="269"/>
                  <a:pt x="1142" y="261"/>
                  <a:pt x="1134" y="260"/>
                </a:cubicBezTo>
                <a:cubicBezTo>
                  <a:pt x="1132" y="260"/>
                  <a:pt x="1130" y="259"/>
                  <a:pt x="1127" y="257"/>
                </a:cubicBezTo>
                <a:cubicBezTo>
                  <a:pt x="1124" y="256"/>
                  <a:pt x="1121" y="254"/>
                  <a:pt x="1116" y="253"/>
                </a:cubicBezTo>
                <a:cubicBezTo>
                  <a:pt x="1115" y="253"/>
                  <a:pt x="1114" y="253"/>
                  <a:pt x="1113" y="254"/>
                </a:cubicBezTo>
                <a:cubicBezTo>
                  <a:pt x="1114" y="252"/>
                  <a:pt x="1115" y="250"/>
                  <a:pt x="1115" y="248"/>
                </a:cubicBezTo>
                <a:cubicBezTo>
                  <a:pt x="1115" y="247"/>
                  <a:pt x="1115" y="245"/>
                  <a:pt x="1115" y="244"/>
                </a:cubicBezTo>
                <a:cubicBezTo>
                  <a:pt x="1115" y="244"/>
                  <a:pt x="1115" y="244"/>
                  <a:pt x="1115" y="244"/>
                </a:cubicBezTo>
                <a:cubicBezTo>
                  <a:pt x="1111" y="235"/>
                  <a:pt x="1101" y="230"/>
                  <a:pt x="1093" y="230"/>
                </a:cubicBezTo>
                <a:cubicBezTo>
                  <a:pt x="1086" y="230"/>
                  <a:pt x="1079" y="233"/>
                  <a:pt x="1076" y="241"/>
                </a:cubicBezTo>
                <a:cubicBezTo>
                  <a:pt x="1076" y="242"/>
                  <a:pt x="1076" y="243"/>
                  <a:pt x="1076" y="244"/>
                </a:cubicBezTo>
                <a:cubicBezTo>
                  <a:pt x="1076" y="251"/>
                  <a:pt x="1081" y="254"/>
                  <a:pt x="1086" y="256"/>
                </a:cubicBezTo>
                <a:cubicBezTo>
                  <a:pt x="1090" y="258"/>
                  <a:pt x="1095" y="259"/>
                  <a:pt x="1100" y="259"/>
                </a:cubicBezTo>
                <a:cubicBezTo>
                  <a:pt x="1101" y="259"/>
                  <a:pt x="1101" y="259"/>
                  <a:pt x="1102" y="259"/>
                </a:cubicBezTo>
                <a:cubicBezTo>
                  <a:pt x="1099" y="260"/>
                  <a:pt x="1096" y="262"/>
                  <a:pt x="1093" y="263"/>
                </a:cubicBezTo>
                <a:cubicBezTo>
                  <a:pt x="1089" y="266"/>
                  <a:pt x="1086" y="268"/>
                  <a:pt x="1084" y="270"/>
                </a:cubicBezTo>
                <a:cubicBezTo>
                  <a:pt x="1081" y="273"/>
                  <a:pt x="1078" y="275"/>
                  <a:pt x="1078" y="280"/>
                </a:cubicBezTo>
                <a:cubicBezTo>
                  <a:pt x="1078" y="281"/>
                  <a:pt x="1078" y="282"/>
                  <a:pt x="1079" y="283"/>
                </a:cubicBezTo>
                <a:cubicBezTo>
                  <a:pt x="1081" y="289"/>
                  <a:pt x="1086" y="292"/>
                  <a:pt x="1094" y="293"/>
                </a:cubicBezTo>
                <a:cubicBezTo>
                  <a:pt x="1093" y="295"/>
                  <a:pt x="1092" y="297"/>
                  <a:pt x="1091" y="299"/>
                </a:cubicBezTo>
                <a:cubicBezTo>
                  <a:pt x="1091" y="301"/>
                  <a:pt x="1091" y="302"/>
                  <a:pt x="1091" y="303"/>
                </a:cubicBezTo>
                <a:cubicBezTo>
                  <a:pt x="1091" y="311"/>
                  <a:pt x="1094" y="318"/>
                  <a:pt x="1098" y="329"/>
                </a:cubicBezTo>
                <a:cubicBezTo>
                  <a:pt x="1101" y="336"/>
                  <a:pt x="1103" y="347"/>
                  <a:pt x="1103" y="354"/>
                </a:cubicBezTo>
                <a:cubicBezTo>
                  <a:pt x="1103" y="356"/>
                  <a:pt x="1103" y="357"/>
                  <a:pt x="1103" y="358"/>
                </a:cubicBezTo>
                <a:cubicBezTo>
                  <a:pt x="1095" y="360"/>
                  <a:pt x="1093" y="361"/>
                  <a:pt x="1086" y="364"/>
                </a:cubicBezTo>
                <a:cubicBezTo>
                  <a:pt x="1085" y="364"/>
                  <a:pt x="1085" y="364"/>
                  <a:pt x="1084" y="364"/>
                </a:cubicBezTo>
                <a:cubicBezTo>
                  <a:pt x="1084" y="364"/>
                  <a:pt x="1084" y="364"/>
                  <a:pt x="1084" y="364"/>
                </a:cubicBezTo>
                <a:cubicBezTo>
                  <a:pt x="1084" y="364"/>
                  <a:pt x="1084" y="363"/>
                  <a:pt x="1083" y="362"/>
                </a:cubicBezTo>
                <a:cubicBezTo>
                  <a:pt x="1083" y="360"/>
                  <a:pt x="1082" y="357"/>
                  <a:pt x="1082" y="354"/>
                </a:cubicBezTo>
                <a:cubicBezTo>
                  <a:pt x="1082" y="345"/>
                  <a:pt x="1080" y="337"/>
                  <a:pt x="1080" y="333"/>
                </a:cubicBezTo>
                <a:cubicBezTo>
                  <a:pt x="1080" y="333"/>
                  <a:pt x="1080" y="332"/>
                  <a:pt x="1080" y="332"/>
                </a:cubicBezTo>
                <a:cubicBezTo>
                  <a:pt x="1080" y="332"/>
                  <a:pt x="1080" y="332"/>
                  <a:pt x="1080" y="332"/>
                </a:cubicBezTo>
                <a:cubicBezTo>
                  <a:pt x="1081" y="331"/>
                  <a:pt x="1081" y="330"/>
                  <a:pt x="1081" y="329"/>
                </a:cubicBezTo>
                <a:cubicBezTo>
                  <a:pt x="1082" y="327"/>
                  <a:pt x="1080" y="324"/>
                  <a:pt x="1078" y="323"/>
                </a:cubicBezTo>
                <a:cubicBezTo>
                  <a:pt x="1076" y="322"/>
                  <a:pt x="1075" y="322"/>
                  <a:pt x="1075" y="322"/>
                </a:cubicBezTo>
                <a:cubicBezTo>
                  <a:pt x="1070" y="322"/>
                  <a:pt x="1066" y="324"/>
                  <a:pt x="1060" y="324"/>
                </a:cubicBezTo>
                <a:cubicBezTo>
                  <a:pt x="1059" y="324"/>
                  <a:pt x="1057" y="324"/>
                  <a:pt x="1056" y="323"/>
                </a:cubicBezTo>
                <a:cubicBezTo>
                  <a:pt x="1054" y="323"/>
                  <a:pt x="1052" y="323"/>
                  <a:pt x="1050" y="323"/>
                </a:cubicBezTo>
                <a:cubicBezTo>
                  <a:pt x="1046" y="323"/>
                  <a:pt x="1043" y="324"/>
                  <a:pt x="1040" y="325"/>
                </a:cubicBezTo>
                <a:cubicBezTo>
                  <a:pt x="1037" y="327"/>
                  <a:pt x="1034" y="330"/>
                  <a:pt x="1034" y="334"/>
                </a:cubicBezTo>
                <a:cubicBezTo>
                  <a:pt x="1034" y="340"/>
                  <a:pt x="1039" y="343"/>
                  <a:pt x="1043" y="345"/>
                </a:cubicBezTo>
                <a:cubicBezTo>
                  <a:pt x="1047" y="346"/>
                  <a:pt x="1049" y="350"/>
                  <a:pt x="1049" y="353"/>
                </a:cubicBezTo>
                <a:cubicBezTo>
                  <a:pt x="1049" y="356"/>
                  <a:pt x="1048" y="357"/>
                  <a:pt x="1046" y="358"/>
                </a:cubicBezTo>
                <a:cubicBezTo>
                  <a:pt x="1045" y="359"/>
                  <a:pt x="1038" y="360"/>
                  <a:pt x="1031" y="360"/>
                </a:cubicBezTo>
                <a:cubicBezTo>
                  <a:pt x="1015" y="360"/>
                  <a:pt x="995" y="358"/>
                  <a:pt x="987" y="358"/>
                </a:cubicBezTo>
                <a:cubicBezTo>
                  <a:pt x="980" y="358"/>
                  <a:pt x="972" y="359"/>
                  <a:pt x="966" y="359"/>
                </a:cubicBezTo>
                <a:cubicBezTo>
                  <a:pt x="963" y="359"/>
                  <a:pt x="960" y="359"/>
                  <a:pt x="959" y="358"/>
                </a:cubicBezTo>
                <a:cubicBezTo>
                  <a:pt x="957" y="358"/>
                  <a:pt x="958" y="357"/>
                  <a:pt x="958" y="357"/>
                </a:cubicBezTo>
                <a:cubicBezTo>
                  <a:pt x="957" y="357"/>
                  <a:pt x="957" y="357"/>
                  <a:pt x="957" y="357"/>
                </a:cubicBezTo>
                <a:cubicBezTo>
                  <a:pt x="957" y="357"/>
                  <a:pt x="957" y="357"/>
                  <a:pt x="958" y="357"/>
                </a:cubicBezTo>
                <a:cubicBezTo>
                  <a:pt x="959" y="355"/>
                  <a:pt x="967" y="352"/>
                  <a:pt x="970" y="352"/>
                </a:cubicBezTo>
                <a:cubicBezTo>
                  <a:pt x="972" y="352"/>
                  <a:pt x="973" y="352"/>
                  <a:pt x="975" y="352"/>
                </a:cubicBezTo>
                <a:cubicBezTo>
                  <a:pt x="986" y="352"/>
                  <a:pt x="1006" y="352"/>
                  <a:pt x="1017" y="335"/>
                </a:cubicBezTo>
                <a:cubicBezTo>
                  <a:pt x="1019" y="332"/>
                  <a:pt x="1020" y="329"/>
                  <a:pt x="1020" y="325"/>
                </a:cubicBezTo>
                <a:cubicBezTo>
                  <a:pt x="1020" y="317"/>
                  <a:pt x="1013" y="312"/>
                  <a:pt x="1007" y="311"/>
                </a:cubicBezTo>
                <a:cubicBezTo>
                  <a:pt x="1001" y="309"/>
                  <a:pt x="995" y="308"/>
                  <a:pt x="991" y="308"/>
                </a:cubicBezTo>
                <a:cubicBezTo>
                  <a:pt x="984" y="308"/>
                  <a:pt x="980" y="306"/>
                  <a:pt x="969" y="294"/>
                </a:cubicBezTo>
                <a:cubicBezTo>
                  <a:pt x="968" y="292"/>
                  <a:pt x="967" y="291"/>
                  <a:pt x="967" y="290"/>
                </a:cubicBezTo>
                <a:cubicBezTo>
                  <a:pt x="967" y="288"/>
                  <a:pt x="968" y="286"/>
                  <a:pt x="970" y="283"/>
                </a:cubicBezTo>
                <a:cubicBezTo>
                  <a:pt x="972" y="281"/>
                  <a:pt x="975" y="279"/>
                  <a:pt x="975" y="273"/>
                </a:cubicBezTo>
                <a:cubicBezTo>
                  <a:pt x="975" y="272"/>
                  <a:pt x="975" y="270"/>
                  <a:pt x="975" y="269"/>
                </a:cubicBezTo>
                <a:cubicBezTo>
                  <a:pt x="974" y="267"/>
                  <a:pt x="973" y="268"/>
                  <a:pt x="972" y="264"/>
                </a:cubicBezTo>
                <a:cubicBezTo>
                  <a:pt x="972" y="264"/>
                  <a:pt x="972" y="264"/>
                  <a:pt x="972" y="264"/>
                </a:cubicBezTo>
                <a:cubicBezTo>
                  <a:pt x="973" y="264"/>
                  <a:pt x="974" y="265"/>
                  <a:pt x="975" y="264"/>
                </a:cubicBezTo>
                <a:cubicBezTo>
                  <a:pt x="983" y="261"/>
                  <a:pt x="984" y="255"/>
                  <a:pt x="987" y="251"/>
                </a:cubicBezTo>
                <a:cubicBezTo>
                  <a:pt x="988" y="249"/>
                  <a:pt x="989" y="247"/>
                  <a:pt x="990" y="246"/>
                </a:cubicBezTo>
                <a:cubicBezTo>
                  <a:pt x="990" y="246"/>
                  <a:pt x="990" y="246"/>
                  <a:pt x="990" y="246"/>
                </a:cubicBezTo>
                <a:cubicBezTo>
                  <a:pt x="994" y="245"/>
                  <a:pt x="1000" y="244"/>
                  <a:pt x="1007" y="244"/>
                </a:cubicBezTo>
                <a:cubicBezTo>
                  <a:pt x="1009" y="244"/>
                  <a:pt x="1011" y="244"/>
                  <a:pt x="1013" y="245"/>
                </a:cubicBezTo>
                <a:cubicBezTo>
                  <a:pt x="1014" y="245"/>
                  <a:pt x="1014" y="245"/>
                  <a:pt x="1014" y="246"/>
                </a:cubicBezTo>
                <a:cubicBezTo>
                  <a:pt x="1015" y="249"/>
                  <a:pt x="1016" y="251"/>
                  <a:pt x="1018" y="253"/>
                </a:cubicBezTo>
                <a:cubicBezTo>
                  <a:pt x="1019" y="255"/>
                  <a:pt x="1023" y="256"/>
                  <a:pt x="1025" y="256"/>
                </a:cubicBezTo>
                <a:cubicBezTo>
                  <a:pt x="1028" y="256"/>
                  <a:pt x="1029" y="256"/>
                  <a:pt x="1031" y="256"/>
                </a:cubicBezTo>
                <a:cubicBezTo>
                  <a:pt x="1032" y="256"/>
                  <a:pt x="1033" y="256"/>
                  <a:pt x="1034" y="256"/>
                </a:cubicBezTo>
                <a:cubicBezTo>
                  <a:pt x="1034" y="256"/>
                  <a:pt x="1035" y="256"/>
                  <a:pt x="1035" y="256"/>
                </a:cubicBezTo>
                <a:cubicBezTo>
                  <a:pt x="1043" y="256"/>
                  <a:pt x="1049" y="251"/>
                  <a:pt x="1053" y="247"/>
                </a:cubicBezTo>
                <a:cubicBezTo>
                  <a:pt x="1057" y="242"/>
                  <a:pt x="1059" y="238"/>
                  <a:pt x="1060" y="234"/>
                </a:cubicBezTo>
                <a:cubicBezTo>
                  <a:pt x="1060" y="233"/>
                  <a:pt x="1060" y="232"/>
                  <a:pt x="1060" y="232"/>
                </a:cubicBezTo>
                <a:cubicBezTo>
                  <a:pt x="1060" y="223"/>
                  <a:pt x="1052" y="214"/>
                  <a:pt x="1038" y="214"/>
                </a:cubicBezTo>
                <a:cubicBezTo>
                  <a:pt x="1037" y="214"/>
                  <a:pt x="1035" y="214"/>
                  <a:pt x="1034" y="215"/>
                </a:cubicBezTo>
                <a:cubicBezTo>
                  <a:pt x="1031" y="215"/>
                  <a:pt x="1028" y="215"/>
                  <a:pt x="1023" y="215"/>
                </a:cubicBezTo>
                <a:cubicBezTo>
                  <a:pt x="1015" y="215"/>
                  <a:pt x="1005" y="215"/>
                  <a:pt x="995" y="215"/>
                </a:cubicBezTo>
                <a:cubicBezTo>
                  <a:pt x="989" y="215"/>
                  <a:pt x="983" y="215"/>
                  <a:pt x="978" y="215"/>
                </a:cubicBezTo>
                <a:cubicBezTo>
                  <a:pt x="973" y="216"/>
                  <a:pt x="969" y="216"/>
                  <a:pt x="965" y="220"/>
                </a:cubicBezTo>
                <a:cubicBezTo>
                  <a:pt x="965" y="220"/>
                  <a:pt x="965" y="220"/>
                  <a:pt x="965" y="220"/>
                </a:cubicBezTo>
                <a:cubicBezTo>
                  <a:pt x="961" y="224"/>
                  <a:pt x="961" y="230"/>
                  <a:pt x="960" y="234"/>
                </a:cubicBezTo>
                <a:cubicBezTo>
                  <a:pt x="960" y="240"/>
                  <a:pt x="961" y="246"/>
                  <a:pt x="961" y="248"/>
                </a:cubicBezTo>
                <a:cubicBezTo>
                  <a:pt x="960" y="250"/>
                  <a:pt x="960" y="251"/>
                  <a:pt x="960" y="253"/>
                </a:cubicBezTo>
                <a:cubicBezTo>
                  <a:pt x="960" y="256"/>
                  <a:pt x="961" y="258"/>
                  <a:pt x="963" y="261"/>
                </a:cubicBezTo>
                <a:cubicBezTo>
                  <a:pt x="963" y="261"/>
                  <a:pt x="964" y="262"/>
                  <a:pt x="965" y="263"/>
                </a:cubicBezTo>
                <a:cubicBezTo>
                  <a:pt x="964" y="263"/>
                  <a:pt x="963" y="263"/>
                  <a:pt x="963" y="263"/>
                </a:cubicBezTo>
                <a:cubicBezTo>
                  <a:pt x="957" y="263"/>
                  <a:pt x="950" y="264"/>
                  <a:pt x="945" y="264"/>
                </a:cubicBezTo>
                <a:cubicBezTo>
                  <a:pt x="945" y="264"/>
                  <a:pt x="945" y="264"/>
                  <a:pt x="945" y="264"/>
                </a:cubicBezTo>
                <a:cubicBezTo>
                  <a:pt x="945" y="264"/>
                  <a:pt x="946" y="263"/>
                  <a:pt x="948" y="262"/>
                </a:cubicBezTo>
                <a:cubicBezTo>
                  <a:pt x="950" y="260"/>
                  <a:pt x="954" y="257"/>
                  <a:pt x="955" y="252"/>
                </a:cubicBezTo>
                <a:cubicBezTo>
                  <a:pt x="955" y="247"/>
                  <a:pt x="959" y="229"/>
                  <a:pt x="959" y="229"/>
                </a:cubicBezTo>
                <a:cubicBezTo>
                  <a:pt x="959" y="228"/>
                  <a:pt x="959" y="227"/>
                  <a:pt x="959" y="225"/>
                </a:cubicBezTo>
                <a:cubicBezTo>
                  <a:pt x="958" y="225"/>
                  <a:pt x="956" y="216"/>
                  <a:pt x="945" y="215"/>
                </a:cubicBezTo>
                <a:cubicBezTo>
                  <a:pt x="942" y="215"/>
                  <a:pt x="940" y="216"/>
                  <a:pt x="938" y="217"/>
                </a:cubicBezTo>
                <a:cubicBezTo>
                  <a:pt x="931" y="221"/>
                  <a:pt x="928" y="223"/>
                  <a:pt x="927" y="222"/>
                </a:cubicBezTo>
                <a:cubicBezTo>
                  <a:pt x="927" y="222"/>
                  <a:pt x="928" y="222"/>
                  <a:pt x="924" y="222"/>
                </a:cubicBezTo>
                <a:cubicBezTo>
                  <a:pt x="924" y="222"/>
                  <a:pt x="924" y="222"/>
                  <a:pt x="924" y="222"/>
                </a:cubicBezTo>
                <a:cubicBezTo>
                  <a:pt x="924" y="222"/>
                  <a:pt x="923" y="219"/>
                  <a:pt x="920" y="216"/>
                </a:cubicBezTo>
                <a:cubicBezTo>
                  <a:pt x="918" y="212"/>
                  <a:pt x="914" y="208"/>
                  <a:pt x="907" y="208"/>
                </a:cubicBezTo>
                <a:cubicBezTo>
                  <a:pt x="906" y="208"/>
                  <a:pt x="905" y="208"/>
                  <a:pt x="903" y="208"/>
                </a:cubicBezTo>
                <a:cubicBezTo>
                  <a:pt x="888" y="211"/>
                  <a:pt x="884" y="223"/>
                  <a:pt x="882" y="224"/>
                </a:cubicBezTo>
                <a:cubicBezTo>
                  <a:pt x="881" y="226"/>
                  <a:pt x="875" y="228"/>
                  <a:pt x="874" y="228"/>
                </a:cubicBezTo>
                <a:cubicBezTo>
                  <a:pt x="874" y="228"/>
                  <a:pt x="874" y="228"/>
                  <a:pt x="874" y="228"/>
                </a:cubicBezTo>
                <a:cubicBezTo>
                  <a:pt x="870" y="224"/>
                  <a:pt x="854" y="215"/>
                  <a:pt x="854" y="215"/>
                </a:cubicBezTo>
                <a:cubicBezTo>
                  <a:pt x="853" y="214"/>
                  <a:pt x="852" y="214"/>
                  <a:pt x="851" y="214"/>
                </a:cubicBezTo>
                <a:cubicBezTo>
                  <a:pt x="858" y="213"/>
                  <a:pt x="866" y="210"/>
                  <a:pt x="870" y="210"/>
                </a:cubicBezTo>
                <a:cubicBezTo>
                  <a:pt x="871" y="210"/>
                  <a:pt x="871" y="210"/>
                  <a:pt x="872" y="210"/>
                </a:cubicBezTo>
                <a:cubicBezTo>
                  <a:pt x="875" y="213"/>
                  <a:pt x="878" y="214"/>
                  <a:pt x="882" y="214"/>
                </a:cubicBezTo>
                <a:cubicBezTo>
                  <a:pt x="885" y="214"/>
                  <a:pt x="888" y="213"/>
                  <a:pt x="891" y="212"/>
                </a:cubicBezTo>
                <a:cubicBezTo>
                  <a:pt x="893" y="210"/>
                  <a:pt x="896" y="208"/>
                  <a:pt x="897" y="203"/>
                </a:cubicBezTo>
                <a:cubicBezTo>
                  <a:pt x="897" y="202"/>
                  <a:pt x="896" y="202"/>
                  <a:pt x="896" y="201"/>
                </a:cubicBezTo>
                <a:cubicBezTo>
                  <a:pt x="896" y="201"/>
                  <a:pt x="896" y="201"/>
                  <a:pt x="896" y="201"/>
                </a:cubicBezTo>
                <a:cubicBezTo>
                  <a:pt x="896" y="199"/>
                  <a:pt x="897" y="194"/>
                  <a:pt x="897" y="188"/>
                </a:cubicBezTo>
                <a:cubicBezTo>
                  <a:pt x="897" y="185"/>
                  <a:pt x="897" y="182"/>
                  <a:pt x="896" y="179"/>
                </a:cubicBezTo>
                <a:cubicBezTo>
                  <a:pt x="895" y="176"/>
                  <a:pt x="891" y="172"/>
                  <a:pt x="887" y="172"/>
                </a:cubicBezTo>
                <a:cubicBezTo>
                  <a:pt x="886" y="172"/>
                  <a:pt x="886" y="172"/>
                  <a:pt x="885" y="172"/>
                </a:cubicBezTo>
                <a:cubicBezTo>
                  <a:pt x="872" y="173"/>
                  <a:pt x="860" y="184"/>
                  <a:pt x="848" y="188"/>
                </a:cubicBezTo>
                <a:cubicBezTo>
                  <a:pt x="842" y="191"/>
                  <a:pt x="838" y="196"/>
                  <a:pt x="838" y="202"/>
                </a:cubicBezTo>
                <a:cubicBezTo>
                  <a:pt x="838" y="206"/>
                  <a:pt x="841" y="212"/>
                  <a:pt x="847" y="213"/>
                </a:cubicBezTo>
                <a:cubicBezTo>
                  <a:pt x="843" y="213"/>
                  <a:pt x="838" y="213"/>
                  <a:pt x="832" y="212"/>
                </a:cubicBezTo>
                <a:cubicBezTo>
                  <a:pt x="828" y="211"/>
                  <a:pt x="823" y="211"/>
                  <a:pt x="820" y="210"/>
                </a:cubicBezTo>
                <a:cubicBezTo>
                  <a:pt x="819" y="210"/>
                  <a:pt x="818" y="209"/>
                  <a:pt x="817" y="209"/>
                </a:cubicBezTo>
                <a:cubicBezTo>
                  <a:pt x="815" y="202"/>
                  <a:pt x="807" y="193"/>
                  <a:pt x="792" y="193"/>
                </a:cubicBezTo>
                <a:cubicBezTo>
                  <a:pt x="790" y="193"/>
                  <a:pt x="788" y="193"/>
                  <a:pt x="787" y="193"/>
                </a:cubicBezTo>
                <a:cubicBezTo>
                  <a:pt x="777" y="194"/>
                  <a:pt x="766" y="198"/>
                  <a:pt x="756" y="201"/>
                </a:cubicBezTo>
                <a:cubicBezTo>
                  <a:pt x="751" y="203"/>
                  <a:pt x="746" y="204"/>
                  <a:pt x="742" y="206"/>
                </a:cubicBezTo>
                <a:cubicBezTo>
                  <a:pt x="741" y="206"/>
                  <a:pt x="739" y="207"/>
                  <a:pt x="738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7" y="207"/>
                  <a:pt x="737" y="207"/>
                  <a:pt x="737" y="207"/>
                </a:cubicBezTo>
                <a:cubicBezTo>
                  <a:pt x="735" y="207"/>
                  <a:pt x="733" y="208"/>
                  <a:pt x="732" y="209"/>
                </a:cubicBezTo>
                <a:cubicBezTo>
                  <a:pt x="730" y="211"/>
                  <a:pt x="729" y="213"/>
                  <a:pt x="729" y="214"/>
                </a:cubicBezTo>
                <a:cubicBezTo>
                  <a:pt x="730" y="216"/>
                  <a:pt x="730" y="217"/>
                  <a:pt x="730" y="218"/>
                </a:cubicBezTo>
                <a:cubicBezTo>
                  <a:pt x="728" y="218"/>
                  <a:pt x="725" y="219"/>
                  <a:pt x="722" y="220"/>
                </a:cubicBezTo>
                <a:cubicBezTo>
                  <a:pt x="719" y="221"/>
                  <a:pt x="715" y="225"/>
                  <a:pt x="714" y="230"/>
                </a:cubicBezTo>
                <a:cubicBezTo>
                  <a:pt x="714" y="231"/>
                  <a:pt x="714" y="232"/>
                  <a:pt x="714" y="233"/>
                </a:cubicBezTo>
                <a:cubicBezTo>
                  <a:pt x="713" y="236"/>
                  <a:pt x="715" y="239"/>
                  <a:pt x="717" y="240"/>
                </a:cubicBezTo>
                <a:cubicBezTo>
                  <a:pt x="723" y="244"/>
                  <a:pt x="729" y="243"/>
                  <a:pt x="736" y="243"/>
                </a:cubicBezTo>
                <a:cubicBezTo>
                  <a:pt x="736" y="243"/>
                  <a:pt x="736" y="243"/>
                  <a:pt x="737" y="243"/>
                </a:cubicBezTo>
                <a:cubicBezTo>
                  <a:pt x="742" y="243"/>
                  <a:pt x="748" y="243"/>
                  <a:pt x="754" y="243"/>
                </a:cubicBezTo>
                <a:cubicBezTo>
                  <a:pt x="761" y="242"/>
                  <a:pt x="766" y="242"/>
                  <a:pt x="771" y="240"/>
                </a:cubicBezTo>
                <a:cubicBezTo>
                  <a:pt x="772" y="239"/>
                  <a:pt x="783" y="236"/>
                  <a:pt x="788" y="236"/>
                </a:cubicBezTo>
                <a:cubicBezTo>
                  <a:pt x="788" y="236"/>
                  <a:pt x="788" y="236"/>
                  <a:pt x="788" y="236"/>
                </a:cubicBezTo>
                <a:cubicBezTo>
                  <a:pt x="788" y="240"/>
                  <a:pt x="789" y="241"/>
                  <a:pt x="790" y="244"/>
                </a:cubicBezTo>
                <a:cubicBezTo>
                  <a:pt x="790" y="244"/>
                  <a:pt x="789" y="244"/>
                  <a:pt x="789" y="244"/>
                </a:cubicBezTo>
                <a:cubicBezTo>
                  <a:pt x="788" y="243"/>
                  <a:pt x="787" y="243"/>
                  <a:pt x="786" y="243"/>
                </a:cubicBezTo>
                <a:cubicBezTo>
                  <a:pt x="779" y="243"/>
                  <a:pt x="774" y="246"/>
                  <a:pt x="771" y="248"/>
                </a:cubicBezTo>
                <a:cubicBezTo>
                  <a:pt x="767" y="250"/>
                  <a:pt x="766" y="251"/>
                  <a:pt x="762" y="251"/>
                </a:cubicBezTo>
                <a:cubicBezTo>
                  <a:pt x="761" y="251"/>
                  <a:pt x="760" y="251"/>
                  <a:pt x="758" y="250"/>
                </a:cubicBezTo>
                <a:cubicBezTo>
                  <a:pt x="754" y="250"/>
                  <a:pt x="750" y="249"/>
                  <a:pt x="747" y="249"/>
                </a:cubicBezTo>
                <a:cubicBezTo>
                  <a:pt x="739" y="249"/>
                  <a:pt x="734" y="251"/>
                  <a:pt x="727" y="251"/>
                </a:cubicBezTo>
                <a:cubicBezTo>
                  <a:pt x="725" y="251"/>
                  <a:pt x="723" y="251"/>
                  <a:pt x="721" y="250"/>
                </a:cubicBezTo>
                <a:cubicBezTo>
                  <a:pt x="715" y="250"/>
                  <a:pt x="711" y="249"/>
                  <a:pt x="706" y="249"/>
                </a:cubicBezTo>
                <a:cubicBezTo>
                  <a:pt x="703" y="249"/>
                  <a:pt x="699" y="250"/>
                  <a:pt x="695" y="252"/>
                </a:cubicBezTo>
                <a:cubicBezTo>
                  <a:pt x="692" y="254"/>
                  <a:pt x="689" y="258"/>
                  <a:pt x="688" y="262"/>
                </a:cubicBezTo>
                <a:cubicBezTo>
                  <a:pt x="687" y="267"/>
                  <a:pt x="685" y="273"/>
                  <a:pt x="683" y="278"/>
                </a:cubicBezTo>
                <a:cubicBezTo>
                  <a:pt x="682" y="280"/>
                  <a:pt x="681" y="282"/>
                  <a:pt x="681" y="283"/>
                </a:cubicBezTo>
                <a:cubicBezTo>
                  <a:pt x="680" y="283"/>
                  <a:pt x="680" y="283"/>
                  <a:pt x="680" y="283"/>
                </a:cubicBezTo>
                <a:cubicBezTo>
                  <a:pt x="677" y="284"/>
                  <a:pt x="674" y="285"/>
                  <a:pt x="672" y="286"/>
                </a:cubicBezTo>
                <a:cubicBezTo>
                  <a:pt x="670" y="288"/>
                  <a:pt x="667" y="290"/>
                  <a:pt x="667" y="295"/>
                </a:cubicBezTo>
                <a:cubicBezTo>
                  <a:pt x="667" y="299"/>
                  <a:pt x="670" y="302"/>
                  <a:pt x="674" y="304"/>
                </a:cubicBezTo>
                <a:cubicBezTo>
                  <a:pt x="677" y="305"/>
                  <a:pt x="681" y="306"/>
                  <a:pt x="687" y="306"/>
                </a:cubicBezTo>
                <a:cubicBezTo>
                  <a:pt x="696" y="308"/>
                  <a:pt x="695" y="309"/>
                  <a:pt x="697" y="311"/>
                </a:cubicBezTo>
                <a:cubicBezTo>
                  <a:pt x="698" y="312"/>
                  <a:pt x="699" y="314"/>
                  <a:pt x="702" y="316"/>
                </a:cubicBezTo>
                <a:cubicBezTo>
                  <a:pt x="705" y="318"/>
                  <a:pt x="709" y="319"/>
                  <a:pt x="713" y="319"/>
                </a:cubicBezTo>
                <a:cubicBezTo>
                  <a:pt x="714" y="319"/>
                  <a:pt x="715" y="319"/>
                  <a:pt x="716" y="319"/>
                </a:cubicBezTo>
                <a:cubicBezTo>
                  <a:pt x="726" y="318"/>
                  <a:pt x="736" y="318"/>
                  <a:pt x="744" y="316"/>
                </a:cubicBezTo>
                <a:cubicBezTo>
                  <a:pt x="752" y="315"/>
                  <a:pt x="760" y="311"/>
                  <a:pt x="763" y="303"/>
                </a:cubicBezTo>
                <a:cubicBezTo>
                  <a:pt x="764" y="302"/>
                  <a:pt x="764" y="301"/>
                  <a:pt x="764" y="300"/>
                </a:cubicBezTo>
                <a:cubicBezTo>
                  <a:pt x="770" y="308"/>
                  <a:pt x="782" y="326"/>
                  <a:pt x="782" y="326"/>
                </a:cubicBezTo>
                <a:cubicBezTo>
                  <a:pt x="783" y="327"/>
                  <a:pt x="783" y="327"/>
                  <a:pt x="783" y="327"/>
                </a:cubicBezTo>
                <a:cubicBezTo>
                  <a:pt x="783" y="327"/>
                  <a:pt x="791" y="335"/>
                  <a:pt x="798" y="340"/>
                </a:cubicBezTo>
                <a:cubicBezTo>
                  <a:pt x="797" y="340"/>
                  <a:pt x="796" y="341"/>
                  <a:pt x="795" y="341"/>
                </a:cubicBezTo>
                <a:cubicBezTo>
                  <a:pt x="795" y="341"/>
                  <a:pt x="794" y="341"/>
                  <a:pt x="793" y="340"/>
                </a:cubicBezTo>
                <a:cubicBezTo>
                  <a:pt x="787" y="335"/>
                  <a:pt x="780" y="334"/>
                  <a:pt x="773" y="332"/>
                </a:cubicBezTo>
                <a:cubicBezTo>
                  <a:pt x="767" y="331"/>
                  <a:pt x="762" y="329"/>
                  <a:pt x="761" y="328"/>
                </a:cubicBezTo>
                <a:cubicBezTo>
                  <a:pt x="756" y="324"/>
                  <a:pt x="750" y="322"/>
                  <a:pt x="743" y="321"/>
                </a:cubicBezTo>
                <a:cubicBezTo>
                  <a:pt x="737" y="320"/>
                  <a:pt x="729" y="320"/>
                  <a:pt x="723" y="320"/>
                </a:cubicBezTo>
                <a:cubicBezTo>
                  <a:pt x="717" y="320"/>
                  <a:pt x="712" y="320"/>
                  <a:pt x="709" y="321"/>
                </a:cubicBezTo>
                <a:cubicBezTo>
                  <a:pt x="709" y="321"/>
                  <a:pt x="708" y="321"/>
                  <a:pt x="707" y="321"/>
                </a:cubicBezTo>
                <a:cubicBezTo>
                  <a:pt x="704" y="321"/>
                  <a:pt x="700" y="320"/>
                  <a:pt x="696" y="319"/>
                </a:cubicBezTo>
                <a:cubicBezTo>
                  <a:pt x="691" y="318"/>
                  <a:pt x="688" y="317"/>
                  <a:pt x="684" y="316"/>
                </a:cubicBezTo>
                <a:cubicBezTo>
                  <a:pt x="680" y="317"/>
                  <a:pt x="678" y="318"/>
                  <a:pt x="676" y="320"/>
                </a:cubicBezTo>
                <a:cubicBezTo>
                  <a:pt x="672" y="322"/>
                  <a:pt x="669" y="324"/>
                  <a:pt x="666" y="327"/>
                </a:cubicBezTo>
                <a:cubicBezTo>
                  <a:pt x="664" y="323"/>
                  <a:pt x="662" y="319"/>
                  <a:pt x="660" y="317"/>
                </a:cubicBezTo>
                <a:cubicBezTo>
                  <a:pt x="659" y="314"/>
                  <a:pt x="656" y="312"/>
                  <a:pt x="653" y="312"/>
                </a:cubicBezTo>
                <a:cubicBezTo>
                  <a:pt x="647" y="313"/>
                  <a:pt x="645" y="316"/>
                  <a:pt x="643" y="318"/>
                </a:cubicBezTo>
                <a:cubicBezTo>
                  <a:pt x="642" y="319"/>
                  <a:pt x="641" y="320"/>
                  <a:pt x="640" y="320"/>
                </a:cubicBezTo>
                <a:cubicBezTo>
                  <a:pt x="640" y="320"/>
                  <a:pt x="640" y="320"/>
                  <a:pt x="640" y="321"/>
                </a:cubicBezTo>
                <a:cubicBezTo>
                  <a:pt x="637" y="320"/>
                  <a:pt x="627" y="314"/>
                  <a:pt x="617" y="314"/>
                </a:cubicBezTo>
                <a:cubicBezTo>
                  <a:pt x="613" y="314"/>
                  <a:pt x="610" y="314"/>
                  <a:pt x="607" y="316"/>
                </a:cubicBezTo>
                <a:cubicBezTo>
                  <a:pt x="600" y="318"/>
                  <a:pt x="596" y="322"/>
                  <a:pt x="594" y="323"/>
                </a:cubicBezTo>
                <a:cubicBezTo>
                  <a:pt x="592" y="324"/>
                  <a:pt x="592" y="325"/>
                  <a:pt x="586" y="325"/>
                </a:cubicBezTo>
                <a:cubicBezTo>
                  <a:pt x="584" y="325"/>
                  <a:pt x="583" y="325"/>
                  <a:pt x="581" y="325"/>
                </a:cubicBezTo>
                <a:cubicBezTo>
                  <a:pt x="564" y="324"/>
                  <a:pt x="560" y="321"/>
                  <a:pt x="552" y="320"/>
                </a:cubicBezTo>
                <a:cubicBezTo>
                  <a:pt x="551" y="320"/>
                  <a:pt x="549" y="320"/>
                  <a:pt x="548" y="321"/>
                </a:cubicBezTo>
                <a:cubicBezTo>
                  <a:pt x="541" y="322"/>
                  <a:pt x="541" y="322"/>
                  <a:pt x="541" y="322"/>
                </a:cubicBezTo>
                <a:cubicBezTo>
                  <a:pt x="538" y="323"/>
                  <a:pt x="536" y="326"/>
                  <a:pt x="536" y="329"/>
                </a:cubicBezTo>
                <a:cubicBezTo>
                  <a:pt x="536" y="329"/>
                  <a:pt x="537" y="331"/>
                  <a:pt x="532" y="334"/>
                </a:cubicBezTo>
                <a:cubicBezTo>
                  <a:pt x="529" y="336"/>
                  <a:pt x="527" y="338"/>
                  <a:pt x="525" y="339"/>
                </a:cubicBezTo>
                <a:cubicBezTo>
                  <a:pt x="524" y="340"/>
                  <a:pt x="523" y="341"/>
                  <a:pt x="522" y="341"/>
                </a:cubicBezTo>
                <a:cubicBezTo>
                  <a:pt x="522" y="341"/>
                  <a:pt x="522" y="341"/>
                  <a:pt x="522" y="341"/>
                </a:cubicBezTo>
                <a:cubicBezTo>
                  <a:pt x="522" y="341"/>
                  <a:pt x="521" y="340"/>
                  <a:pt x="521" y="340"/>
                </a:cubicBezTo>
                <a:cubicBezTo>
                  <a:pt x="515" y="330"/>
                  <a:pt x="507" y="329"/>
                  <a:pt x="505" y="328"/>
                </a:cubicBezTo>
                <a:cubicBezTo>
                  <a:pt x="505" y="328"/>
                  <a:pt x="503" y="327"/>
                  <a:pt x="500" y="325"/>
                </a:cubicBezTo>
                <a:cubicBezTo>
                  <a:pt x="497" y="323"/>
                  <a:pt x="492" y="322"/>
                  <a:pt x="487" y="322"/>
                </a:cubicBezTo>
                <a:cubicBezTo>
                  <a:pt x="484" y="322"/>
                  <a:pt x="480" y="323"/>
                  <a:pt x="476" y="324"/>
                </a:cubicBezTo>
                <a:cubicBezTo>
                  <a:pt x="474" y="324"/>
                  <a:pt x="472" y="324"/>
                  <a:pt x="469" y="324"/>
                </a:cubicBezTo>
                <a:cubicBezTo>
                  <a:pt x="463" y="324"/>
                  <a:pt x="456" y="323"/>
                  <a:pt x="450" y="321"/>
                </a:cubicBezTo>
                <a:cubicBezTo>
                  <a:pt x="444" y="320"/>
                  <a:pt x="440" y="318"/>
                  <a:pt x="435" y="318"/>
                </a:cubicBezTo>
                <a:cubicBezTo>
                  <a:pt x="432" y="318"/>
                  <a:pt x="389" y="315"/>
                  <a:pt x="382" y="313"/>
                </a:cubicBezTo>
                <a:cubicBezTo>
                  <a:pt x="375" y="311"/>
                  <a:pt x="364" y="310"/>
                  <a:pt x="354" y="310"/>
                </a:cubicBezTo>
                <a:cubicBezTo>
                  <a:pt x="347" y="310"/>
                  <a:pt x="341" y="310"/>
                  <a:pt x="337" y="311"/>
                </a:cubicBezTo>
                <a:cubicBezTo>
                  <a:pt x="330" y="312"/>
                  <a:pt x="313" y="312"/>
                  <a:pt x="307" y="312"/>
                </a:cubicBezTo>
                <a:cubicBezTo>
                  <a:pt x="306" y="311"/>
                  <a:pt x="303" y="309"/>
                  <a:pt x="300" y="307"/>
                </a:cubicBezTo>
                <a:cubicBezTo>
                  <a:pt x="297" y="305"/>
                  <a:pt x="295" y="303"/>
                  <a:pt x="292" y="302"/>
                </a:cubicBezTo>
                <a:cubicBezTo>
                  <a:pt x="290" y="300"/>
                  <a:pt x="289" y="299"/>
                  <a:pt x="284" y="299"/>
                </a:cubicBezTo>
                <a:cubicBezTo>
                  <a:pt x="281" y="299"/>
                  <a:pt x="279" y="300"/>
                  <a:pt x="277" y="300"/>
                </a:cubicBezTo>
                <a:cubicBezTo>
                  <a:pt x="274" y="301"/>
                  <a:pt x="272" y="302"/>
                  <a:pt x="270" y="302"/>
                </a:cubicBezTo>
                <a:cubicBezTo>
                  <a:pt x="268" y="302"/>
                  <a:pt x="268" y="301"/>
                  <a:pt x="267" y="301"/>
                </a:cubicBezTo>
                <a:cubicBezTo>
                  <a:pt x="260" y="292"/>
                  <a:pt x="249" y="288"/>
                  <a:pt x="249" y="288"/>
                </a:cubicBezTo>
                <a:cubicBezTo>
                  <a:pt x="247" y="287"/>
                  <a:pt x="245" y="287"/>
                  <a:pt x="244" y="288"/>
                </a:cubicBezTo>
                <a:cubicBezTo>
                  <a:pt x="242" y="289"/>
                  <a:pt x="241" y="290"/>
                  <a:pt x="241" y="292"/>
                </a:cubicBezTo>
                <a:cubicBezTo>
                  <a:pt x="241" y="292"/>
                  <a:pt x="240" y="295"/>
                  <a:pt x="238" y="299"/>
                </a:cubicBezTo>
                <a:cubicBezTo>
                  <a:pt x="236" y="302"/>
                  <a:pt x="233" y="306"/>
                  <a:pt x="232" y="306"/>
                </a:cubicBezTo>
                <a:cubicBezTo>
                  <a:pt x="226" y="308"/>
                  <a:pt x="213" y="312"/>
                  <a:pt x="208" y="312"/>
                </a:cubicBezTo>
                <a:cubicBezTo>
                  <a:pt x="208" y="312"/>
                  <a:pt x="208" y="312"/>
                  <a:pt x="208" y="312"/>
                </a:cubicBezTo>
                <a:cubicBezTo>
                  <a:pt x="206" y="311"/>
                  <a:pt x="205" y="311"/>
                  <a:pt x="204" y="311"/>
                </a:cubicBezTo>
                <a:cubicBezTo>
                  <a:pt x="198" y="311"/>
                  <a:pt x="190" y="314"/>
                  <a:pt x="183" y="317"/>
                </a:cubicBezTo>
                <a:cubicBezTo>
                  <a:pt x="176" y="320"/>
                  <a:pt x="169" y="322"/>
                  <a:pt x="169" y="323"/>
                </a:cubicBezTo>
                <a:cubicBezTo>
                  <a:pt x="168" y="324"/>
                  <a:pt x="168" y="324"/>
                  <a:pt x="168" y="324"/>
                </a:cubicBezTo>
                <a:cubicBezTo>
                  <a:pt x="168" y="324"/>
                  <a:pt x="163" y="328"/>
                  <a:pt x="159" y="332"/>
                </a:cubicBezTo>
                <a:cubicBezTo>
                  <a:pt x="156" y="334"/>
                  <a:pt x="154" y="336"/>
                  <a:pt x="152" y="338"/>
                </a:cubicBezTo>
                <a:cubicBezTo>
                  <a:pt x="151" y="338"/>
                  <a:pt x="150" y="340"/>
                  <a:pt x="149" y="340"/>
                </a:cubicBezTo>
                <a:cubicBezTo>
                  <a:pt x="149" y="340"/>
                  <a:pt x="149" y="340"/>
                  <a:pt x="149" y="340"/>
                </a:cubicBezTo>
                <a:cubicBezTo>
                  <a:pt x="146" y="336"/>
                  <a:pt x="140" y="337"/>
                  <a:pt x="134" y="337"/>
                </a:cubicBezTo>
                <a:cubicBezTo>
                  <a:pt x="132" y="337"/>
                  <a:pt x="130" y="337"/>
                  <a:pt x="128" y="338"/>
                </a:cubicBezTo>
                <a:cubicBezTo>
                  <a:pt x="126" y="338"/>
                  <a:pt x="122" y="340"/>
                  <a:pt x="122" y="345"/>
                </a:cubicBezTo>
                <a:cubicBezTo>
                  <a:pt x="122" y="347"/>
                  <a:pt x="122" y="348"/>
                  <a:pt x="122" y="348"/>
                </a:cubicBezTo>
                <a:cubicBezTo>
                  <a:pt x="123" y="349"/>
                  <a:pt x="123" y="354"/>
                  <a:pt x="126" y="359"/>
                </a:cubicBezTo>
                <a:cubicBezTo>
                  <a:pt x="129" y="365"/>
                  <a:pt x="136" y="369"/>
                  <a:pt x="146" y="369"/>
                </a:cubicBezTo>
                <a:cubicBezTo>
                  <a:pt x="155" y="369"/>
                  <a:pt x="158" y="370"/>
                  <a:pt x="161" y="372"/>
                </a:cubicBezTo>
                <a:cubicBezTo>
                  <a:pt x="163" y="373"/>
                  <a:pt x="166" y="377"/>
                  <a:pt x="172" y="378"/>
                </a:cubicBezTo>
                <a:cubicBezTo>
                  <a:pt x="176" y="379"/>
                  <a:pt x="178" y="379"/>
                  <a:pt x="179" y="379"/>
                </a:cubicBezTo>
                <a:cubicBezTo>
                  <a:pt x="180" y="380"/>
                  <a:pt x="182" y="381"/>
                  <a:pt x="186" y="385"/>
                </a:cubicBezTo>
                <a:cubicBezTo>
                  <a:pt x="188" y="387"/>
                  <a:pt x="189" y="388"/>
                  <a:pt x="189" y="390"/>
                </a:cubicBezTo>
                <a:cubicBezTo>
                  <a:pt x="189" y="390"/>
                  <a:pt x="189" y="390"/>
                  <a:pt x="189" y="390"/>
                </a:cubicBezTo>
                <a:cubicBezTo>
                  <a:pt x="179" y="388"/>
                  <a:pt x="168" y="385"/>
                  <a:pt x="163" y="380"/>
                </a:cubicBezTo>
                <a:cubicBezTo>
                  <a:pt x="156" y="373"/>
                  <a:pt x="156" y="373"/>
                  <a:pt x="156" y="373"/>
                </a:cubicBezTo>
                <a:cubicBezTo>
                  <a:pt x="155" y="372"/>
                  <a:pt x="152" y="371"/>
                  <a:pt x="149" y="372"/>
                </a:cubicBezTo>
                <a:cubicBezTo>
                  <a:pt x="138" y="379"/>
                  <a:pt x="138" y="379"/>
                  <a:pt x="138" y="379"/>
                </a:cubicBezTo>
                <a:cubicBezTo>
                  <a:pt x="120" y="381"/>
                  <a:pt x="100" y="390"/>
                  <a:pt x="100" y="390"/>
                </a:cubicBezTo>
                <a:cubicBezTo>
                  <a:pt x="97" y="392"/>
                  <a:pt x="96" y="395"/>
                  <a:pt x="97" y="398"/>
                </a:cubicBezTo>
                <a:cubicBezTo>
                  <a:pt x="97" y="399"/>
                  <a:pt x="104" y="412"/>
                  <a:pt x="116" y="421"/>
                </a:cubicBezTo>
                <a:cubicBezTo>
                  <a:pt x="129" y="431"/>
                  <a:pt x="152" y="430"/>
                  <a:pt x="156" y="431"/>
                </a:cubicBezTo>
                <a:cubicBezTo>
                  <a:pt x="156" y="431"/>
                  <a:pt x="156" y="431"/>
                  <a:pt x="156" y="431"/>
                </a:cubicBezTo>
                <a:cubicBezTo>
                  <a:pt x="148" y="433"/>
                  <a:pt x="145" y="435"/>
                  <a:pt x="141" y="439"/>
                </a:cubicBezTo>
                <a:cubicBezTo>
                  <a:pt x="137" y="443"/>
                  <a:pt x="133" y="445"/>
                  <a:pt x="130" y="448"/>
                </a:cubicBezTo>
                <a:cubicBezTo>
                  <a:pt x="126" y="451"/>
                  <a:pt x="122" y="455"/>
                  <a:pt x="122" y="461"/>
                </a:cubicBezTo>
                <a:cubicBezTo>
                  <a:pt x="122" y="463"/>
                  <a:pt x="123" y="466"/>
                  <a:pt x="124" y="468"/>
                </a:cubicBezTo>
                <a:cubicBezTo>
                  <a:pt x="126" y="473"/>
                  <a:pt x="129" y="477"/>
                  <a:pt x="132" y="481"/>
                </a:cubicBezTo>
                <a:cubicBezTo>
                  <a:pt x="131" y="480"/>
                  <a:pt x="129" y="480"/>
                  <a:pt x="128" y="480"/>
                </a:cubicBezTo>
                <a:cubicBezTo>
                  <a:pt x="127" y="480"/>
                  <a:pt x="127" y="480"/>
                  <a:pt x="127" y="480"/>
                </a:cubicBezTo>
                <a:cubicBezTo>
                  <a:pt x="123" y="480"/>
                  <a:pt x="121" y="480"/>
                  <a:pt x="119" y="481"/>
                </a:cubicBezTo>
                <a:cubicBezTo>
                  <a:pt x="116" y="482"/>
                  <a:pt x="115" y="483"/>
                  <a:pt x="110" y="485"/>
                </a:cubicBezTo>
                <a:cubicBezTo>
                  <a:pt x="108" y="485"/>
                  <a:pt x="105" y="489"/>
                  <a:pt x="105" y="492"/>
                </a:cubicBezTo>
                <a:cubicBezTo>
                  <a:pt x="105" y="496"/>
                  <a:pt x="107" y="497"/>
                  <a:pt x="108" y="499"/>
                </a:cubicBezTo>
                <a:cubicBezTo>
                  <a:pt x="110" y="501"/>
                  <a:pt x="113" y="503"/>
                  <a:pt x="115" y="505"/>
                </a:cubicBezTo>
                <a:cubicBezTo>
                  <a:pt x="118" y="506"/>
                  <a:pt x="121" y="508"/>
                  <a:pt x="125" y="508"/>
                </a:cubicBezTo>
                <a:cubicBezTo>
                  <a:pt x="130" y="507"/>
                  <a:pt x="132" y="504"/>
                  <a:pt x="135" y="501"/>
                </a:cubicBezTo>
                <a:cubicBezTo>
                  <a:pt x="137" y="498"/>
                  <a:pt x="138" y="495"/>
                  <a:pt x="138" y="491"/>
                </a:cubicBezTo>
                <a:cubicBezTo>
                  <a:pt x="138" y="490"/>
                  <a:pt x="138" y="489"/>
                  <a:pt x="138" y="488"/>
                </a:cubicBezTo>
                <a:cubicBezTo>
                  <a:pt x="140" y="491"/>
                  <a:pt x="142" y="493"/>
                  <a:pt x="144" y="495"/>
                </a:cubicBezTo>
                <a:cubicBezTo>
                  <a:pt x="145" y="496"/>
                  <a:pt x="145" y="497"/>
                  <a:pt x="146" y="498"/>
                </a:cubicBezTo>
                <a:cubicBezTo>
                  <a:pt x="146" y="498"/>
                  <a:pt x="146" y="499"/>
                  <a:pt x="146" y="499"/>
                </a:cubicBezTo>
                <a:cubicBezTo>
                  <a:pt x="147" y="503"/>
                  <a:pt x="152" y="506"/>
                  <a:pt x="155" y="506"/>
                </a:cubicBezTo>
                <a:cubicBezTo>
                  <a:pt x="161" y="506"/>
                  <a:pt x="165" y="503"/>
                  <a:pt x="170" y="500"/>
                </a:cubicBezTo>
                <a:cubicBezTo>
                  <a:pt x="174" y="497"/>
                  <a:pt x="178" y="495"/>
                  <a:pt x="180" y="490"/>
                </a:cubicBezTo>
                <a:cubicBezTo>
                  <a:pt x="180" y="491"/>
                  <a:pt x="180" y="492"/>
                  <a:pt x="180" y="494"/>
                </a:cubicBezTo>
                <a:cubicBezTo>
                  <a:pt x="179" y="495"/>
                  <a:pt x="179" y="497"/>
                  <a:pt x="179" y="499"/>
                </a:cubicBezTo>
                <a:cubicBezTo>
                  <a:pt x="179" y="507"/>
                  <a:pt x="184" y="513"/>
                  <a:pt x="188" y="515"/>
                </a:cubicBezTo>
                <a:cubicBezTo>
                  <a:pt x="192" y="518"/>
                  <a:pt x="196" y="519"/>
                  <a:pt x="196" y="519"/>
                </a:cubicBezTo>
                <a:cubicBezTo>
                  <a:pt x="199" y="519"/>
                  <a:pt x="201" y="518"/>
                  <a:pt x="202" y="515"/>
                </a:cubicBezTo>
                <a:cubicBezTo>
                  <a:pt x="202" y="515"/>
                  <a:pt x="204" y="513"/>
                  <a:pt x="205" y="510"/>
                </a:cubicBezTo>
                <a:cubicBezTo>
                  <a:pt x="206" y="510"/>
                  <a:pt x="206" y="510"/>
                  <a:pt x="206" y="509"/>
                </a:cubicBezTo>
                <a:cubicBezTo>
                  <a:pt x="208" y="511"/>
                  <a:pt x="210" y="513"/>
                  <a:pt x="212" y="515"/>
                </a:cubicBezTo>
                <a:cubicBezTo>
                  <a:pt x="215" y="518"/>
                  <a:pt x="218" y="521"/>
                  <a:pt x="218" y="521"/>
                </a:cubicBezTo>
                <a:cubicBezTo>
                  <a:pt x="220" y="523"/>
                  <a:pt x="224" y="524"/>
                  <a:pt x="226" y="522"/>
                </a:cubicBezTo>
                <a:cubicBezTo>
                  <a:pt x="226" y="522"/>
                  <a:pt x="228" y="520"/>
                  <a:pt x="231" y="519"/>
                </a:cubicBezTo>
                <a:cubicBezTo>
                  <a:pt x="233" y="517"/>
                  <a:pt x="236" y="516"/>
                  <a:pt x="237" y="516"/>
                </a:cubicBezTo>
                <a:cubicBezTo>
                  <a:pt x="237" y="516"/>
                  <a:pt x="237" y="516"/>
                  <a:pt x="237" y="517"/>
                </a:cubicBezTo>
                <a:cubicBezTo>
                  <a:pt x="237" y="517"/>
                  <a:pt x="236" y="519"/>
                  <a:pt x="234" y="521"/>
                </a:cubicBezTo>
                <a:cubicBezTo>
                  <a:pt x="231" y="523"/>
                  <a:pt x="228" y="525"/>
                  <a:pt x="225" y="527"/>
                </a:cubicBezTo>
                <a:cubicBezTo>
                  <a:pt x="222" y="529"/>
                  <a:pt x="214" y="532"/>
                  <a:pt x="206" y="536"/>
                </a:cubicBezTo>
                <a:cubicBezTo>
                  <a:pt x="198" y="540"/>
                  <a:pt x="191" y="544"/>
                  <a:pt x="187" y="546"/>
                </a:cubicBezTo>
                <a:cubicBezTo>
                  <a:pt x="184" y="548"/>
                  <a:pt x="177" y="552"/>
                  <a:pt x="171" y="556"/>
                </a:cubicBezTo>
                <a:cubicBezTo>
                  <a:pt x="167" y="558"/>
                  <a:pt x="164" y="559"/>
                  <a:pt x="161" y="560"/>
                </a:cubicBezTo>
                <a:cubicBezTo>
                  <a:pt x="160" y="561"/>
                  <a:pt x="159" y="560"/>
                  <a:pt x="158" y="561"/>
                </a:cubicBezTo>
                <a:cubicBezTo>
                  <a:pt x="157" y="561"/>
                  <a:pt x="157" y="560"/>
                  <a:pt x="157" y="560"/>
                </a:cubicBezTo>
                <a:cubicBezTo>
                  <a:pt x="157" y="560"/>
                  <a:pt x="157" y="560"/>
                  <a:pt x="157" y="560"/>
                </a:cubicBezTo>
                <a:cubicBezTo>
                  <a:pt x="152" y="560"/>
                  <a:pt x="149" y="564"/>
                  <a:pt x="148" y="567"/>
                </a:cubicBezTo>
                <a:cubicBezTo>
                  <a:pt x="147" y="569"/>
                  <a:pt x="146" y="573"/>
                  <a:pt x="146" y="576"/>
                </a:cubicBezTo>
                <a:cubicBezTo>
                  <a:pt x="146" y="578"/>
                  <a:pt x="146" y="582"/>
                  <a:pt x="148" y="584"/>
                </a:cubicBezTo>
                <a:cubicBezTo>
                  <a:pt x="150" y="587"/>
                  <a:pt x="154" y="589"/>
                  <a:pt x="158" y="589"/>
                </a:cubicBezTo>
                <a:cubicBezTo>
                  <a:pt x="158" y="589"/>
                  <a:pt x="159" y="589"/>
                  <a:pt x="160" y="589"/>
                </a:cubicBezTo>
                <a:cubicBezTo>
                  <a:pt x="172" y="587"/>
                  <a:pt x="200" y="576"/>
                  <a:pt x="209" y="571"/>
                </a:cubicBezTo>
                <a:cubicBezTo>
                  <a:pt x="210" y="571"/>
                  <a:pt x="210" y="572"/>
                  <a:pt x="210" y="572"/>
                </a:cubicBezTo>
                <a:cubicBezTo>
                  <a:pt x="210" y="572"/>
                  <a:pt x="210" y="572"/>
                  <a:pt x="210" y="572"/>
                </a:cubicBezTo>
                <a:cubicBezTo>
                  <a:pt x="210" y="572"/>
                  <a:pt x="210" y="571"/>
                  <a:pt x="211" y="571"/>
                </a:cubicBezTo>
                <a:cubicBezTo>
                  <a:pt x="212" y="571"/>
                  <a:pt x="213" y="571"/>
                  <a:pt x="215" y="571"/>
                </a:cubicBezTo>
                <a:cubicBezTo>
                  <a:pt x="220" y="571"/>
                  <a:pt x="225" y="569"/>
                  <a:pt x="235" y="564"/>
                </a:cubicBezTo>
                <a:cubicBezTo>
                  <a:pt x="245" y="558"/>
                  <a:pt x="253" y="552"/>
                  <a:pt x="259" y="548"/>
                </a:cubicBezTo>
                <a:cubicBezTo>
                  <a:pt x="262" y="546"/>
                  <a:pt x="265" y="544"/>
                  <a:pt x="267" y="543"/>
                </a:cubicBezTo>
                <a:cubicBezTo>
                  <a:pt x="268" y="543"/>
                  <a:pt x="269" y="542"/>
                  <a:pt x="269" y="542"/>
                </a:cubicBezTo>
                <a:cubicBezTo>
                  <a:pt x="270" y="542"/>
                  <a:pt x="270" y="542"/>
                  <a:pt x="270" y="543"/>
                </a:cubicBezTo>
                <a:cubicBezTo>
                  <a:pt x="272" y="544"/>
                  <a:pt x="275" y="553"/>
                  <a:pt x="285" y="556"/>
                </a:cubicBezTo>
                <a:cubicBezTo>
                  <a:pt x="287" y="556"/>
                  <a:pt x="288" y="557"/>
                  <a:pt x="290" y="557"/>
                </a:cubicBezTo>
                <a:cubicBezTo>
                  <a:pt x="302" y="556"/>
                  <a:pt x="309" y="545"/>
                  <a:pt x="313" y="543"/>
                </a:cubicBezTo>
                <a:cubicBezTo>
                  <a:pt x="320" y="537"/>
                  <a:pt x="323" y="529"/>
                  <a:pt x="323" y="522"/>
                </a:cubicBezTo>
                <a:cubicBezTo>
                  <a:pt x="323" y="520"/>
                  <a:pt x="323" y="518"/>
                  <a:pt x="322" y="516"/>
                </a:cubicBezTo>
                <a:cubicBezTo>
                  <a:pt x="321" y="514"/>
                  <a:pt x="318" y="512"/>
                  <a:pt x="315" y="512"/>
                </a:cubicBezTo>
                <a:cubicBezTo>
                  <a:pt x="314" y="512"/>
                  <a:pt x="314" y="512"/>
                  <a:pt x="313" y="512"/>
                </a:cubicBezTo>
                <a:cubicBezTo>
                  <a:pt x="312" y="513"/>
                  <a:pt x="311" y="513"/>
                  <a:pt x="310" y="513"/>
                </a:cubicBezTo>
                <a:cubicBezTo>
                  <a:pt x="313" y="510"/>
                  <a:pt x="315" y="506"/>
                  <a:pt x="316" y="500"/>
                </a:cubicBezTo>
                <a:cubicBezTo>
                  <a:pt x="316" y="496"/>
                  <a:pt x="317" y="489"/>
                  <a:pt x="321" y="486"/>
                </a:cubicBezTo>
                <a:cubicBezTo>
                  <a:pt x="321" y="487"/>
                  <a:pt x="320" y="489"/>
                  <a:pt x="319" y="492"/>
                </a:cubicBezTo>
                <a:cubicBezTo>
                  <a:pt x="318" y="494"/>
                  <a:pt x="318" y="497"/>
                  <a:pt x="318" y="499"/>
                </a:cubicBezTo>
                <a:cubicBezTo>
                  <a:pt x="318" y="502"/>
                  <a:pt x="318" y="505"/>
                  <a:pt x="321" y="507"/>
                </a:cubicBezTo>
                <a:cubicBezTo>
                  <a:pt x="323" y="509"/>
                  <a:pt x="326" y="510"/>
                  <a:pt x="328" y="510"/>
                </a:cubicBezTo>
                <a:cubicBezTo>
                  <a:pt x="336" y="509"/>
                  <a:pt x="342" y="505"/>
                  <a:pt x="347" y="501"/>
                </a:cubicBezTo>
                <a:cubicBezTo>
                  <a:pt x="350" y="498"/>
                  <a:pt x="350" y="499"/>
                  <a:pt x="354" y="498"/>
                </a:cubicBezTo>
                <a:cubicBezTo>
                  <a:pt x="358" y="497"/>
                  <a:pt x="364" y="495"/>
                  <a:pt x="371" y="490"/>
                </a:cubicBezTo>
                <a:cubicBezTo>
                  <a:pt x="378" y="485"/>
                  <a:pt x="381" y="481"/>
                  <a:pt x="384" y="478"/>
                </a:cubicBezTo>
                <a:cubicBezTo>
                  <a:pt x="386" y="476"/>
                  <a:pt x="385" y="476"/>
                  <a:pt x="387" y="476"/>
                </a:cubicBezTo>
                <a:cubicBezTo>
                  <a:pt x="387" y="476"/>
                  <a:pt x="387" y="476"/>
                  <a:pt x="387" y="476"/>
                </a:cubicBezTo>
                <a:cubicBezTo>
                  <a:pt x="389" y="477"/>
                  <a:pt x="392" y="479"/>
                  <a:pt x="396" y="482"/>
                </a:cubicBezTo>
                <a:cubicBezTo>
                  <a:pt x="400" y="484"/>
                  <a:pt x="404" y="487"/>
                  <a:pt x="410" y="487"/>
                </a:cubicBezTo>
                <a:cubicBezTo>
                  <a:pt x="412" y="487"/>
                  <a:pt x="415" y="488"/>
                  <a:pt x="417" y="484"/>
                </a:cubicBezTo>
                <a:cubicBezTo>
                  <a:pt x="417" y="484"/>
                  <a:pt x="417" y="484"/>
                  <a:pt x="417" y="484"/>
                </a:cubicBezTo>
                <a:cubicBezTo>
                  <a:pt x="417" y="484"/>
                  <a:pt x="418" y="484"/>
                  <a:pt x="418" y="484"/>
                </a:cubicBezTo>
                <a:cubicBezTo>
                  <a:pt x="421" y="484"/>
                  <a:pt x="427" y="486"/>
                  <a:pt x="433" y="488"/>
                </a:cubicBezTo>
                <a:cubicBezTo>
                  <a:pt x="439" y="490"/>
                  <a:pt x="445" y="492"/>
                  <a:pt x="451" y="493"/>
                </a:cubicBezTo>
                <a:cubicBezTo>
                  <a:pt x="455" y="492"/>
                  <a:pt x="467" y="497"/>
                  <a:pt x="479" y="501"/>
                </a:cubicBezTo>
                <a:cubicBezTo>
                  <a:pt x="484" y="503"/>
                  <a:pt x="490" y="506"/>
                  <a:pt x="495" y="507"/>
                </a:cubicBezTo>
                <a:cubicBezTo>
                  <a:pt x="500" y="509"/>
                  <a:pt x="503" y="510"/>
                  <a:pt x="507" y="511"/>
                </a:cubicBezTo>
                <a:cubicBezTo>
                  <a:pt x="508" y="510"/>
                  <a:pt x="514" y="512"/>
                  <a:pt x="520" y="516"/>
                </a:cubicBezTo>
                <a:cubicBezTo>
                  <a:pt x="525" y="520"/>
                  <a:pt x="529" y="526"/>
                  <a:pt x="529" y="532"/>
                </a:cubicBezTo>
                <a:cubicBezTo>
                  <a:pt x="530" y="541"/>
                  <a:pt x="531" y="546"/>
                  <a:pt x="535" y="550"/>
                </a:cubicBezTo>
                <a:cubicBezTo>
                  <a:pt x="539" y="555"/>
                  <a:pt x="544" y="555"/>
                  <a:pt x="548" y="555"/>
                </a:cubicBezTo>
                <a:cubicBezTo>
                  <a:pt x="549" y="555"/>
                  <a:pt x="550" y="555"/>
                  <a:pt x="550" y="555"/>
                </a:cubicBezTo>
                <a:cubicBezTo>
                  <a:pt x="552" y="555"/>
                  <a:pt x="558" y="556"/>
                  <a:pt x="562" y="558"/>
                </a:cubicBezTo>
                <a:cubicBezTo>
                  <a:pt x="564" y="559"/>
                  <a:pt x="565" y="561"/>
                  <a:pt x="566" y="562"/>
                </a:cubicBezTo>
                <a:cubicBezTo>
                  <a:pt x="567" y="562"/>
                  <a:pt x="567" y="562"/>
                  <a:pt x="567" y="563"/>
                </a:cubicBezTo>
                <a:cubicBezTo>
                  <a:pt x="567" y="565"/>
                  <a:pt x="566" y="573"/>
                  <a:pt x="566" y="580"/>
                </a:cubicBezTo>
                <a:cubicBezTo>
                  <a:pt x="567" y="590"/>
                  <a:pt x="567" y="602"/>
                  <a:pt x="577" y="609"/>
                </a:cubicBezTo>
                <a:cubicBezTo>
                  <a:pt x="582" y="612"/>
                  <a:pt x="587" y="616"/>
                  <a:pt x="591" y="619"/>
                </a:cubicBezTo>
                <a:cubicBezTo>
                  <a:pt x="596" y="622"/>
                  <a:pt x="599" y="625"/>
                  <a:pt x="605" y="625"/>
                </a:cubicBezTo>
                <a:cubicBezTo>
                  <a:pt x="607" y="625"/>
                  <a:pt x="608" y="625"/>
                  <a:pt x="610" y="624"/>
                </a:cubicBezTo>
                <a:cubicBezTo>
                  <a:pt x="615" y="620"/>
                  <a:pt x="614" y="616"/>
                  <a:pt x="615" y="613"/>
                </a:cubicBezTo>
                <a:cubicBezTo>
                  <a:pt x="615" y="610"/>
                  <a:pt x="614" y="607"/>
                  <a:pt x="614" y="604"/>
                </a:cubicBezTo>
                <a:cubicBezTo>
                  <a:pt x="614" y="605"/>
                  <a:pt x="615" y="605"/>
                  <a:pt x="616" y="606"/>
                </a:cubicBezTo>
                <a:cubicBezTo>
                  <a:pt x="618" y="608"/>
                  <a:pt x="620" y="611"/>
                  <a:pt x="625" y="611"/>
                </a:cubicBezTo>
                <a:cubicBezTo>
                  <a:pt x="625" y="611"/>
                  <a:pt x="626" y="612"/>
                  <a:pt x="627" y="613"/>
                </a:cubicBezTo>
                <a:cubicBezTo>
                  <a:pt x="630" y="616"/>
                  <a:pt x="635" y="624"/>
                  <a:pt x="635" y="628"/>
                </a:cubicBezTo>
                <a:cubicBezTo>
                  <a:pt x="635" y="628"/>
                  <a:pt x="635" y="629"/>
                  <a:pt x="634" y="629"/>
                </a:cubicBezTo>
                <a:cubicBezTo>
                  <a:pt x="634" y="632"/>
                  <a:pt x="633" y="634"/>
                  <a:pt x="633" y="637"/>
                </a:cubicBezTo>
                <a:cubicBezTo>
                  <a:pt x="633" y="648"/>
                  <a:pt x="641" y="660"/>
                  <a:pt x="654" y="661"/>
                </a:cubicBezTo>
                <a:cubicBezTo>
                  <a:pt x="655" y="660"/>
                  <a:pt x="661" y="664"/>
                  <a:pt x="666" y="669"/>
                </a:cubicBezTo>
                <a:cubicBezTo>
                  <a:pt x="668" y="671"/>
                  <a:pt x="670" y="674"/>
                  <a:pt x="672" y="676"/>
                </a:cubicBezTo>
                <a:cubicBezTo>
                  <a:pt x="675" y="678"/>
                  <a:pt x="676" y="680"/>
                  <a:pt x="680" y="681"/>
                </a:cubicBezTo>
                <a:cubicBezTo>
                  <a:pt x="680" y="681"/>
                  <a:pt x="682" y="683"/>
                  <a:pt x="684" y="684"/>
                </a:cubicBezTo>
                <a:cubicBezTo>
                  <a:pt x="685" y="685"/>
                  <a:pt x="685" y="686"/>
                  <a:pt x="685" y="687"/>
                </a:cubicBezTo>
                <a:cubicBezTo>
                  <a:pt x="686" y="687"/>
                  <a:pt x="686" y="688"/>
                  <a:pt x="686" y="688"/>
                </a:cubicBezTo>
                <a:cubicBezTo>
                  <a:pt x="686" y="688"/>
                  <a:pt x="686" y="688"/>
                  <a:pt x="686" y="688"/>
                </a:cubicBezTo>
                <a:cubicBezTo>
                  <a:pt x="686" y="692"/>
                  <a:pt x="687" y="698"/>
                  <a:pt x="689" y="706"/>
                </a:cubicBezTo>
                <a:cubicBezTo>
                  <a:pt x="690" y="713"/>
                  <a:pt x="692" y="721"/>
                  <a:pt x="692" y="725"/>
                </a:cubicBezTo>
                <a:cubicBezTo>
                  <a:pt x="692" y="734"/>
                  <a:pt x="688" y="773"/>
                  <a:pt x="687" y="788"/>
                </a:cubicBezTo>
                <a:cubicBezTo>
                  <a:pt x="687" y="789"/>
                  <a:pt x="687" y="790"/>
                  <a:pt x="687" y="791"/>
                </a:cubicBezTo>
                <a:cubicBezTo>
                  <a:pt x="687" y="809"/>
                  <a:pt x="697" y="833"/>
                  <a:pt x="709" y="847"/>
                </a:cubicBezTo>
                <a:cubicBezTo>
                  <a:pt x="714" y="854"/>
                  <a:pt x="720" y="863"/>
                  <a:pt x="725" y="872"/>
                </a:cubicBezTo>
                <a:cubicBezTo>
                  <a:pt x="730" y="881"/>
                  <a:pt x="733" y="889"/>
                  <a:pt x="739" y="894"/>
                </a:cubicBezTo>
                <a:cubicBezTo>
                  <a:pt x="741" y="895"/>
                  <a:pt x="744" y="900"/>
                  <a:pt x="747" y="904"/>
                </a:cubicBezTo>
                <a:cubicBezTo>
                  <a:pt x="750" y="909"/>
                  <a:pt x="755" y="914"/>
                  <a:pt x="763" y="915"/>
                </a:cubicBezTo>
                <a:cubicBezTo>
                  <a:pt x="764" y="915"/>
                  <a:pt x="764" y="914"/>
                  <a:pt x="765" y="914"/>
                </a:cubicBezTo>
                <a:cubicBezTo>
                  <a:pt x="766" y="914"/>
                  <a:pt x="766" y="914"/>
                  <a:pt x="766" y="914"/>
                </a:cubicBezTo>
                <a:cubicBezTo>
                  <a:pt x="769" y="914"/>
                  <a:pt x="771" y="915"/>
                  <a:pt x="774" y="919"/>
                </a:cubicBezTo>
                <a:cubicBezTo>
                  <a:pt x="777" y="923"/>
                  <a:pt x="781" y="930"/>
                  <a:pt x="785" y="939"/>
                </a:cubicBezTo>
                <a:cubicBezTo>
                  <a:pt x="790" y="948"/>
                  <a:pt x="794" y="961"/>
                  <a:pt x="799" y="971"/>
                </a:cubicBezTo>
                <a:cubicBezTo>
                  <a:pt x="801" y="977"/>
                  <a:pt x="803" y="982"/>
                  <a:pt x="805" y="986"/>
                </a:cubicBezTo>
                <a:cubicBezTo>
                  <a:pt x="808" y="990"/>
                  <a:pt x="809" y="993"/>
                  <a:pt x="814" y="995"/>
                </a:cubicBezTo>
                <a:cubicBezTo>
                  <a:pt x="816" y="996"/>
                  <a:pt x="819" y="998"/>
                  <a:pt x="821" y="1000"/>
                </a:cubicBezTo>
                <a:cubicBezTo>
                  <a:pt x="824" y="1002"/>
                  <a:pt x="824" y="1005"/>
                  <a:pt x="824" y="1005"/>
                </a:cubicBezTo>
                <a:cubicBezTo>
                  <a:pt x="824" y="1005"/>
                  <a:pt x="824" y="1005"/>
                  <a:pt x="824" y="1005"/>
                </a:cubicBezTo>
                <a:cubicBezTo>
                  <a:pt x="820" y="1011"/>
                  <a:pt x="814" y="1018"/>
                  <a:pt x="813" y="1027"/>
                </a:cubicBezTo>
                <a:cubicBezTo>
                  <a:pt x="813" y="1029"/>
                  <a:pt x="814" y="1032"/>
                  <a:pt x="816" y="1034"/>
                </a:cubicBezTo>
                <a:cubicBezTo>
                  <a:pt x="819" y="1037"/>
                  <a:pt x="822" y="1037"/>
                  <a:pt x="824" y="1037"/>
                </a:cubicBezTo>
                <a:cubicBezTo>
                  <a:pt x="831" y="1037"/>
                  <a:pt x="836" y="1035"/>
                  <a:pt x="836" y="1035"/>
                </a:cubicBezTo>
                <a:cubicBezTo>
                  <a:pt x="837" y="1035"/>
                  <a:pt x="837" y="1035"/>
                  <a:pt x="841" y="1040"/>
                </a:cubicBezTo>
                <a:cubicBezTo>
                  <a:pt x="845" y="1046"/>
                  <a:pt x="849" y="1051"/>
                  <a:pt x="852" y="1055"/>
                </a:cubicBezTo>
                <a:cubicBezTo>
                  <a:pt x="856" y="1059"/>
                  <a:pt x="856" y="1062"/>
                  <a:pt x="856" y="1063"/>
                </a:cubicBezTo>
                <a:cubicBezTo>
                  <a:pt x="856" y="1063"/>
                  <a:pt x="856" y="1063"/>
                  <a:pt x="856" y="1063"/>
                </a:cubicBezTo>
                <a:cubicBezTo>
                  <a:pt x="856" y="1064"/>
                  <a:pt x="856" y="1065"/>
                  <a:pt x="856" y="1065"/>
                </a:cubicBezTo>
                <a:cubicBezTo>
                  <a:pt x="856" y="1072"/>
                  <a:pt x="861" y="1076"/>
                  <a:pt x="865" y="1079"/>
                </a:cubicBezTo>
                <a:cubicBezTo>
                  <a:pt x="869" y="1080"/>
                  <a:pt x="872" y="1082"/>
                  <a:pt x="875" y="1082"/>
                </a:cubicBezTo>
                <a:cubicBezTo>
                  <a:pt x="875" y="1082"/>
                  <a:pt x="875" y="1082"/>
                  <a:pt x="875" y="1083"/>
                </a:cubicBezTo>
                <a:cubicBezTo>
                  <a:pt x="877" y="1084"/>
                  <a:pt x="879" y="1088"/>
                  <a:pt x="883" y="1092"/>
                </a:cubicBezTo>
                <a:cubicBezTo>
                  <a:pt x="886" y="1096"/>
                  <a:pt x="890" y="1100"/>
                  <a:pt x="897" y="1101"/>
                </a:cubicBezTo>
                <a:cubicBezTo>
                  <a:pt x="901" y="1101"/>
                  <a:pt x="904" y="1099"/>
                  <a:pt x="907" y="1096"/>
                </a:cubicBezTo>
                <a:cubicBezTo>
                  <a:pt x="910" y="1093"/>
                  <a:pt x="911" y="1089"/>
                  <a:pt x="911" y="1086"/>
                </a:cubicBezTo>
                <a:cubicBezTo>
                  <a:pt x="911" y="1077"/>
                  <a:pt x="905" y="1071"/>
                  <a:pt x="900" y="1065"/>
                </a:cubicBezTo>
                <a:cubicBezTo>
                  <a:pt x="894" y="1060"/>
                  <a:pt x="888" y="1055"/>
                  <a:pt x="886" y="1053"/>
                </a:cubicBezTo>
                <a:cubicBezTo>
                  <a:pt x="885" y="1052"/>
                  <a:pt x="884" y="1048"/>
                  <a:pt x="883" y="1041"/>
                </a:cubicBezTo>
                <a:cubicBezTo>
                  <a:pt x="882" y="1034"/>
                  <a:pt x="879" y="1024"/>
                  <a:pt x="870" y="1016"/>
                </a:cubicBezTo>
                <a:cubicBezTo>
                  <a:pt x="863" y="1009"/>
                  <a:pt x="860" y="1004"/>
                  <a:pt x="857" y="999"/>
                </a:cubicBezTo>
                <a:cubicBezTo>
                  <a:pt x="866" y="1010"/>
                  <a:pt x="877" y="1020"/>
                  <a:pt x="883" y="1027"/>
                </a:cubicBezTo>
                <a:cubicBezTo>
                  <a:pt x="887" y="1031"/>
                  <a:pt x="895" y="1044"/>
                  <a:pt x="901" y="1055"/>
                </a:cubicBezTo>
                <a:cubicBezTo>
                  <a:pt x="905" y="1060"/>
                  <a:pt x="908" y="1066"/>
                  <a:pt x="911" y="1070"/>
                </a:cubicBezTo>
                <a:cubicBezTo>
                  <a:pt x="912" y="1072"/>
                  <a:pt x="914" y="1074"/>
                  <a:pt x="915" y="1075"/>
                </a:cubicBezTo>
                <a:cubicBezTo>
                  <a:pt x="917" y="1076"/>
                  <a:pt x="918" y="1078"/>
                  <a:pt x="921" y="1078"/>
                </a:cubicBezTo>
                <a:cubicBezTo>
                  <a:pt x="923" y="1079"/>
                  <a:pt x="928" y="1084"/>
                  <a:pt x="931" y="1088"/>
                </a:cubicBezTo>
                <a:cubicBezTo>
                  <a:pt x="935" y="1092"/>
                  <a:pt x="938" y="1096"/>
                  <a:pt x="939" y="1098"/>
                </a:cubicBezTo>
                <a:cubicBezTo>
                  <a:pt x="939" y="1099"/>
                  <a:pt x="940" y="1101"/>
                  <a:pt x="942" y="1104"/>
                </a:cubicBezTo>
                <a:cubicBezTo>
                  <a:pt x="943" y="1108"/>
                  <a:pt x="944" y="1113"/>
                  <a:pt x="944" y="1114"/>
                </a:cubicBezTo>
                <a:cubicBezTo>
                  <a:pt x="944" y="1115"/>
                  <a:pt x="944" y="1115"/>
                  <a:pt x="944" y="1115"/>
                </a:cubicBezTo>
                <a:cubicBezTo>
                  <a:pt x="943" y="1117"/>
                  <a:pt x="943" y="1120"/>
                  <a:pt x="943" y="1122"/>
                </a:cubicBezTo>
                <a:cubicBezTo>
                  <a:pt x="943" y="1133"/>
                  <a:pt x="949" y="1147"/>
                  <a:pt x="959" y="1155"/>
                </a:cubicBezTo>
                <a:cubicBezTo>
                  <a:pt x="968" y="1161"/>
                  <a:pt x="999" y="1178"/>
                  <a:pt x="1004" y="1181"/>
                </a:cubicBezTo>
                <a:cubicBezTo>
                  <a:pt x="1005" y="1182"/>
                  <a:pt x="1009" y="1188"/>
                  <a:pt x="1013" y="1193"/>
                </a:cubicBezTo>
                <a:cubicBezTo>
                  <a:pt x="1018" y="1199"/>
                  <a:pt x="1024" y="1205"/>
                  <a:pt x="1034" y="1205"/>
                </a:cubicBezTo>
                <a:cubicBezTo>
                  <a:pt x="1046" y="1205"/>
                  <a:pt x="1054" y="1208"/>
                  <a:pt x="1054" y="1209"/>
                </a:cubicBezTo>
                <a:cubicBezTo>
                  <a:pt x="1055" y="1210"/>
                  <a:pt x="1058" y="1214"/>
                  <a:pt x="1061" y="1217"/>
                </a:cubicBezTo>
                <a:cubicBezTo>
                  <a:pt x="1064" y="1220"/>
                  <a:pt x="1068" y="1224"/>
                  <a:pt x="1075" y="1225"/>
                </a:cubicBezTo>
                <a:cubicBezTo>
                  <a:pt x="1079" y="1225"/>
                  <a:pt x="1082" y="1223"/>
                  <a:pt x="1085" y="1219"/>
                </a:cubicBezTo>
                <a:cubicBezTo>
                  <a:pt x="1088" y="1214"/>
                  <a:pt x="1090" y="1211"/>
                  <a:pt x="1092" y="1210"/>
                </a:cubicBezTo>
                <a:cubicBezTo>
                  <a:pt x="1093" y="1209"/>
                  <a:pt x="1094" y="1208"/>
                  <a:pt x="1098" y="1208"/>
                </a:cubicBezTo>
                <a:cubicBezTo>
                  <a:pt x="1101" y="1208"/>
                  <a:pt x="1103" y="1209"/>
                  <a:pt x="1106" y="1212"/>
                </a:cubicBezTo>
                <a:cubicBezTo>
                  <a:pt x="1108" y="1215"/>
                  <a:pt x="1111" y="1219"/>
                  <a:pt x="1114" y="1222"/>
                </a:cubicBezTo>
                <a:cubicBezTo>
                  <a:pt x="1117" y="1226"/>
                  <a:pt x="1122" y="1232"/>
                  <a:pt x="1128" y="1237"/>
                </a:cubicBezTo>
                <a:cubicBezTo>
                  <a:pt x="1134" y="1243"/>
                  <a:pt x="1140" y="1248"/>
                  <a:pt x="1148" y="1248"/>
                </a:cubicBezTo>
                <a:cubicBezTo>
                  <a:pt x="1148" y="1248"/>
                  <a:pt x="1149" y="1248"/>
                  <a:pt x="1150" y="1248"/>
                </a:cubicBezTo>
                <a:cubicBezTo>
                  <a:pt x="1150" y="1248"/>
                  <a:pt x="1150" y="1248"/>
                  <a:pt x="1150" y="1248"/>
                </a:cubicBezTo>
                <a:cubicBezTo>
                  <a:pt x="1151" y="1248"/>
                  <a:pt x="1154" y="1249"/>
                  <a:pt x="1158" y="1251"/>
                </a:cubicBezTo>
                <a:cubicBezTo>
                  <a:pt x="1161" y="1253"/>
                  <a:pt x="1165" y="1256"/>
                  <a:pt x="1170" y="1256"/>
                </a:cubicBezTo>
                <a:cubicBezTo>
                  <a:pt x="1172" y="1256"/>
                  <a:pt x="1175" y="1255"/>
                  <a:pt x="1176" y="1254"/>
                </a:cubicBezTo>
                <a:cubicBezTo>
                  <a:pt x="1177" y="1254"/>
                  <a:pt x="1177" y="1254"/>
                  <a:pt x="1177" y="1254"/>
                </a:cubicBezTo>
                <a:cubicBezTo>
                  <a:pt x="1179" y="1253"/>
                  <a:pt x="1186" y="1257"/>
                  <a:pt x="1189" y="1260"/>
                </a:cubicBezTo>
                <a:cubicBezTo>
                  <a:pt x="1194" y="1262"/>
                  <a:pt x="1206" y="1271"/>
                  <a:pt x="1206" y="1282"/>
                </a:cubicBezTo>
                <a:cubicBezTo>
                  <a:pt x="1206" y="1282"/>
                  <a:pt x="1206" y="1283"/>
                  <a:pt x="1206" y="1283"/>
                </a:cubicBezTo>
                <a:cubicBezTo>
                  <a:pt x="1206" y="1284"/>
                  <a:pt x="1206" y="1285"/>
                  <a:pt x="1206" y="1286"/>
                </a:cubicBezTo>
                <a:cubicBezTo>
                  <a:pt x="1206" y="1304"/>
                  <a:pt x="1219" y="1310"/>
                  <a:pt x="1225" y="1313"/>
                </a:cubicBezTo>
                <a:cubicBezTo>
                  <a:pt x="1231" y="1317"/>
                  <a:pt x="1240" y="1326"/>
                  <a:pt x="1245" y="1333"/>
                </a:cubicBezTo>
                <a:cubicBezTo>
                  <a:pt x="1250" y="1338"/>
                  <a:pt x="1255" y="1340"/>
                  <a:pt x="1260" y="1342"/>
                </a:cubicBezTo>
                <a:cubicBezTo>
                  <a:pt x="1262" y="1343"/>
                  <a:pt x="1264" y="1343"/>
                  <a:pt x="1265" y="1344"/>
                </a:cubicBezTo>
                <a:cubicBezTo>
                  <a:pt x="1266" y="1344"/>
                  <a:pt x="1267" y="1345"/>
                  <a:pt x="1267" y="1345"/>
                </a:cubicBezTo>
                <a:cubicBezTo>
                  <a:pt x="1267" y="1345"/>
                  <a:pt x="1267" y="1345"/>
                  <a:pt x="1267" y="1345"/>
                </a:cubicBezTo>
                <a:cubicBezTo>
                  <a:pt x="1268" y="1346"/>
                  <a:pt x="1269" y="1348"/>
                  <a:pt x="1271" y="1350"/>
                </a:cubicBezTo>
                <a:cubicBezTo>
                  <a:pt x="1273" y="1353"/>
                  <a:pt x="1276" y="1355"/>
                  <a:pt x="1281" y="1355"/>
                </a:cubicBezTo>
                <a:cubicBezTo>
                  <a:pt x="1285" y="1355"/>
                  <a:pt x="1288" y="1354"/>
                  <a:pt x="1291" y="1351"/>
                </a:cubicBezTo>
                <a:cubicBezTo>
                  <a:pt x="1299" y="1346"/>
                  <a:pt x="1302" y="1340"/>
                  <a:pt x="1302" y="1332"/>
                </a:cubicBezTo>
                <a:cubicBezTo>
                  <a:pt x="1302" y="1332"/>
                  <a:pt x="1302" y="1332"/>
                  <a:pt x="1302" y="1332"/>
                </a:cubicBezTo>
                <a:cubicBezTo>
                  <a:pt x="1305" y="1332"/>
                  <a:pt x="1308" y="1333"/>
                  <a:pt x="1309" y="1334"/>
                </a:cubicBezTo>
                <a:cubicBezTo>
                  <a:pt x="1310" y="1335"/>
                  <a:pt x="1313" y="1341"/>
                  <a:pt x="1315" y="1346"/>
                </a:cubicBezTo>
                <a:cubicBezTo>
                  <a:pt x="1316" y="1349"/>
                  <a:pt x="1317" y="1352"/>
                  <a:pt x="1318" y="1354"/>
                </a:cubicBezTo>
                <a:cubicBezTo>
                  <a:pt x="1319" y="1357"/>
                  <a:pt x="1319" y="1359"/>
                  <a:pt x="1322" y="1361"/>
                </a:cubicBezTo>
                <a:cubicBezTo>
                  <a:pt x="1322" y="1361"/>
                  <a:pt x="1322" y="1361"/>
                  <a:pt x="1322" y="1361"/>
                </a:cubicBezTo>
                <a:cubicBezTo>
                  <a:pt x="1322" y="1362"/>
                  <a:pt x="1324" y="1365"/>
                  <a:pt x="1325" y="1369"/>
                </a:cubicBezTo>
                <a:cubicBezTo>
                  <a:pt x="1326" y="1373"/>
                  <a:pt x="1327" y="1378"/>
                  <a:pt x="1327" y="1384"/>
                </a:cubicBezTo>
                <a:cubicBezTo>
                  <a:pt x="1327" y="1387"/>
                  <a:pt x="1327" y="1390"/>
                  <a:pt x="1326" y="1393"/>
                </a:cubicBezTo>
                <a:cubicBezTo>
                  <a:pt x="1323" y="1402"/>
                  <a:pt x="1323" y="1409"/>
                  <a:pt x="1322" y="1415"/>
                </a:cubicBezTo>
                <a:cubicBezTo>
                  <a:pt x="1321" y="1417"/>
                  <a:pt x="1321" y="1419"/>
                  <a:pt x="1321" y="1420"/>
                </a:cubicBezTo>
                <a:cubicBezTo>
                  <a:pt x="1318" y="1421"/>
                  <a:pt x="1316" y="1423"/>
                  <a:pt x="1315" y="1425"/>
                </a:cubicBezTo>
                <a:cubicBezTo>
                  <a:pt x="1313" y="1428"/>
                  <a:pt x="1311" y="1432"/>
                  <a:pt x="1308" y="1435"/>
                </a:cubicBezTo>
                <a:cubicBezTo>
                  <a:pt x="1306" y="1439"/>
                  <a:pt x="1304" y="1442"/>
                  <a:pt x="1303" y="1442"/>
                </a:cubicBezTo>
                <a:cubicBezTo>
                  <a:pt x="1299" y="1445"/>
                  <a:pt x="1293" y="1451"/>
                  <a:pt x="1287" y="1457"/>
                </a:cubicBezTo>
                <a:cubicBezTo>
                  <a:pt x="1282" y="1464"/>
                  <a:pt x="1277" y="1469"/>
                  <a:pt x="1276" y="1477"/>
                </a:cubicBezTo>
                <a:cubicBezTo>
                  <a:pt x="1276" y="1478"/>
                  <a:pt x="1276" y="1478"/>
                  <a:pt x="1276" y="1479"/>
                </a:cubicBezTo>
                <a:cubicBezTo>
                  <a:pt x="1277" y="1483"/>
                  <a:pt x="1279" y="1489"/>
                  <a:pt x="1282" y="1495"/>
                </a:cubicBezTo>
                <a:cubicBezTo>
                  <a:pt x="1284" y="1501"/>
                  <a:pt x="1286" y="1508"/>
                  <a:pt x="1286" y="1512"/>
                </a:cubicBezTo>
                <a:cubicBezTo>
                  <a:pt x="1286" y="1513"/>
                  <a:pt x="1286" y="1513"/>
                  <a:pt x="1286" y="1514"/>
                </a:cubicBezTo>
                <a:cubicBezTo>
                  <a:pt x="1285" y="1516"/>
                  <a:pt x="1282" y="1520"/>
                  <a:pt x="1278" y="1526"/>
                </a:cubicBezTo>
                <a:cubicBezTo>
                  <a:pt x="1275" y="1531"/>
                  <a:pt x="1271" y="1538"/>
                  <a:pt x="1271" y="1546"/>
                </a:cubicBezTo>
                <a:cubicBezTo>
                  <a:pt x="1271" y="1548"/>
                  <a:pt x="1271" y="1550"/>
                  <a:pt x="1272" y="1552"/>
                </a:cubicBezTo>
                <a:cubicBezTo>
                  <a:pt x="1274" y="1563"/>
                  <a:pt x="1283" y="1568"/>
                  <a:pt x="1289" y="1573"/>
                </a:cubicBezTo>
                <a:cubicBezTo>
                  <a:pt x="1296" y="1577"/>
                  <a:pt x="1300" y="1581"/>
                  <a:pt x="1300" y="1584"/>
                </a:cubicBezTo>
                <a:cubicBezTo>
                  <a:pt x="1301" y="1593"/>
                  <a:pt x="1306" y="1604"/>
                  <a:pt x="1311" y="1615"/>
                </a:cubicBezTo>
                <a:cubicBezTo>
                  <a:pt x="1316" y="1626"/>
                  <a:pt x="1320" y="1637"/>
                  <a:pt x="1321" y="1643"/>
                </a:cubicBezTo>
                <a:cubicBezTo>
                  <a:pt x="1323" y="1652"/>
                  <a:pt x="1329" y="1659"/>
                  <a:pt x="1334" y="1667"/>
                </a:cubicBezTo>
                <a:cubicBezTo>
                  <a:pt x="1339" y="1675"/>
                  <a:pt x="1343" y="1682"/>
                  <a:pt x="1343" y="1690"/>
                </a:cubicBezTo>
                <a:cubicBezTo>
                  <a:pt x="1343" y="1703"/>
                  <a:pt x="1352" y="1712"/>
                  <a:pt x="1360" y="1718"/>
                </a:cubicBezTo>
                <a:cubicBezTo>
                  <a:pt x="1368" y="1724"/>
                  <a:pt x="1377" y="1728"/>
                  <a:pt x="1381" y="1729"/>
                </a:cubicBezTo>
                <a:cubicBezTo>
                  <a:pt x="1381" y="1729"/>
                  <a:pt x="1385" y="1732"/>
                  <a:pt x="1390" y="1736"/>
                </a:cubicBezTo>
                <a:cubicBezTo>
                  <a:pt x="1394" y="1739"/>
                  <a:pt x="1399" y="1744"/>
                  <a:pt x="1404" y="1746"/>
                </a:cubicBezTo>
                <a:cubicBezTo>
                  <a:pt x="1410" y="1750"/>
                  <a:pt x="1416" y="1757"/>
                  <a:pt x="1422" y="1767"/>
                </a:cubicBezTo>
                <a:cubicBezTo>
                  <a:pt x="1425" y="1773"/>
                  <a:pt x="1426" y="1784"/>
                  <a:pt x="1426" y="1790"/>
                </a:cubicBezTo>
                <a:cubicBezTo>
                  <a:pt x="1426" y="1793"/>
                  <a:pt x="1426" y="1795"/>
                  <a:pt x="1426" y="1796"/>
                </a:cubicBezTo>
                <a:cubicBezTo>
                  <a:pt x="1426" y="1799"/>
                  <a:pt x="1422" y="1843"/>
                  <a:pt x="1419" y="1867"/>
                </a:cubicBezTo>
                <a:cubicBezTo>
                  <a:pt x="1418" y="1872"/>
                  <a:pt x="1418" y="1877"/>
                  <a:pt x="1418" y="1882"/>
                </a:cubicBezTo>
                <a:cubicBezTo>
                  <a:pt x="1418" y="1893"/>
                  <a:pt x="1420" y="1902"/>
                  <a:pt x="1419" y="1909"/>
                </a:cubicBezTo>
                <a:cubicBezTo>
                  <a:pt x="1420" y="1913"/>
                  <a:pt x="1419" y="1914"/>
                  <a:pt x="1418" y="1915"/>
                </a:cubicBezTo>
                <a:cubicBezTo>
                  <a:pt x="1414" y="1920"/>
                  <a:pt x="1406" y="1925"/>
                  <a:pt x="1405" y="1935"/>
                </a:cubicBezTo>
                <a:cubicBezTo>
                  <a:pt x="1405" y="1938"/>
                  <a:pt x="1406" y="1942"/>
                  <a:pt x="1409" y="1945"/>
                </a:cubicBezTo>
                <a:cubicBezTo>
                  <a:pt x="1409" y="1945"/>
                  <a:pt x="1409" y="1945"/>
                  <a:pt x="1409" y="1945"/>
                </a:cubicBezTo>
                <a:cubicBezTo>
                  <a:pt x="1409" y="1946"/>
                  <a:pt x="1407" y="1948"/>
                  <a:pt x="1405" y="1949"/>
                </a:cubicBezTo>
                <a:cubicBezTo>
                  <a:pt x="1404" y="1950"/>
                  <a:pt x="1403" y="1951"/>
                  <a:pt x="1402" y="1952"/>
                </a:cubicBezTo>
                <a:cubicBezTo>
                  <a:pt x="1401" y="1954"/>
                  <a:pt x="1399" y="1955"/>
                  <a:pt x="1399" y="1959"/>
                </a:cubicBezTo>
                <a:cubicBezTo>
                  <a:pt x="1399" y="1963"/>
                  <a:pt x="1401" y="1966"/>
                  <a:pt x="1402" y="1972"/>
                </a:cubicBezTo>
                <a:cubicBezTo>
                  <a:pt x="1404" y="1977"/>
                  <a:pt x="1405" y="1983"/>
                  <a:pt x="1405" y="1988"/>
                </a:cubicBezTo>
                <a:cubicBezTo>
                  <a:pt x="1405" y="1990"/>
                  <a:pt x="1405" y="1991"/>
                  <a:pt x="1404" y="1992"/>
                </a:cubicBezTo>
                <a:cubicBezTo>
                  <a:pt x="1399" y="2003"/>
                  <a:pt x="1396" y="2016"/>
                  <a:pt x="1393" y="2024"/>
                </a:cubicBezTo>
                <a:cubicBezTo>
                  <a:pt x="1391" y="2030"/>
                  <a:pt x="1383" y="2038"/>
                  <a:pt x="1383" y="2051"/>
                </a:cubicBezTo>
                <a:cubicBezTo>
                  <a:pt x="1383" y="2053"/>
                  <a:pt x="1383" y="2055"/>
                  <a:pt x="1383" y="2056"/>
                </a:cubicBezTo>
                <a:cubicBezTo>
                  <a:pt x="1383" y="2057"/>
                  <a:pt x="1384" y="2058"/>
                  <a:pt x="1384" y="2058"/>
                </a:cubicBezTo>
                <a:cubicBezTo>
                  <a:pt x="1383" y="2060"/>
                  <a:pt x="1384" y="2059"/>
                  <a:pt x="1381" y="2062"/>
                </a:cubicBezTo>
                <a:cubicBezTo>
                  <a:pt x="1378" y="2063"/>
                  <a:pt x="1374" y="2069"/>
                  <a:pt x="1374" y="2076"/>
                </a:cubicBezTo>
                <a:cubicBezTo>
                  <a:pt x="1374" y="2083"/>
                  <a:pt x="1378" y="2088"/>
                  <a:pt x="1380" y="2090"/>
                </a:cubicBezTo>
                <a:cubicBezTo>
                  <a:pt x="1382" y="2092"/>
                  <a:pt x="1382" y="2091"/>
                  <a:pt x="1382" y="2094"/>
                </a:cubicBezTo>
                <a:cubicBezTo>
                  <a:pt x="1382" y="2095"/>
                  <a:pt x="1382" y="2096"/>
                  <a:pt x="1382" y="2097"/>
                </a:cubicBezTo>
                <a:cubicBezTo>
                  <a:pt x="1381" y="2104"/>
                  <a:pt x="1379" y="2108"/>
                  <a:pt x="1378" y="2113"/>
                </a:cubicBezTo>
                <a:cubicBezTo>
                  <a:pt x="1376" y="2117"/>
                  <a:pt x="1374" y="2122"/>
                  <a:pt x="1374" y="2128"/>
                </a:cubicBezTo>
                <a:cubicBezTo>
                  <a:pt x="1374" y="2135"/>
                  <a:pt x="1376" y="2142"/>
                  <a:pt x="1377" y="2148"/>
                </a:cubicBezTo>
                <a:cubicBezTo>
                  <a:pt x="1379" y="2153"/>
                  <a:pt x="1380" y="2159"/>
                  <a:pt x="1380" y="2159"/>
                </a:cubicBezTo>
                <a:cubicBezTo>
                  <a:pt x="1380" y="2159"/>
                  <a:pt x="1379" y="2163"/>
                  <a:pt x="1376" y="2168"/>
                </a:cubicBezTo>
                <a:cubicBezTo>
                  <a:pt x="1374" y="2173"/>
                  <a:pt x="1371" y="2179"/>
                  <a:pt x="1367" y="2184"/>
                </a:cubicBezTo>
                <a:cubicBezTo>
                  <a:pt x="1360" y="2194"/>
                  <a:pt x="1354" y="2201"/>
                  <a:pt x="1353" y="2211"/>
                </a:cubicBezTo>
                <a:cubicBezTo>
                  <a:pt x="1353" y="2212"/>
                  <a:pt x="1353" y="2213"/>
                  <a:pt x="1353" y="2214"/>
                </a:cubicBezTo>
                <a:cubicBezTo>
                  <a:pt x="1354" y="2218"/>
                  <a:pt x="1357" y="2222"/>
                  <a:pt x="1359" y="2226"/>
                </a:cubicBezTo>
                <a:cubicBezTo>
                  <a:pt x="1360" y="2227"/>
                  <a:pt x="1360" y="2229"/>
                  <a:pt x="1361" y="2230"/>
                </a:cubicBezTo>
                <a:cubicBezTo>
                  <a:pt x="1361" y="2230"/>
                  <a:pt x="1361" y="2231"/>
                  <a:pt x="1361" y="2231"/>
                </a:cubicBezTo>
                <a:cubicBezTo>
                  <a:pt x="1361" y="2232"/>
                  <a:pt x="1358" y="2236"/>
                  <a:pt x="1356" y="2240"/>
                </a:cubicBezTo>
                <a:cubicBezTo>
                  <a:pt x="1354" y="2245"/>
                  <a:pt x="1351" y="2251"/>
                  <a:pt x="1351" y="2258"/>
                </a:cubicBezTo>
                <a:cubicBezTo>
                  <a:pt x="1351" y="2259"/>
                  <a:pt x="1351" y="2259"/>
                  <a:pt x="1351" y="2260"/>
                </a:cubicBezTo>
                <a:cubicBezTo>
                  <a:pt x="1352" y="2268"/>
                  <a:pt x="1358" y="2272"/>
                  <a:pt x="1361" y="2272"/>
                </a:cubicBezTo>
                <a:cubicBezTo>
                  <a:pt x="1363" y="2273"/>
                  <a:pt x="1364" y="2273"/>
                  <a:pt x="1365" y="2273"/>
                </a:cubicBezTo>
                <a:cubicBezTo>
                  <a:pt x="1364" y="2274"/>
                  <a:pt x="1363" y="2276"/>
                  <a:pt x="1361" y="2277"/>
                </a:cubicBezTo>
                <a:cubicBezTo>
                  <a:pt x="1359" y="2279"/>
                  <a:pt x="1356" y="2282"/>
                  <a:pt x="1356" y="2287"/>
                </a:cubicBezTo>
                <a:cubicBezTo>
                  <a:pt x="1356" y="2290"/>
                  <a:pt x="1358" y="2293"/>
                  <a:pt x="1360" y="2295"/>
                </a:cubicBezTo>
                <a:cubicBezTo>
                  <a:pt x="1364" y="2299"/>
                  <a:pt x="1368" y="2301"/>
                  <a:pt x="1370" y="2302"/>
                </a:cubicBezTo>
                <a:cubicBezTo>
                  <a:pt x="1371" y="2304"/>
                  <a:pt x="1372" y="2304"/>
                  <a:pt x="1372" y="2308"/>
                </a:cubicBezTo>
                <a:cubicBezTo>
                  <a:pt x="1372" y="2310"/>
                  <a:pt x="1372" y="2311"/>
                  <a:pt x="1372" y="2312"/>
                </a:cubicBezTo>
                <a:cubicBezTo>
                  <a:pt x="1372" y="2314"/>
                  <a:pt x="1371" y="2315"/>
                  <a:pt x="1371" y="2317"/>
                </a:cubicBezTo>
                <a:cubicBezTo>
                  <a:pt x="1371" y="2335"/>
                  <a:pt x="1390" y="2341"/>
                  <a:pt x="1389" y="2342"/>
                </a:cubicBezTo>
                <a:cubicBezTo>
                  <a:pt x="1391" y="2344"/>
                  <a:pt x="1393" y="2347"/>
                  <a:pt x="1397" y="2351"/>
                </a:cubicBezTo>
                <a:cubicBezTo>
                  <a:pt x="1400" y="2354"/>
                  <a:pt x="1403" y="2357"/>
                  <a:pt x="1409" y="2358"/>
                </a:cubicBezTo>
                <a:cubicBezTo>
                  <a:pt x="1409" y="2359"/>
                  <a:pt x="1410" y="2361"/>
                  <a:pt x="1412" y="2362"/>
                </a:cubicBezTo>
                <a:cubicBezTo>
                  <a:pt x="1413" y="2363"/>
                  <a:pt x="1414" y="2363"/>
                  <a:pt x="1415" y="2363"/>
                </a:cubicBezTo>
                <a:cubicBezTo>
                  <a:pt x="1416" y="2364"/>
                  <a:pt x="1422" y="2366"/>
                  <a:pt x="1427" y="2369"/>
                </a:cubicBezTo>
                <a:cubicBezTo>
                  <a:pt x="1433" y="2371"/>
                  <a:pt x="1439" y="2374"/>
                  <a:pt x="1446" y="2374"/>
                </a:cubicBezTo>
                <a:cubicBezTo>
                  <a:pt x="1457" y="2374"/>
                  <a:pt x="1474" y="2369"/>
                  <a:pt x="1479" y="2367"/>
                </a:cubicBezTo>
                <a:cubicBezTo>
                  <a:pt x="1479" y="2367"/>
                  <a:pt x="1487" y="2365"/>
                  <a:pt x="1494" y="2363"/>
                </a:cubicBezTo>
                <a:cubicBezTo>
                  <a:pt x="1498" y="2363"/>
                  <a:pt x="1501" y="2362"/>
                  <a:pt x="1504" y="2360"/>
                </a:cubicBezTo>
                <a:cubicBezTo>
                  <a:pt x="1508" y="2359"/>
                  <a:pt x="1510" y="2359"/>
                  <a:pt x="1513" y="2355"/>
                </a:cubicBezTo>
                <a:cubicBezTo>
                  <a:pt x="1514" y="2354"/>
                  <a:pt x="1514" y="2352"/>
                  <a:pt x="1514" y="2351"/>
                </a:cubicBezTo>
                <a:cubicBezTo>
                  <a:pt x="1514" y="2347"/>
                  <a:pt x="1511" y="2345"/>
                  <a:pt x="1510" y="2345"/>
                </a:cubicBezTo>
                <a:cubicBezTo>
                  <a:pt x="1505" y="2343"/>
                  <a:pt x="1501" y="2343"/>
                  <a:pt x="1495" y="2342"/>
                </a:cubicBezTo>
                <a:cubicBezTo>
                  <a:pt x="1489" y="2341"/>
                  <a:pt x="1483" y="2340"/>
                  <a:pt x="1480" y="2339"/>
                </a:cubicBezTo>
                <a:cubicBezTo>
                  <a:pt x="1477" y="2338"/>
                  <a:pt x="1469" y="2332"/>
                  <a:pt x="1464" y="2326"/>
                </a:cubicBezTo>
                <a:cubicBezTo>
                  <a:pt x="1458" y="2320"/>
                  <a:pt x="1453" y="2312"/>
                  <a:pt x="1453" y="2310"/>
                </a:cubicBezTo>
                <a:cubicBezTo>
                  <a:pt x="1452" y="2308"/>
                  <a:pt x="1451" y="2304"/>
                  <a:pt x="1451" y="2301"/>
                </a:cubicBezTo>
                <a:cubicBezTo>
                  <a:pt x="1451" y="2294"/>
                  <a:pt x="1454" y="2288"/>
                  <a:pt x="1456" y="2286"/>
                </a:cubicBezTo>
                <a:cubicBezTo>
                  <a:pt x="1465" y="2280"/>
                  <a:pt x="1484" y="2261"/>
                  <a:pt x="1489" y="2257"/>
                </a:cubicBezTo>
                <a:cubicBezTo>
                  <a:pt x="1492" y="2254"/>
                  <a:pt x="1494" y="2249"/>
                  <a:pt x="1496" y="2244"/>
                </a:cubicBezTo>
                <a:cubicBezTo>
                  <a:pt x="1498" y="2239"/>
                  <a:pt x="1500" y="2234"/>
                  <a:pt x="1500" y="2229"/>
                </a:cubicBezTo>
                <a:cubicBezTo>
                  <a:pt x="1500" y="2227"/>
                  <a:pt x="1500" y="2225"/>
                  <a:pt x="1497" y="2221"/>
                </a:cubicBezTo>
                <a:cubicBezTo>
                  <a:pt x="1493" y="2219"/>
                  <a:pt x="1491" y="2219"/>
                  <a:pt x="1489" y="2219"/>
                </a:cubicBezTo>
                <a:cubicBezTo>
                  <a:pt x="1485" y="2219"/>
                  <a:pt x="1481" y="2219"/>
                  <a:pt x="1478" y="2219"/>
                </a:cubicBezTo>
                <a:cubicBezTo>
                  <a:pt x="1477" y="2218"/>
                  <a:pt x="1476" y="2218"/>
                  <a:pt x="1476" y="2218"/>
                </a:cubicBezTo>
                <a:cubicBezTo>
                  <a:pt x="1476" y="2218"/>
                  <a:pt x="1476" y="2218"/>
                  <a:pt x="1476" y="2218"/>
                </a:cubicBezTo>
                <a:cubicBezTo>
                  <a:pt x="1476" y="2217"/>
                  <a:pt x="1476" y="2214"/>
                  <a:pt x="1484" y="2208"/>
                </a:cubicBezTo>
                <a:cubicBezTo>
                  <a:pt x="1490" y="2202"/>
                  <a:pt x="1494" y="2196"/>
                  <a:pt x="1498" y="2190"/>
                </a:cubicBezTo>
                <a:cubicBezTo>
                  <a:pt x="1501" y="2185"/>
                  <a:pt x="1504" y="2180"/>
                  <a:pt x="1505" y="2180"/>
                </a:cubicBezTo>
                <a:cubicBezTo>
                  <a:pt x="1510" y="2176"/>
                  <a:pt x="1520" y="2167"/>
                  <a:pt x="1524" y="2155"/>
                </a:cubicBezTo>
                <a:cubicBezTo>
                  <a:pt x="1525" y="2153"/>
                  <a:pt x="1525" y="2152"/>
                  <a:pt x="1525" y="2149"/>
                </a:cubicBezTo>
                <a:cubicBezTo>
                  <a:pt x="1525" y="2148"/>
                  <a:pt x="1525" y="2145"/>
                  <a:pt x="1523" y="2143"/>
                </a:cubicBezTo>
                <a:cubicBezTo>
                  <a:pt x="1521" y="2142"/>
                  <a:pt x="1519" y="2141"/>
                  <a:pt x="1517" y="2141"/>
                </a:cubicBezTo>
                <a:cubicBezTo>
                  <a:pt x="1513" y="2142"/>
                  <a:pt x="1510" y="2143"/>
                  <a:pt x="1508" y="2143"/>
                </a:cubicBezTo>
                <a:cubicBezTo>
                  <a:pt x="1508" y="2143"/>
                  <a:pt x="1508" y="2142"/>
                  <a:pt x="1507" y="2142"/>
                </a:cubicBezTo>
                <a:cubicBezTo>
                  <a:pt x="1506" y="2139"/>
                  <a:pt x="1504" y="2135"/>
                  <a:pt x="1504" y="2131"/>
                </a:cubicBezTo>
                <a:cubicBezTo>
                  <a:pt x="1506" y="2132"/>
                  <a:pt x="1508" y="2133"/>
                  <a:pt x="1510" y="2133"/>
                </a:cubicBezTo>
                <a:cubicBezTo>
                  <a:pt x="1515" y="2135"/>
                  <a:pt x="1521" y="2137"/>
                  <a:pt x="1526" y="2138"/>
                </a:cubicBezTo>
                <a:cubicBezTo>
                  <a:pt x="1528" y="2139"/>
                  <a:pt x="1529" y="2139"/>
                  <a:pt x="1531" y="2139"/>
                </a:cubicBezTo>
                <a:cubicBezTo>
                  <a:pt x="1534" y="2139"/>
                  <a:pt x="1537" y="2138"/>
                  <a:pt x="1539" y="2136"/>
                </a:cubicBezTo>
                <a:cubicBezTo>
                  <a:pt x="1541" y="2134"/>
                  <a:pt x="1541" y="2131"/>
                  <a:pt x="1541" y="2129"/>
                </a:cubicBezTo>
                <a:cubicBezTo>
                  <a:pt x="1541" y="2124"/>
                  <a:pt x="1539" y="2120"/>
                  <a:pt x="1539" y="2117"/>
                </a:cubicBezTo>
                <a:cubicBezTo>
                  <a:pt x="1539" y="2116"/>
                  <a:pt x="1539" y="2115"/>
                  <a:pt x="1539" y="2114"/>
                </a:cubicBezTo>
                <a:cubicBezTo>
                  <a:pt x="1539" y="2111"/>
                  <a:pt x="1539" y="2108"/>
                  <a:pt x="1540" y="2106"/>
                </a:cubicBezTo>
                <a:cubicBezTo>
                  <a:pt x="1540" y="2106"/>
                  <a:pt x="1540" y="2106"/>
                  <a:pt x="1541" y="2105"/>
                </a:cubicBezTo>
                <a:cubicBezTo>
                  <a:pt x="1544" y="2107"/>
                  <a:pt x="1548" y="2107"/>
                  <a:pt x="1553" y="2107"/>
                </a:cubicBezTo>
                <a:cubicBezTo>
                  <a:pt x="1567" y="2107"/>
                  <a:pt x="1586" y="2104"/>
                  <a:pt x="1591" y="2103"/>
                </a:cubicBezTo>
                <a:cubicBezTo>
                  <a:pt x="1596" y="2101"/>
                  <a:pt x="1597" y="2098"/>
                  <a:pt x="1599" y="2095"/>
                </a:cubicBezTo>
                <a:cubicBezTo>
                  <a:pt x="1605" y="2087"/>
                  <a:pt x="1613" y="2072"/>
                  <a:pt x="1616" y="2067"/>
                </a:cubicBezTo>
                <a:cubicBezTo>
                  <a:pt x="1619" y="2063"/>
                  <a:pt x="1621" y="2058"/>
                  <a:pt x="1621" y="2053"/>
                </a:cubicBezTo>
                <a:cubicBezTo>
                  <a:pt x="1621" y="2049"/>
                  <a:pt x="1619" y="2044"/>
                  <a:pt x="1615" y="2041"/>
                </a:cubicBezTo>
                <a:cubicBezTo>
                  <a:pt x="1614" y="2041"/>
                  <a:pt x="1614" y="2040"/>
                  <a:pt x="1613" y="2039"/>
                </a:cubicBezTo>
                <a:cubicBezTo>
                  <a:pt x="1618" y="2041"/>
                  <a:pt x="1624" y="2042"/>
                  <a:pt x="1629" y="2042"/>
                </a:cubicBezTo>
                <a:cubicBezTo>
                  <a:pt x="1639" y="2042"/>
                  <a:pt x="1647" y="2038"/>
                  <a:pt x="1656" y="2028"/>
                </a:cubicBezTo>
                <a:cubicBezTo>
                  <a:pt x="1671" y="2011"/>
                  <a:pt x="1683" y="2000"/>
                  <a:pt x="1685" y="1986"/>
                </a:cubicBezTo>
                <a:cubicBezTo>
                  <a:pt x="1686" y="1977"/>
                  <a:pt x="1689" y="1968"/>
                  <a:pt x="1692" y="1965"/>
                </a:cubicBezTo>
                <a:cubicBezTo>
                  <a:pt x="1693" y="1965"/>
                  <a:pt x="1695" y="1967"/>
                  <a:pt x="1699" y="1967"/>
                </a:cubicBezTo>
                <a:cubicBezTo>
                  <a:pt x="1702" y="1967"/>
                  <a:pt x="1705" y="1965"/>
                  <a:pt x="1707" y="1963"/>
                </a:cubicBezTo>
                <a:cubicBezTo>
                  <a:pt x="1708" y="1961"/>
                  <a:pt x="1710" y="1958"/>
                  <a:pt x="1711" y="1954"/>
                </a:cubicBezTo>
                <a:cubicBezTo>
                  <a:pt x="1715" y="1946"/>
                  <a:pt x="1717" y="1943"/>
                  <a:pt x="1720" y="1939"/>
                </a:cubicBezTo>
                <a:cubicBezTo>
                  <a:pt x="1724" y="1936"/>
                  <a:pt x="1728" y="1931"/>
                  <a:pt x="1732" y="1923"/>
                </a:cubicBezTo>
                <a:cubicBezTo>
                  <a:pt x="1733" y="1919"/>
                  <a:pt x="1734" y="1916"/>
                  <a:pt x="1734" y="1912"/>
                </a:cubicBezTo>
                <a:cubicBezTo>
                  <a:pt x="1734" y="1902"/>
                  <a:pt x="1729" y="1892"/>
                  <a:pt x="1729" y="1886"/>
                </a:cubicBezTo>
                <a:cubicBezTo>
                  <a:pt x="1730" y="1883"/>
                  <a:pt x="1730" y="1882"/>
                  <a:pt x="1732" y="1880"/>
                </a:cubicBezTo>
                <a:cubicBezTo>
                  <a:pt x="1746" y="1869"/>
                  <a:pt x="1770" y="1855"/>
                  <a:pt x="1770" y="1855"/>
                </a:cubicBezTo>
                <a:cubicBezTo>
                  <a:pt x="1770" y="1855"/>
                  <a:pt x="1771" y="1854"/>
                  <a:pt x="1774" y="1853"/>
                </a:cubicBezTo>
                <a:cubicBezTo>
                  <a:pt x="1778" y="1851"/>
                  <a:pt x="1782" y="1849"/>
                  <a:pt x="1789" y="1847"/>
                </a:cubicBezTo>
                <a:cubicBezTo>
                  <a:pt x="1795" y="1846"/>
                  <a:pt x="1802" y="1845"/>
                  <a:pt x="1808" y="1844"/>
                </a:cubicBezTo>
                <a:cubicBezTo>
                  <a:pt x="1815" y="1844"/>
                  <a:pt x="1822" y="1842"/>
                  <a:pt x="1826" y="1835"/>
                </a:cubicBezTo>
                <a:cubicBezTo>
                  <a:pt x="1831" y="1825"/>
                  <a:pt x="1836" y="1808"/>
                  <a:pt x="1842" y="1800"/>
                </a:cubicBezTo>
                <a:cubicBezTo>
                  <a:pt x="1848" y="1791"/>
                  <a:pt x="1855" y="1779"/>
                  <a:pt x="1855" y="1769"/>
                </a:cubicBezTo>
                <a:cubicBezTo>
                  <a:pt x="1855" y="1766"/>
                  <a:pt x="1855" y="1764"/>
                  <a:pt x="1854" y="1762"/>
                </a:cubicBezTo>
                <a:cubicBezTo>
                  <a:pt x="1854" y="1762"/>
                  <a:pt x="1854" y="1761"/>
                  <a:pt x="1854" y="1761"/>
                </a:cubicBezTo>
                <a:cubicBezTo>
                  <a:pt x="1854" y="1758"/>
                  <a:pt x="1856" y="1749"/>
                  <a:pt x="1858" y="1742"/>
                </a:cubicBezTo>
                <a:cubicBezTo>
                  <a:pt x="1860" y="1734"/>
                  <a:pt x="1862" y="1726"/>
                  <a:pt x="1863" y="1720"/>
                </a:cubicBezTo>
                <a:cubicBezTo>
                  <a:pt x="1863" y="1720"/>
                  <a:pt x="1862" y="1719"/>
                  <a:pt x="1862" y="1718"/>
                </a:cubicBezTo>
                <a:cubicBezTo>
                  <a:pt x="1861" y="1712"/>
                  <a:pt x="1858" y="1705"/>
                  <a:pt x="1858" y="1697"/>
                </a:cubicBezTo>
                <a:cubicBezTo>
                  <a:pt x="1858" y="1691"/>
                  <a:pt x="1860" y="1686"/>
                  <a:pt x="1866" y="1679"/>
                </a:cubicBezTo>
                <a:cubicBezTo>
                  <a:pt x="1875" y="1671"/>
                  <a:pt x="1884" y="1660"/>
                  <a:pt x="1891" y="1651"/>
                </a:cubicBezTo>
                <a:cubicBezTo>
                  <a:pt x="1899" y="1641"/>
                  <a:pt x="1904" y="1634"/>
                  <a:pt x="1905" y="1628"/>
                </a:cubicBezTo>
                <a:cubicBezTo>
                  <a:pt x="1905" y="1626"/>
                  <a:pt x="1909" y="1617"/>
                  <a:pt x="1913" y="1608"/>
                </a:cubicBezTo>
                <a:cubicBezTo>
                  <a:pt x="1916" y="1598"/>
                  <a:pt x="1920" y="1588"/>
                  <a:pt x="1920" y="1579"/>
                </a:cubicBezTo>
                <a:cubicBezTo>
                  <a:pt x="1920" y="1578"/>
                  <a:pt x="1920" y="1577"/>
                  <a:pt x="1920" y="1577"/>
                </a:cubicBezTo>
                <a:cubicBezTo>
                  <a:pt x="1916" y="1560"/>
                  <a:pt x="1905" y="1543"/>
                  <a:pt x="1894" y="1537"/>
                </a:cubicBezTo>
                <a:close/>
                <a:moveTo>
                  <a:pt x="1322" y="737"/>
                </a:moveTo>
                <a:cubicBezTo>
                  <a:pt x="1322" y="736"/>
                  <a:pt x="1322" y="736"/>
                  <a:pt x="1322" y="736"/>
                </a:cubicBezTo>
                <a:cubicBezTo>
                  <a:pt x="1322" y="737"/>
                  <a:pt x="1322" y="737"/>
                  <a:pt x="1322" y="737"/>
                </a:cubicBezTo>
                <a:close/>
                <a:moveTo>
                  <a:pt x="1311" y="755"/>
                </a:moveTo>
                <a:cubicBezTo>
                  <a:pt x="1314" y="751"/>
                  <a:pt x="1318" y="748"/>
                  <a:pt x="1320" y="745"/>
                </a:cubicBezTo>
                <a:cubicBezTo>
                  <a:pt x="1321" y="744"/>
                  <a:pt x="1322" y="743"/>
                  <a:pt x="1323" y="743"/>
                </a:cubicBezTo>
                <a:cubicBezTo>
                  <a:pt x="1324" y="743"/>
                  <a:pt x="1325" y="743"/>
                  <a:pt x="1326" y="743"/>
                </a:cubicBezTo>
                <a:cubicBezTo>
                  <a:pt x="1331" y="743"/>
                  <a:pt x="1338" y="742"/>
                  <a:pt x="1344" y="742"/>
                </a:cubicBezTo>
                <a:cubicBezTo>
                  <a:pt x="1345" y="742"/>
                  <a:pt x="1347" y="742"/>
                  <a:pt x="1348" y="742"/>
                </a:cubicBezTo>
                <a:cubicBezTo>
                  <a:pt x="1345" y="743"/>
                  <a:pt x="1341" y="745"/>
                  <a:pt x="1336" y="747"/>
                </a:cubicBezTo>
                <a:cubicBezTo>
                  <a:pt x="1331" y="750"/>
                  <a:pt x="1327" y="751"/>
                  <a:pt x="1324" y="752"/>
                </a:cubicBezTo>
                <a:cubicBezTo>
                  <a:pt x="1320" y="753"/>
                  <a:pt x="1317" y="756"/>
                  <a:pt x="1314" y="760"/>
                </a:cubicBezTo>
                <a:cubicBezTo>
                  <a:pt x="1313" y="762"/>
                  <a:pt x="1309" y="764"/>
                  <a:pt x="1304" y="767"/>
                </a:cubicBezTo>
                <a:cubicBezTo>
                  <a:pt x="1303" y="767"/>
                  <a:pt x="1302" y="768"/>
                  <a:pt x="1301" y="768"/>
                </a:cubicBezTo>
                <a:cubicBezTo>
                  <a:pt x="1303" y="765"/>
                  <a:pt x="1307" y="760"/>
                  <a:pt x="1311" y="755"/>
                </a:cubicBezTo>
                <a:close/>
                <a:moveTo>
                  <a:pt x="1293" y="718"/>
                </a:moveTo>
                <a:cubicBezTo>
                  <a:pt x="1294" y="720"/>
                  <a:pt x="1295" y="722"/>
                  <a:pt x="1296" y="724"/>
                </a:cubicBezTo>
                <a:cubicBezTo>
                  <a:pt x="1296" y="724"/>
                  <a:pt x="1296" y="724"/>
                  <a:pt x="1296" y="724"/>
                </a:cubicBezTo>
                <a:cubicBezTo>
                  <a:pt x="1294" y="722"/>
                  <a:pt x="1293" y="720"/>
                  <a:pt x="1293" y="717"/>
                </a:cubicBezTo>
                <a:cubicBezTo>
                  <a:pt x="1293" y="718"/>
                  <a:pt x="1293" y="718"/>
                  <a:pt x="1293" y="718"/>
                </a:cubicBezTo>
                <a:close/>
                <a:moveTo>
                  <a:pt x="1290" y="776"/>
                </a:moveTo>
                <a:cubicBezTo>
                  <a:pt x="1289" y="776"/>
                  <a:pt x="1289" y="777"/>
                  <a:pt x="1288" y="778"/>
                </a:cubicBezTo>
                <a:cubicBezTo>
                  <a:pt x="1285" y="781"/>
                  <a:pt x="1280" y="784"/>
                  <a:pt x="1277" y="785"/>
                </a:cubicBezTo>
                <a:cubicBezTo>
                  <a:pt x="1278" y="784"/>
                  <a:pt x="1278" y="784"/>
                  <a:pt x="1279" y="783"/>
                </a:cubicBezTo>
                <a:cubicBezTo>
                  <a:pt x="1279" y="783"/>
                  <a:pt x="1279" y="782"/>
                  <a:pt x="1279" y="782"/>
                </a:cubicBezTo>
                <a:cubicBezTo>
                  <a:pt x="1281" y="781"/>
                  <a:pt x="1286" y="778"/>
                  <a:pt x="1290" y="776"/>
                </a:cubicBezTo>
                <a:close/>
                <a:moveTo>
                  <a:pt x="1259" y="711"/>
                </a:moveTo>
                <a:cubicBezTo>
                  <a:pt x="1260" y="711"/>
                  <a:pt x="1261" y="711"/>
                  <a:pt x="1262" y="710"/>
                </a:cubicBezTo>
                <a:cubicBezTo>
                  <a:pt x="1260" y="704"/>
                  <a:pt x="1260" y="704"/>
                  <a:pt x="1260" y="704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3" y="710"/>
                  <a:pt x="1263" y="710"/>
                  <a:pt x="1263" y="710"/>
                </a:cubicBezTo>
                <a:cubicBezTo>
                  <a:pt x="1264" y="710"/>
                  <a:pt x="1268" y="709"/>
                  <a:pt x="1272" y="709"/>
                </a:cubicBezTo>
                <a:cubicBezTo>
                  <a:pt x="1276" y="709"/>
                  <a:pt x="1280" y="710"/>
                  <a:pt x="1283" y="710"/>
                </a:cubicBezTo>
                <a:cubicBezTo>
                  <a:pt x="1281" y="711"/>
                  <a:pt x="1281" y="712"/>
                  <a:pt x="1281" y="712"/>
                </a:cubicBezTo>
                <a:cubicBezTo>
                  <a:pt x="1279" y="715"/>
                  <a:pt x="1278" y="718"/>
                  <a:pt x="1277" y="722"/>
                </a:cubicBezTo>
                <a:cubicBezTo>
                  <a:pt x="1277" y="726"/>
                  <a:pt x="1276" y="731"/>
                  <a:pt x="1276" y="735"/>
                </a:cubicBezTo>
                <a:cubicBezTo>
                  <a:pt x="1276" y="739"/>
                  <a:pt x="1276" y="742"/>
                  <a:pt x="1278" y="746"/>
                </a:cubicBezTo>
                <a:cubicBezTo>
                  <a:pt x="1278" y="746"/>
                  <a:pt x="1278" y="746"/>
                  <a:pt x="1278" y="747"/>
                </a:cubicBezTo>
                <a:cubicBezTo>
                  <a:pt x="1278" y="747"/>
                  <a:pt x="1277" y="751"/>
                  <a:pt x="1274" y="753"/>
                </a:cubicBezTo>
                <a:cubicBezTo>
                  <a:pt x="1273" y="754"/>
                  <a:pt x="1272" y="752"/>
                  <a:pt x="1271" y="756"/>
                </a:cubicBezTo>
                <a:cubicBezTo>
                  <a:pt x="1271" y="756"/>
                  <a:pt x="1271" y="756"/>
                  <a:pt x="1271" y="756"/>
                </a:cubicBezTo>
                <a:cubicBezTo>
                  <a:pt x="1270" y="752"/>
                  <a:pt x="1268" y="747"/>
                  <a:pt x="1268" y="742"/>
                </a:cubicBezTo>
                <a:cubicBezTo>
                  <a:pt x="1268" y="740"/>
                  <a:pt x="1269" y="739"/>
                  <a:pt x="1269" y="737"/>
                </a:cubicBezTo>
                <a:cubicBezTo>
                  <a:pt x="1269" y="736"/>
                  <a:pt x="1269" y="735"/>
                  <a:pt x="1269" y="734"/>
                </a:cubicBezTo>
                <a:cubicBezTo>
                  <a:pt x="1269" y="724"/>
                  <a:pt x="1264" y="714"/>
                  <a:pt x="1255" y="710"/>
                </a:cubicBezTo>
                <a:cubicBezTo>
                  <a:pt x="1257" y="711"/>
                  <a:pt x="1258" y="711"/>
                  <a:pt x="1259" y="711"/>
                </a:cubicBezTo>
                <a:close/>
                <a:moveTo>
                  <a:pt x="1246" y="708"/>
                </a:moveTo>
                <a:cubicBezTo>
                  <a:pt x="1246" y="708"/>
                  <a:pt x="1246" y="708"/>
                  <a:pt x="1245" y="708"/>
                </a:cubicBezTo>
                <a:cubicBezTo>
                  <a:pt x="1244" y="708"/>
                  <a:pt x="1243" y="708"/>
                  <a:pt x="1242" y="708"/>
                </a:cubicBezTo>
                <a:cubicBezTo>
                  <a:pt x="1226" y="710"/>
                  <a:pt x="1219" y="726"/>
                  <a:pt x="1216" y="727"/>
                </a:cubicBezTo>
                <a:cubicBezTo>
                  <a:pt x="1212" y="731"/>
                  <a:pt x="1212" y="736"/>
                  <a:pt x="1211" y="740"/>
                </a:cubicBezTo>
                <a:cubicBezTo>
                  <a:pt x="1210" y="745"/>
                  <a:pt x="1210" y="750"/>
                  <a:pt x="1210" y="755"/>
                </a:cubicBezTo>
                <a:cubicBezTo>
                  <a:pt x="1210" y="760"/>
                  <a:pt x="1210" y="764"/>
                  <a:pt x="1211" y="766"/>
                </a:cubicBezTo>
                <a:cubicBezTo>
                  <a:pt x="1211" y="767"/>
                  <a:pt x="1211" y="769"/>
                  <a:pt x="1211" y="771"/>
                </a:cubicBezTo>
                <a:cubicBezTo>
                  <a:pt x="1211" y="774"/>
                  <a:pt x="1211" y="779"/>
                  <a:pt x="1210" y="781"/>
                </a:cubicBezTo>
                <a:cubicBezTo>
                  <a:pt x="1208" y="783"/>
                  <a:pt x="1208" y="784"/>
                  <a:pt x="1207" y="784"/>
                </a:cubicBezTo>
                <a:cubicBezTo>
                  <a:pt x="1207" y="784"/>
                  <a:pt x="1207" y="784"/>
                  <a:pt x="1207" y="784"/>
                </a:cubicBezTo>
                <a:cubicBezTo>
                  <a:pt x="1207" y="784"/>
                  <a:pt x="1207" y="783"/>
                  <a:pt x="1206" y="781"/>
                </a:cubicBezTo>
                <a:cubicBezTo>
                  <a:pt x="1205" y="778"/>
                  <a:pt x="1204" y="774"/>
                  <a:pt x="1204" y="770"/>
                </a:cubicBezTo>
                <a:cubicBezTo>
                  <a:pt x="1204" y="765"/>
                  <a:pt x="1205" y="759"/>
                  <a:pt x="1205" y="756"/>
                </a:cubicBezTo>
                <a:cubicBezTo>
                  <a:pt x="1206" y="755"/>
                  <a:pt x="1206" y="754"/>
                  <a:pt x="1206" y="752"/>
                </a:cubicBezTo>
                <a:cubicBezTo>
                  <a:pt x="1206" y="746"/>
                  <a:pt x="1204" y="737"/>
                  <a:pt x="1204" y="730"/>
                </a:cubicBezTo>
                <a:cubicBezTo>
                  <a:pt x="1204" y="725"/>
                  <a:pt x="1205" y="720"/>
                  <a:pt x="1206" y="718"/>
                </a:cubicBezTo>
                <a:cubicBezTo>
                  <a:pt x="1209" y="710"/>
                  <a:pt x="1220" y="706"/>
                  <a:pt x="1229" y="705"/>
                </a:cubicBezTo>
                <a:cubicBezTo>
                  <a:pt x="1229" y="705"/>
                  <a:pt x="1230" y="705"/>
                  <a:pt x="1230" y="705"/>
                </a:cubicBezTo>
                <a:cubicBezTo>
                  <a:pt x="1234" y="705"/>
                  <a:pt x="1239" y="706"/>
                  <a:pt x="1245" y="708"/>
                </a:cubicBezTo>
                <a:cubicBezTo>
                  <a:pt x="1245" y="708"/>
                  <a:pt x="1246" y="708"/>
                  <a:pt x="1246" y="708"/>
                </a:cubicBezTo>
                <a:close/>
                <a:moveTo>
                  <a:pt x="1157" y="679"/>
                </a:moveTo>
                <a:cubicBezTo>
                  <a:pt x="1158" y="679"/>
                  <a:pt x="1158" y="679"/>
                  <a:pt x="1158" y="679"/>
                </a:cubicBezTo>
                <a:cubicBezTo>
                  <a:pt x="1158" y="678"/>
                  <a:pt x="1164" y="677"/>
                  <a:pt x="1173" y="673"/>
                </a:cubicBezTo>
                <a:cubicBezTo>
                  <a:pt x="1171" y="667"/>
                  <a:pt x="1171" y="667"/>
                  <a:pt x="1171" y="667"/>
                </a:cubicBezTo>
                <a:cubicBezTo>
                  <a:pt x="1173" y="673"/>
                  <a:pt x="1173" y="673"/>
                  <a:pt x="1173" y="673"/>
                </a:cubicBezTo>
                <a:cubicBezTo>
                  <a:pt x="1180" y="669"/>
                  <a:pt x="1187" y="664"/>
                  <a:pt x="1193" y="660"/>
                </a:cubicBezTo>
                <a:cubicBezTo>
                  <a:pt x="1198" y="656"/>
                  <a:pt x="1203" y="653"/>
                  <a:pt x="1204" y="653"/>
                </a:cubicBezTo>
                <a:cubicBezTo>
                  <a:pt x="1211" y="662"/>
                  <a:pt x="1222" y="671"/>
                  <a:pt x="1233" y="674"/>
                </a:cubicBezTo>
                <a:cubicBezTo>
                  <a:pt x="1232" y="675"/>
                  <a:pt x="1232" y="677"/>
                  <a:pt x="1231" y="679"/>
                </a:cubicBezTo>
                <a:cubicBezTo>
                  <a:pt x="1230" y="680"/>
                  <a:pt x="1229" y="681"/>
                  <a:pt x="1228" y="682"/>
                </a:cubicBezTo>
                <a:cubicBezTo>
                  <a:pt x="1228" y="682"/>
                  <a:pt x="1228" y="682"/>
                  <a:pt x="1228" y="682"/>
                </a:cubicBezTo>
                <a:cubicBezTo>
                  <a:pt x="1224" y="682"/>
                  <a:pt x="1214" y="679"/>
                  <a:pt x="1204" y="679"/>
                </a:cubicBezTo>
                <a:cubicBezTo>
                  <a:pt x="1201" y="679"/>
                  <a:pt x="1201" y="679"/>
                  <a:pt x="1201" y="678"/>
                </a:cubicBezTo>
                <a:cubicBezTo>
                  <a:pt x="1200" y="678"/>
                  <a:pt x="1200" y="677"/>
                  <a:pt x="1199" y="675"/>
                </a:cubicBezTo>
                <a:cubicBezTo>
                  <a:pt x="1198" y="674"/>
                  <a:pt x="1195" y="672"/>
                  <a:pt x="1192" y="672"/>
                </a:cubicBezTo>
                <a:cubicBezTo>
                  <a:pt x="1191" y="672"/>
                  <a:pt x="1190" y="672"/>
                  <a:pt x="1189" y="672"/>
                </a:cubicBezTo>
                <a:cubicBezTo>
                  <a:pt x="1185" y="674"/>
                  <a:pt x="1174" y="677"/>
                  <a:pt x="1166" y="681"/>
                </a:cubicBezTo>
                <a:cubicBezTo>
                  <a:pt x="1165" y="682"/>
                  <a:pt x="1162" y="683"/>
                  <a:pt x="1160" y="683"/>
                </a:cubicBezTo>
                <a:cubicBezTo>
                  <a:pt x="1159" y="683"/>
                  <a:pt x="1157" y="682"/>
                  <a:pt x="1157" y="682"/>
                </a:cubicBezTo>
                <a:cubicBezTo>
                  <a:pt x="1157" y="680"/>
                  <a:pt x="1157" y="679"/>
                  <a:pt x="1157" y="679"/>
                </a:cubicBezTo>
                <a:close/>
                <a:moveTo>
                  <a:pt x="1239" y="392"/>
                </a:moveTo>
                <a:cubicBezTo>
                  <a:pt x="1238" y="392"/>
                  <a:pt x="1238" y="392"/>
                  <a:pt x="1237" y="393"/>
                </a:cubicBezTo>
                <a:cubicBezTo>
                  <a:pt x="1236" y="393"/>
                  <a:pt x="1235" y="393"/>
                  <a:pt x="1234" y="393"/>
                </a:cubicBezTo>
                <a:cubicBezTo>
                  <a:pt x="1233" y="393"/>
                  <a:pt x="1233" y="393"/>
                  <a:pt x="1232" y="392"/>
                </a:cubicBezTo>
                <a:cubicBezTo>
                  <a:pt x="1232" y="392"/>
                  <a:pt x="1232" y="392"/>
                  <a:pt x="1231" y="391"/>
                </a:cubicBezTo>
                <a:cubicBezTo>
                  <a:pt x="1234" y="391"/>
                  <a:pt x="1236" y="392"/>
                  <a:pt x="1239" y="392"/>
                </a:cubicBezTo>
                <a:close/>
                <a:moveTo>
                  <a:pt x="1190" y="333"/>
                </a:moveTo>
                <a:cubicBezTo>
                  <a:pt x="1192" y="333"/>
                  <a:pt x="1194" y="333"/>
                  <a:pt x="1196" y="333"/>
                </a:cubicBezTo>
                <a:cubicBezTo>
                  <a:pt x="1198" y="333"/>
                  <a:pt x="1200" y="332"/>
                  <a:pt x="1202" y="332"/>
                </a:cubicBezTo>
                <a:cubicBezTo>
                  <a:pt x="1208" y="332"/>
                  <a:pt x="1213" y="333"/>
                  <a:pt x="1217" y="334"/>
                </a:cubicBezTo>
                <a:cubicBezTo>
                  <a:pt x="1218" y="334"/>
                  <a:pt x="1219" y="334"/>
                  <a:pt x="1219" y="334"/>
                </a:cubicBezTo>
                <a:cubicBezTo>
                  <a:pt x="1219" y="335"/>
                  <a:pt x="1219" y="336"/>
                  <a:pt x="1219" y="337"/>
                </a:cubicBezTo>
                <a:cubicBezTo>
                  <a:pt x="1219" y="339"/>
                  <a:pt x="1218" y="341"/>
                  <a:pt x="1218" y="342"/>
                </a:cubicBezTo>
                <a:cubicBezTo>
                  <a:pt x="1218" y="343"/>
                  <a:pt x="1217" y="343"/>
                  <a:pt x="1217" y="343"/>
                </a:cubicBezTo>
                <a:cubicBezTo>
                  <a:pt x="1215" y="344"/>
                  <a:pt x="1212" y="345"/>
                  <a:pt x="1208" y="347"/>
                </a:cubicBezTo>
                <a:cubicBezTo>
                  <a:pt x="1204" y="348"/>
                  <a:pt x="1199" y="352"/>
                  <a:pt x="1197" y="358"/>
                </a:cubicBezTo>
                <a:cubicBezTo>
                  <a:pt x="1197" y="358"/>
                  <a:pt x="1197" y="359"/>
                  <a:pt x="1197" y="359"/>
                </a:cubicBezTo>
                <a:cubicBezTo>
                  <a:pt x="1197" y="357"/>
                  <a:pt x="1197" y="356"/>
                  <a:pt x="1197" y="354"/>
                </a:cubicBezTo>
                <a:cubicBezTo>
                  <a:pt x="1197" y="349"/>
                  <a:pt x="1196" y="343"/>
                  <a:pt x="1191" y="339"/>
                </a:cubicBezTo>
                <a:cubicBezTo>
                  <a:pt x="1188" y="336"/>
                  <a:pt x="1185" y="334"/>
                  <a:pt x="1182" y="332"/>
                </a:cubicBezTo>
                <a:cubicBezTo>
                  <a:pt x="1184" y="333"/>
                  <a:pt x="1187" y="333"/>
                  <a:pt x="1190" y="333"/>
                </a:cubicBezTo>
                <a:close/>
                <a:moveTo>
                  <a:pt x="1102" y="289"/>
                </a:moveTo>
                <a:cubicBezTo>
                  <a:pt x="1101" y="287"/>
                  <a:pt x="1101" y="287"/>
                  <a:pt x="1101" y="287"/>
                </a:cubicBezTo>
                <a:cubicBezTo>
                  <a:pt x="1102" y="289"/>
                  <a:pt x="1102" y="289"/>
                  <a:pt x="1102" y="289"/>
                </a:cubicBezTo>
                <a:cubicBezTo>
                  <a:pt x="1102" y="289"/>
                  <a:pt x="1102" y="289"/>
                  <a:pt x="1102" y="289"/>
                </a:cubicBezTo>
                <a:close/>
                <a:moveTo>
                  <a:pt x="190" y="423"/>
                </a:moveTo>
                <a:cubicBezTo>
                  <a:pt x="188" y="425"/>
                  <a:pt x="186" y="427"/>
                  <a:pt x="184" y="427"/>
                </a:cubicBezTo>
                <a:cubicBezTo>
                  <a:pt x="183" y="427"/>
                  <a:pt x="183" y="427"/>
                  <a:pt x="183" y="427"/>
                </a:cubicBezTo>
                <a:cubicBezTo>
                  <a:pt x="181" y="427"/>
                  <a:pt x="180" y="427"/>
                  <a:pt x="179" y="426"/>
                </a:cubicBezTo>
                <a:cubicBezTo>
                  <a:pt x="180" y="426"/>
                  <a:pt x="182" y="425"/>
                  <a:pt x="183" y="423"/>
                </a:cubicBezTo>
                <a:cubicBezTo>
                  <a:pt x="186" y="420"/>
                  <a:pt x="188" y="420"/>
                  <a:pt x="191" y="420"/>
                </a:cubicBezTo>
                <a:cubicBezTo>
                  <a:pt x="192" y="420"/>
                  <a:pt x="192" y="420"/>
                  <a:pt x="193" y="420"/>
                </a:cubicBezTo>
                <a:cubicBezTo>
                  <a:pt x="192" y="421"/>
                  <a:pt x="191" y="422"/>
                  <a:pt x="190" y="423"/>
                </a:cubicBezTo>
                <a:close/>
                <a:moveTo>
                  <a:pt x="692" y="653"/>
                </a:moveTo>
                <a:cubicBezTo>
                  <a:pt x="692" y="653"/>
                  <a:pt x="692" y="652"/>
                  <a:pt x="692" y="652"/>
                </a:cubicBezTo>
                <a:cubicBezTo>
                  <a:pt x="692" y="652"/>
                  <a:pt x="692" y="652"/>
                  <a:pt x="692" y="652"/>
                </a:cubicBezTo>
                <a:cubicBezTo>
                  <a:pt x="692" y="653"/>
                  <a:pt x="693" y="653"/>
                  <a:pt x="693" y="653"/>
                </a:cubicBezTo>
                <a:cubicBezTo>
                  <a:pt x="693" y="653"/>
                  <a:pt x="692" y="653"/>
                  <a:pt x="692" y="653"/>
                </a:cubicBezTo>
                <a:close/>
                <a:moveTo>
                  <a:pt x="714" y="672"/>
                </a:moveTo>
                <a:cubicBezTo>
                  <a:pt x="714" y="673"/>
                  <a:pt x="716" y="676"/>
                  <a:pt x="716" y="680"/>
                </a:cubicBezTo>
                <a:cubicBezTo>
                  <a:pt x="715" y="677"/>
                  <a:pt x="714" y="675"/>
                  <a:pt x="714" y="672"/>
                </a:cubicBezTo>
                <a:close/>
                <a:moveTo>
                  <a:pt x="832" y="962"/>
                </a:moveTo>
                <a:cubicBezTo>
                  <a:pt x="832" y="961"/>
                  <a:pt x="832" y="960"/>
                  <a:pt x="835" y="957"/>
                </a:cubicBezTo>
                <a:cubicBezTo>
                  <a:pt x="835" y="957"/>
                  <a:pt x="836" y="957"/>
                  <a:pt x="836" y="956"/>
                </a:cubicBezTo>
                <a:cubicBezTo>
                  <a:pt x="837" y="957"/>
                  <a:pt x="838" y="960"/>
                  <a:pt x="839" y="963"/>
                </a:cubicBezTo>
                <a:cubicBezTo>
                  <a:pt x="840" y="967"/>
                  <a:pt x="841" y="972"/>
                  <a:pt x="843" y="977"/>
                </a:cubicBezTo>
                <a:cubicBezTo>
                  <a:pt x="843" y="977"/>
                  <a:pt x="843" y="977"/>
                  <a:pt x="843" y="977"/>
                </a:cubicBezTo>
                <a:cubicBezTo>
                  <a:pt x="836" y="970"/>
                  <a:pt x="831" y="964"/>
                  <a:pt x="832" y="962"/>
                </a:cubicBezTo>
                <a:close/>
                <a:moveTo>
                  <a:pt x="897" y="270"/>
                </a:moveTo>
                <a:cubicBezTo>
                  <a:pt x="897" y="270"/>
                  <a:pt x="896" y="270"/>
                  <a:pt x="896" y="270"/>
                </a:cubicBezTo>
                <a:cubicBezTo>
                  <a:pt x="892" y="270"/>
                  <a:pt x="888" y="270"/>
                  <a:pt x="883" y="271"/>
                </a:cubicBezTo>
                <a:cubicBezTo>
                  <a:pt x="873" y="272"/>
                  <a:pt x="857" y="275"/>
                  <a:pt x="850" y="275"/>
                </a:cubicBezTo>
                <a:cubicBezTo>
                  <a:pt x="849" y="275"/>
                  <a:pt x="849" y="275"/>
                  <a:pt x="849" y="275"/>
                </a:cubicBezTo>
                <a:cubicBezTo>
                  <a:pt x="848" y="275"/>
                  <a:pt x="847" y="275"/>
                  <a:pt x="847" y="275"/>
                </a:cubicBezTo>
                <a:cubicBezTo>
                  <a:pt x="846" y="274"/>
                  <a:pt x="844" y="271"/>
                  <a:pt x="836" y="268"/>
                </a:cubicBezTo>
                <a:cubicBezTo>
                  <a:pt x="824" y="261"/>
                  <a:pt x="818" y="261"/>
                  <a:pt x="812" y="258"/>
                </a:cubicBezTo>
                <a:cubicBezTo>
                  <a:pt x="816" y="256"/>
                  <a:pt x="818" y="254"/>
                  <a:pt x="821" y="252"/>
                </a:cubicBezTo>
                <a:cubicBezTo>
                  <a:pt x="823" y="251"/>
                  <a:pt x="824" y="250"/>
                  <a:pt x="825" y="249"/>
                </a:cubicBezTo>
                <a:cubicBezTo>
                  <a:pt x="826" y="249"/>
                  <a:pt x="827" y="249"/>
                  <a:pt x="827" y="249"/>
                </a:cubicBezTo>
                <a:cubicBezTo>
                  <a:pt x="828" y="250"/>
                  <a:pt x="829" y="253"/>
                  <a:pt x="831" y="256"/>
                </a:cubicBezTo>
                <a:cubicBezTo>
                  <a:pt x="832" y="259"/>
                  <a:pt x="834" y="264"/>
                  <a:pt x="839" y="267"/>
                </a:cubicBezTo>
                <a:cubicBezTo>
                  <a:pt x="844" y="269"/>
                  <a:pt x="849" y="270"/>
                  <a:pt x="855" y="270"/>
                </a:cubicBezTo>
                <a:cubicBezTo>
                  <a:pt x="860" y="270"/>
                  <a:pt x="866" y="269"/>
                  <a:pt x="871" y="268"/>
                </a:cubicBezTo>
                <a:cubicBezTo>
                  <a:pt x="873" y="267"/>
                  <a:pt x="881" y="266"/>
                  <a:pt x="887" y="266"/>
                </a:cubicBezTo>
                <a:cubicBezTo>
                  <a:pt x="893" y="266"/>
                  <a:pt x="899" y="266"/>
                  <a:pt x="902" y="267"/>
                </a:cubicBezTo>
                <a:cubicBezTo>
                  <a:pt x="904" y="267"/>
                  <a:pt x="908" y="268"/>
                  <a:pt x="913" y="269"/>
                </a:cubicBezTo>
                <a:cubicBezTo>
                  <a:pt x="913" y="270"/>
                  <a:pt x="913" y="271"/>
                  <a:pt x="913" y="272"/>
                </a:cubicBezTo>
                <a:cubicBezTo>
                  <a:pt x="913" y="273"/>
                  <a:pt x="913" y="274"/>
                  <a:pt x="913" y="276"/>
                </a:cubicBezTo>
                <a:cubicBezTo>
                  <a:pt x="908" y="272"/>
                  <a:pt x="902" y="270"/>
                  <a:pt x="897" y="270"/>
                </a:cubicBezTo>
                <a:close/>
                <a:moveTo>
                  <a:pt x="1692" y="1468"/>
                </a:moveTo>
                <a:cubicBezTo>
                  <a:pt x="1691" y="1470"/>
                  <a:pt x="1691" y="1471"/>
                  <a:pt x="1682" y="1473"/>
                </a:cubicBezTo>
                <a:cubicBezTo>
                  <a:pt x="1680" y="1474"/>
                  <a:pt x="1679" y="1474"/>
                  <a:pt x="1678" y="1474"/>
                </a:cubicBezTo>
                <a:cubicBezTo>
                  <a:pt x="1677" y="1474"/>
                  <a:pt x="1676" y="1474"/>
                  <a:pt x="1676" y="1474"/>
                </a:cubicBezTo>
                <a:cubicBezTo>
                  <a:pt x="1676" y="1473"/>
                  <a:pt x="1677" y="1473"/>
                  <a:pt x="1678" y="1473"/>
                </a:cubicBezTo>
                <a:cubicBezTo>
                  <a:pt x="1683" y="1472"/>
                  <a:pt x="1688" y="1470"/>
                  <a:pt x="1692" y="1467"/>
                </a:cubicBezTo>
                <a:cubicBezTo>
                  <a:pt x="1692" y="1467"/>
                  <a:pt x="1692" y="1468"/>
                  <a:pt x="1692" y="1468"/>
                </a:cubicBezTo>
                <a:close/>
                <a:moveTo>
                  <a:pt x="1712" y="1500"/>
                </a:move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ubicBezTo>
                  <a:pt x="1712" y="1500"/>
                  <a:pt x="1712" y="1500"/>
                  <a:pt x="1712" y="1500"/>
                </a:cubicBezTo>
                <a:close/>
                <a:moveTo>
                  <a:pt x="1024" y="266"/>
                </a:moveTo>
                <a:cubicBezTo>
                  <a:pt x="1021" y="266"/>
                  <a:pt x="1014" y="264"/>
                  <a:pt x="1008" y="264"/>
                </a:cubicBezTo>
                <a:cubicBezTo>
                  <a:pt x="1003" y="264"/>
                  <a:pt x="998" y="265"/>
                  <a:pt x="994" y="268"/>
                </a:cubicBezTo>
                <a:cubicBezTo>
                  <a:pt x="990" y="271"/>
                  <a:pt x="989" y="276"/>
                  <a:pt x="989" y="279"/>
                </a:cubicBezTo>
                <a:cubicBezTo>
                  <a:pt x="989" y="287"/>
                  <a:pt x="993" y="296"/>
                  <a:pt x="1003" y="297"/>
                </a:cubicBezTo>
                <a:cubicBezTo>
                  <a:pt x="1004" y="297"/>
                  <a:pt x="1005" y="297"/>
                  <a:pt x="1005" y="297"/>
                </a:cubicBezTo>
                <a:cubicBezTo>
                  <a:pt x="1012" y="297"/>
                  <a:pt x="1019" y="295"/>
                  <a:pt x="1023" y="294"/>
                </a:cubicBezTo>
                <a:cubicBezTo>
                  <a:pt x="1024" y="297"/>
                  <a:pt x="1025" y="302"/>
                  <a:pt x="1027" y="307"/>
                </a:cubicBezTo>
                <a:cubicBezTo>
                  <a:pt x="1030" y="312"/>
                  <a:pt x="1034" y="320"/>
                  <a:pt x="1044" y="320"/>
                </a:cubicBezTo>
                <a:cubicBezTo>
                  <a:pt x="1047" y="320"/>
                  <a:pt x="1049" y="319"/>
                  <a:pt x="1052" y="318"/>
                </a:cubicBezTo>
                <a:cubicBezTo>
                  <a:pt x="1060" y="313"/>
                  <a:pt x="1064" y="308"/>
                  <a:pt x="1066" y="305"/>
                </a:cubicBezTo>
                <a:cubicBezTo>
                  <a:pt x="1067" y="303"/>
                  <a:pt x="1068" y="302"/>
                  <a:pt x="1068" y="301"/>
                </a:cubicBezTo>
                <a:cubicBezTo>
                  <a:pt x="1071" y="300"/>
                  <a:pt x="1072" y="298"/>
                  <a:pt x="1073" y="297"/>
                </a:cubicBezTo>
                <a:cubicBezTo>
                  <a:pt x="1073" y="295"/>
                  <a:pt x="1073" y="294"/>
                  <a:pt x="1073" y="292"/>
                </a:cubicBezTo>
                <a:cubicBezTo>
                  <a:pt x="1073" y="284"/>
                  <a:pt x="1070" y="272"/>
                  <a:pt x="1063" y="265"/>
                </a:cubicBezTo>
                <a:cubicBezTo>
                  <a:pt x="1058" y="262"/>
                  <a:pt x="1053" y="262"/>
                  <a:pt x="1047" y="262"/>
                </a:cubicBezTo>
                <a:cubicBezTo>
                  <a:pt x="1039" y="262"/>
                  <a:pt x="1030" y="263"/>
                  <a:pt x="1025" y="266"/>
                </a:cubicBezTo>
                <a:cubicBezTo>
                  <a:pt x="1025" y="266"/>
                  <a:pt x="1025" y="266"/>
                  <a:pt x="1025" y="266"/>
                </a:cubicBezTo>
                <a:cubicBezTo>
                  <a:pt x="1025" y="266"/>
                  <a:pt x="1024" y="266"/>
                  <a:pt x="1024" y="266"/>
                </a:cubicBezTo>
                <a:close/>
                <a:moveTo>
                  <a:pt x="2576" y="835"/>
                </a:moveTo>
                <a:cubicBezTo>
                  <a:pt x="2575" y="835"/>
                  <a:pt x="2567" y="833"/>
                  <a:pt x="2559" y="833"/>
                </a:cubicBezTo>
                <a:cubicBezTo>
                  <a:pt x="2556" y="833"/>
                  <a:pt x="2552" y="833"/>
                  <a:pt x="2548" y="836"/>
                </a:cubicBezTo>
                <a:cubicBezTo>
                  <a:pt x="2546" y="837"/>
                  <a:pt x="2544" y="840"/>
                  <a:pt x="2544" y="843"/>
                </a:cubicBezTo>
                <a:cubicBezTo>
                  <a:pt x="2545" y="849"/>
                  <a:pt x="2548" y="851"/>
                  <a:pt x="2551" y="854"/>
                </a:cubicBezTo>
                <a:cubicBezTo>
                  <a:pt x="2555" y="857"/>
                  <a:pt x="2558" y="860"/>
                  <a:pt x="2562" y="862"/>
                </a:cubicBezTo>
                <a:cubicBezTo>
                  <a:pt x="2563" y="862"/>
                  <a:pt x="2565" y="864"/>
                  <a:pt x="2568" y="867"/>
                </a:cubicBezTo>
                <a:cubicBezTo>
                  <a:pt x="2570" y="869"/>
                  <a:pt x="2572" y="873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7" y="874"/>
                  <a:pt x="2577" y="874"/>
                  <a:pt x="2577" y="874"/>
                </a:cubicBezTo>
                <a:cubicBezTo>
                  <a:pt x="2579" y="875"/>
                  <a:pt x="2581" y="875"/>
                  <a:pt x="2583" y="875"/>
                </a:cubicBezTo>
                <a:cubicBezTo>
                  <a:pt x="2586" y="875"/>
                  <a:pt x="2590" y="874"/>
                  <a:pt x="2594" y="872"/>
                </a:cubicBezTo>
                <a:cubicBezTo>
                  <a:pt x="2598" y="870"/>
                  <a:pt x="2601" y="865"/>
                  <a:pt x="2601" y="859"/>
                </a:cubicBezTo>
                <a:cubicBezTo>
                  <a:pt x="2601" y="857"/>
                  <a:pt x="2600" y="855"/>
                  <a:pt x="2600" y="853"/>
                </a:cubicBezTo>
                <a:cubicBezTo>
                  <a:pt x="2594" y="836"/>
                  <a:pt x="2579" y="834"/>
                  <a:pt x="2576" y="835"/>
                </a:cubicBezTo>
                <a:close/>
                <a:moveTo>
                  <a:pt x="4079" y="1252"/>
                </a:moveTo>
                <a:cubicBezTo>
                  <a:pt x="4079" y="1252"/>
                  <a:pt x="4079" y="1252"/>
                  <a:pt x="4078" y="1252"/>
                </a:cubicBezTo>
                <a:cubicBezTo>
                  <a:pt x="4074" y="1252"/>
                  <a:pt x="4073" y="1255"/>
                  <a:pt x="4071" y="1256"/>
                </a:cubicBezTo>
                <a:cubicBezTo>
                  <a:pt x="4067" y="1261"/>
                  <a:pt x="4063" y="1269"/>
                  <a:pt x="4063" y="1277"/>
                </a:cubicBezTo>
                <a:cubicBezTo>
                  <a:pt x="4063" y="1280"/>
                  <a:pt x="4063" y="1282"/>
                  <a:pt x="4064" y="1284"/>
                </a:cubicBezTo>
                <a:cubicBezTo>
                  <a:pt x="4064" y="1284"/>
                  <a:pt x="4064" y="1284"/>
                  <a:pt x="4064" y="1284"/>
                </a:cubicBezTo>
                <a:cubicBezTo>
                  <a:pt x="4059" y="1279"/>
                  <a:pt x="4054" y="1273"/>
                  <a:pt x="4045" y="1272"/>
                </a:cubicBezTo>
                <a:cubicBezTo>
                  <a:pt x="4042" y="1272"/>
                  <a:pt x="4040" y="1273"/>
                  <a:pt x="4038" y="1274"/>
                </a:cubicBezTo>
                <a:cubicBezTo>
                  <a:pt x="4035" y="1275"/>
                  <a:pt x="4034" y="1277"/>
                  <a:pt x="4033" y="1278"/>
                </a:cubicBezTo>
                <a:cubicBezTo>
                  <a:pt x="4030" y="1283"/>
                  <a:pt x="4027" y="1290"/>
                  <a:pt x="4027" y="1298"/>
                </a:cubicBezTo>
                <a:cubicBezTo>
                  <a:pt x="4027" y="1301"/>
                  <a:pt x="4027" y="1304"/>
                  <a:pt x="4030" y="1307"/>
                </a:cubicBezTo>
                <a:cubicBezTo>
                  <a:pt x="4032" y="1310"/>
                  <a:pt x="4036" y="1312"/>
                  <a:pt x="4039" y="1311"/>
                </a:cubicBezTo>
                <a:cubicBezTo>
                  <a:pt x="4046" y="1311"/>
                  <a:pt x="4055" y="1313"/>
                  <a:pt x="4062" y="1313"/>
                </a:cubicBezTo>
                <a:cubicBezTo>
                  <a:pt x="4065" y="1313"/>
                  <a:pt x="4067" y="1313"/>
                  <a:pt x="4069" y="1312"/>
                </a:cubicBezTo>
                <a:cubicBezTo>
                  <a:pt x="4071" y="1312"/>
                  <a:pt x="4072" y="1311"/>
                  <a:pt x="4073" y="1310"/>
                </a:cubicBezTo>
                <a:cubicBezTo>
                  <a:pt x="4075" y="1309"/>
                  <a:pt x="4076" y="1307"/>
                  <a:pt x="4076" y="1304"/>
                </a:cubicBezTo>
                <a:cubicBezTo>
                  <a:pt x="4076" y="1302"/>
                  <a:pt x="4075" y="1301"/>
                  <a:pt x="4074" y="1299"/>
                </a:cubicBezTo>
                <a:cubicBezTo>
                  <a:pt x="4073" y="1297"/>
                  <a:pt x="4070" y="1293"/>
                  <a:pt x="4067" y="1289"/>
                </a:cubicBezTo>
                <a:cubicBezTo>
                  <a:pt x="4070" y="1291"/>
                  <a:pt x="4074" y="1292"/>
                  <a:pt x="4078" y="1292"/>
                </a:cubicBezTo>
                <a:cubicBezTo>
                  <a:pt x="4079" y="1292"/>
                  <a:pt x="4079" y="1292"/>
                  <a:pt x="4080" y="1292"/>
                </a:cubicBezTo>
                <a:cubicBezTo>
                  <a:pt x="4092" y="1292"/>
                  <a:pt x="4099" y="1283"/>
                  <a:pt x="4099" y="1274"/>
                </a:cubicBezTo>
                <a:cubicBezTo>
                  <a:pt x="4099" y="1264"/>
                  <a:pt x="4091" y="1252"/>
                  <a:pt x="4079" y="1252"/>
                </a:cubicBezTo>
                <a:close/>
                <a:moveTo>
                  <a:pt x="4392" y="2119"/>
                </a:moveTo>
                <a:cubicBezTo>
                  <a:pt x="4385" y="2120"/>
                  <a:pt x="4381" y="2124"/>
                  <a:pt x="4375" y="2127"/>
                </a:cubicBezTo>
                <a:cubicBezTo>
                  <a:pt x="4372" y="2129"/>
                  <a:pt x="4369" y="2131"/>
                  <a:pt x="4367" y="2132"/>
                </a:cubicBezTo>
                <a:cubicBezTo>
                  <a:pt x="4366" y="2133"/>
                  <a:pt x="4365" y="2133"/>
                  <a:pt x="4365" y="2133"/>
                </a:cubicBezTo>
                <a:cubicBezTo>
                  <a:pt x="4365" y="2133"/>
                  <a:pt x="4364" y="2133"/>
                  <a:pt x="4364" y="2133"/>
                </a:cubicBezTo>
                <a:cubicBezTo>
                  <a:pt x="4359" y="2132"/>
                  <a:pt x="4348" y="2127"/>
                  <a:pt x="4348" y="2127"/>
                </a:cubicBezTo>
                <a:cubicBezTo>
                  <a:pt x="4345" y="2126"/>
                  <a:pt x="4343" y="2127"/>
                  <a:pt x="4341" y="2129"/>
                </a:cubicBezTo>
                <a:cubicBezTo>
                  <a:pt x="4338" y="2132"/>
                  <a:pt x="4336" y="2136"/>
                  <a:pt x="4336" y="2140"/>
                </a:cubicBezTo>
                <a:cubicBezTo>
                  <a:pt x="4336" y="2148"/>
                  <a:pt x="4342" y="2151"/>
                  <a:pt x="4344" y="2154"/>
                </a:cubicBezTo>
                <a:cubicBezTo>
                  <a:pt x="4348" y="2157"/>
                  <a:pt x="4349" y="2158"/>
                  <a:pt x="4349" y="2160"/>
                </a:cubicBezTo>
                <a:cubicBezTo>
                  <a:pt x="4349" y="2161"/>
                  <a:pt x="4349" y="2161"/>
                  <a:pt x="4349" y="2162"/>
                </a:cubicBezTo>
                <a:cubicBezTo>
                  <a:pt x="4348" y="2163"/>
                  <a:pt x="4348" y="2165"/>
                  <a:pt x="4348" y="2166"/>
                </a:cubicBezTo>
                <a:cubicBezTo>
                  <a:pt x="4348" y="2170"/>
                  <a:pt x="4350" y="2175"/>
                  <a:pt x="4354" y="2177"/>
                </a:cubicBezTo>
                <a:cubicBezTo>
                  <a:pt x="4357" y="2179"/>
                  <a:pt x="4360" y="2179"/>
                  <a:pt x="4363" y="2179"/>
                </a:cubicBezTo>
                <a:cubicBezTo>
                  <a:pt x="4370" y="2179"/>
                  <a:pt x="4376" y="2177"/>
                  <a:pt x="4380" y="2175"/>
                </a:cubicBezTo>
                <a:cubicBezTo>
                  <a:pt x="4384" y="2173"/>
                  <a:pt x="4385" y="2171"/>
                  <a:pt x="4388" y="2167"/>
                </a:cubicBezTo>
                <a:cubicBezTo>
                  <a:pt x="4394" y="2157"/>
                  <a:pt x="4401" y="2140"/>
                  <a:pt x="4401" y="2129"/>
                </a:cubicBezTo>
                <a:cubicBezTo>
                  <a:pt x="4401" y="2128"/>
                  <a:pt x="4401" y="2127"/>
                  <a:pt x="4401" y="2125"/>
                </a:cubicBezTo>
                <a:cubicBezTo>
                  <a:pt x="4400" y="2122"/>
                  <a:pt x="4395" y="2119"/>
                  <a:pt x="4392" y="2119"/>
                </a:cubicBezTo>
                <a:close/>
                <a:moveTo>
                  <a:pt x="4086" y="1305"/>
                </a:moveTo>
                <a:cubicBezTo>
                  <a:pt x="4085" y="1304"/>
                  <a:pt x="4083" y="1303"/>
                  <a:pt x="4081" y="1304"/>
                </a:cubicBezTo>
                <a:cubicBezTo>
                  <a:pt x="4079" y="1304"/>
                  <a:pt x="4078" y="1305"/>
                  <a:pt x="4077" y="1306"/>
                </a:cubicBezTo>
                <a:cubicBezTo>
                  <a:pt x="4072" y="1313"/>
                  <a:pt x="4069" y="1318"/>
                  <a:pt x="4067" y="1320"/>
                </a:cubicBezTo>
                <a:cubicBezTo>
                  <a:pt x="4066" y="1321"/>
                  <a:pt x="4066" y="1322"/>
                  <a:pt x="4065" y="1322"/>
                </a:cubicBezTo>
                <a:cubicBezTo>
                  <a:pt x="4064" y="1321"/>
                  <a:pt x="4062" y="1320"/>
                  <a:pt x="4058" y="1318"/>
                </a:cubicBezTo>
                <a:cubicBezTo>
                  <a:pt x="4056" y="1317"/>
                  <a:pt x="4053" y="1316"/>
                  <a:pt x="4051" y="1316"/>
                </a:cubicBezTo>
                <a:cubicBezTo>
                  <a:pt x="4043" y="1316"/>
                  <a:pt x="4037" y="1320"/>
                  <a:pt x="4032" y="1324"/>
                </a:cubicBezTo>
                <a:cubicBezTo>
                  <a:pt x="4027" y="1329"/>
                  <a:pt x="4023" y="1334"/>
                  <a:pt x="4022" y="1341"/>
                </a:cubicBezTo>
                <a:cubicBezTo>
                  <a:pt x="4022" y="1342"/>
                  <a:pt x="4023" y="1344"/>
                  <a:pt x="4024" y="1346"/>
                </a:cubicBezTo>
                <a:cubicBezTo>
                  <a:pt x="4026" y="1350"/>
                  <a:pt x="4031" y="1351"/>
                  <a:pt x="4034" y="1352"/>
                </a:cubicBezTo>
                <a:cubicBezTo>
                  <a:pt x="4040" y="1352"/>
                  <a:pt x="4045" y="1352"/>
                  <a:pt x="4050" y="1353"/>
                </a:cubicBezTo>
                <a:cubicBezTo>
                  <a:pt x="4055" y="1353"/>
                  <a:pt x="4057" y="1355"/>
                  <a:pt x="4058" y="1356"/>
                </a:cubicBezTo>
                <a:cubicBezTo>
                  <a:pt x="4060" y="1361"/>
                  <a:pt x="4061" y="1364"/>
                  <a:pt x="4063" y="1367"/>
                </a:cubicBezTo>
                <a:cubicBezTo>
                  <a:pt x="4065" y="1370"/>
                  <a:pt x="4069" y="1372"/>
                  <a:pt x="4073" y="1372"/>
                </a:cubicBezTo>
                <a:cubicBezTo>
                  <a:pt x="4073" y="1372"/>
                  <a:pt x="4073" y="1372"/>
                  <a:pt x="4074" y="1372"/>
                </a:cubicBezTo>
                <a:cubicBezTo>
                  <a:pt x="4076" y="1372"/>
                  <a:pt x="4079" y="1371"/>
                  <a:pt x="4082" y="1371"/>
                </a:cubicBezTo>
                <a:cubicBezTo>
                  <a:pt x="4090" y="1369"/>
                  <a:pt x="4095" y="1363"/>
                  <a:pt x="4100" y="1357"/>
                </a:cubicBezTo>
                <a:cubicBezTo>
                  <a:pt x="4104" y="1351"/>
                  <a:pt x="4107" y="1344"/>
                  <a:pt x="4107" y="1337"/>
                </a:cubicBezTo>
                <a:cubicBezTo>
                  <a:pt x="4107" y="1335"/>
                  <a:pt x="4107" y="1333"/>
                  <a:pt x="4106" y="1331"/>
                </a:cubicBezTo>
                <a:cubicBezTo>
                  <a:pt x="4101" y="1319"/>
                  <a:pt x="4086" y="1306"/>
                  <a:pt x="4086" y="1305"/>
                </a:cubicBezTo>
                <a:close/>
                <a:moveTo>
                  <a:pt x="4425" y="1824"/>
                </a:moveTo>
                <a:cubicBezTo>
                  <a:pt x="4417" y="1815"/>
                  <a:pt x="4412" y="1805"/>
                  <a:pt x="4412" y="1803"/>
                </a:cubicBezTo>
                <a:cubicBezTo>
                  <a:pt x="4412" y="1803"/>
                  <a:pt x="4412" y="1803"/>
                  <a:pt x="4412" y="1803"/>
                </a:cubicBezTo>
                <a:cubicBezTo>
                  <a:pt x="4412" y="1802"/>
                  <a:pt x="4412" y="1802"/>
                  <a:pt x="4412" y="1802"/>
                </a:cubicBezTo>
                <a:cubicBezTo>
                  <a:pt x="4412" y="1802"/>
                  <a:pt x="4412" y="1801"/>
                  <a:pt x="4412" y="1801"/>
                </a:cubicBezTo>
                <a:cubicBezTo>
                  <a:pt x="4413" y="1796"/>
                  <a:pt x="4410" y="1792"/>
                  <a:pt x="4407" y="1789"/>
                </a:cubicBezTo>
                <a:cubicBezTo>
                  <a:pt x="4398" y="1782"/>
                  <a:pt x="4386" y="1781"/>
                  <a:pt x="4381" y="1775"/>
                </a:cubicBezTo>
                <a:cubicBezTo>
                  <a:pt x="4377" y="1772"/>
                  <a:pt x="4374" y="1764"/>
                  <a:pt x="4372" y="1753"/>
                </a:cubicBezTo>
                <a:cubicBezTo>
                  <a:pt x="4370" y="1743"/>
                  <a:pt x="4368" y="1732"/>
                  <a:pt x="4365" y="1722"/>
                </a:cubicBezTo>
                <a:cubicBezTo>
                  <a:pt x="4359" y="1704"/>
                  <a:pt x="4346" y="1693"/>
                  <a:pt x="4335" y="1678"/>
                </a:cubicBezTo>
                <a:cubicBezTo>
                  <a:pt x="4331" y="1672"/>
                  <a:pt x="4326" y="1661"/>
                  <a:pt x="4323" y="1651"/>
                </a:cubicBezTo>
                <a:cubicBezTo>
                  <a:pt x="4322" y="1646"/>
                  <a:pt x="4320" y="1642"/>
                  <a:pt x="4319" y="1638"/>
                </a:cubicBezTo>
                <a:cubicBezTo>
                  <a:pt x="4318" y="1636"/>
                  <a:pt x="4318" y="1635"/>
                  <a:pt x="4317" y="1633"/>
                </a:cubicBezTo>
                <a:cubicBezTo>
                  <a:pt x="4316" y="1633"/>
                  <a:pt x="4316" y="1631"/>
                  <a:pt x="4315" y="1630"/>
                </a:cubicBezTo>
                <a:cubicBezTo>
                  <a:pt x="4320" y="1627"/>
                  <a:pt x="4324" y="1621"/>
                  <a:pt x="4327" y="1615"/>
                </a:cubicBezTo>
                <a:cubicBezTo>
                  <a:pt x="4331" y="1607"/>
                  <a:pt x="4335" y="1599"/>
                  <a:pt x="4336" y="1597"/>
                </a:cubicBezTo>
                <a:cubicBezTo>
                  <a:pt x="4337" y="1596"/>
                  <a:pt x="4344" y="1593"/>
                  <a:pt x="4350" y="1593"/>
                </a:cubicBezTo>
                <a:cubicBezTo>
                  <a:pt x="4352" y="1593"/>
                  <a:pt x="4354" y="1594"/>
                  <a:pt x="4355" y="1594"/>
                </a:cubicBezTo>
                <a:cubicBezTo>
                  <a:pt x="4356" y="1595"/>
                  <a:pt x="4356" y="1595"/>
                  <a:pt x="4357" y="1596"/>
                </a:cubicBezTo>
                <a:cubicBezTo>
                  <a:pt x="4359" y="1610"/>
                  <a:pt x="4367" y="1624"/>
                  <a:pt x="4383" y="1633"/>
                </a:cubicBezTo>
                <a:cubicBezTo>
                  <a:pt x="4393" y="1639"/>
                  <a:pt x="4404" y="1646"/>
                  <a:pt x="4413" y="1646"/>
                </a:cubicBezTo>
                <a:cubicBezTo>
                  <a:pt x="4416" y="1647"/>
                  <a:pt x="4422" y="1644"/>
                  <a:pt x="4423" y="1639"/>
                </a:cubicBezTo>
                <a:cubicBezTo>
                  <a:pt x="4423" y="1638"/>
                  <a:pt x="4423" y="1637"/>
                  <a:pt x="4423" y="1636"/>
                </a:cubicBezTo>
                <a:cubicBezTo>
                  <a:pt x="4423" y="1630"/>
                  <a:pt x="4421" y="1622"/>
                  <a:pt x="4418" y="1614"/>
                </a:cubicBezTo>
                <a:cubicBezTo>
                  <a:pt x="4414" y="1606"/>
                  <a:pt x="4411" y="1599"/>
                  <a:pt x="4403" y="1595"/>
                </a:cubicBezTo>
                <a:cubicBezTo>
                  <a:pt x="4401" y="1594"/>
                  <a:pt x="4394" y="1588"/>
                  <a:pt x="4390" y="1580"/>
                </a:cubicBezTo>
                <a:cubicBezTo>
                  <a:pt x="4385" y="1574"/>
                  <a:pt x="4381" y="1565"/>
                  <a:pt x="4381" y="1563"/>
                </a:cubicBezTo>
                <a:cubicBezTo>
                  <a:pt x="4381" y="1555"/>
                  <a:pt x="4375" y="1550"/>
                  <a:pt x="4371" y="1547"/>
                </a:cubicBezTo>
                <a:cubicBezTo>
                  <a:pt x="4366" y="1544"/>
                  <a:pt x="4361" y="1542"/>
                  <a:pt x="4359" y="1540"/>
                </a:cubicBezTo>
                <a:cubicBezTo>
                  <a:pt x="4354" y="1536"/>
                  <a:pt x="4347" y="1513"/>
                  <a:pt x="4326" y="1508"/>
                </a:cubicBezTo>
                <a:cubicBezTo>
                  <a:pt x="4310" y="1504"/>
                  <a:pt x="4307" y="1498"/>
                  <a:pt x="4288" y="1486"/>
                </a:cubicBezTo>
                <a:cubicBezTo>
                  <a:pt x="4275" y="1479"/>
                  <a:pt x="4258" y="1477"/>
                  <a:pt x="4243" y="1477"/>
                </a:cubicBezTo>
                <a:cubicBezTo>
                  <a:pt x="4237" y="1477"/>
                  <a:pt x="4232" y="1477"/>
                  <a:pt x="4228" y="1478"/>
                </a:cubicBezTo>
                <a:cubicBezTo>
                  <a:pt x="4226" y="1478"/>
                  <a:pt x="4224" y="1479"/>
                  <a:pt x="4222" y="1480"/>
                </a:cubicBezTo>
                <a:cubicBezTo>
                  <a:pt x="4222" y="1480"/>
                  <a:pt x="4221" y="1481"/>
                  <a:pt x="4221" y="1481"/>
                </a:cubicBezTo>
                <a:cubicBezTo>
                  <a:pt x="4219" y="1479"/>
                  <a:pt x="4216" y="1478"/>
                  <a:pt x="4212" y="1476"/>
                </a:cubicBezTo>
                <a:cubicBezTo>
                  <a:pt x="4204" y="1473"/>
                  <a:pt x="4197" y="1473"/>
                  <a:pt x="4193" y="1473"/>
                </a:cubicBezTo>
                <a:cubicBezTo>
                  <a:pt x="4191" y="1472"/>
                  <a:pt x="4189" y="1472"/>
                  <a:pt x="4189" y="1472"/>
                </a:cubicBezTo>
                <a:cubicBezTo>
                  <a:pt x="4188" y="1471"/>
                  <a:pt x="4188" y="1472"/>
                  <a:pt x="4188" y="1470"/>
                </a:cubicBezTo>
                <a:cubicBezTo>
                  <a:pt x="4186" y="1464"/>
                  <a:pt x="4181" y="1458"/>
                  <a:pt x="4173" y="1458"/>
                </a:cubicBezTo>
                <a:cubicBezTo>
                  <a:pt x="4166" y="1458"/>
                  <a:pt x="4161" y="1462"/>
                  <a:pt x="4156" y="1468"/>
                </a:cubicBezTo>
                <a:cubicBezTo>
                  <a:pt x="4154" y="1471"/>
                  <a:pt x="4152" y="1473"/>
                  <a:pt x="4150" y="1474"/>
                </a:cubicBezTo>
                <a:cubicBezTo>
                  <a:pt x="4149" y="1476"/>
                  <a:pt x="4147" y="1478"/>
                  <a:pt x="4147" y="1482"/>
                </a:cubicBezTo>
                <a:cubicBezTo>
                  <a:pt x="4147" y="1484"/>
                  <a:pt x="4148" y="1487"/>
                  <a:pt x="4150" y="1488"/>
                </a:cubicBezTo>
                <a:cubicBezTo>
                  <a:pt x="4154" y="1491"/>
                  <a:pt x="4158" y="1491"/>
                  <a:pt x="4166" y="1493"/>
                </a:cubicBezTo>
                <a:cubicBezTo>
                  <a:pt x="4173" y="1495"/>
                  <a:pt x="4178" y="1496"/>
                  <a:pt x="4181" y="1497"/>
                </a:cubicBezTo>
                <a:cubicBezTo>
                  <a:pt x="4181" y="1497"/>
                  <a:pt x="4181" y="1497"/>
                  <a:pt x="4181" y="1497"/>
                </a:cubicBezTo>
                <a:cubicBezTo>
                  <a:pt x="4181" y="1497"/>
                  <a:pt x="4180" y="1498"/>
                  <a:pt x="4179" y="1499"/>
                </a:cubicBezTo>
                <a:cubicBezTo>
                  <a:pt x="4174" y="1507"/>
                  <a:pt x="4169" y="1516"/>
                  <a:pt x="4168" y="1524"/>
                </a:cubicBezTo>
                <a:cubicBezTo>
                  <a:pt x="4168" y="1528"/>
                  <a:pt x="4171" y="1534"/>
                  <a:pt x="4176" y="1535"/>
                </a:cubicBezTo>
                <a:cubicBezTo>
                  <a:pt x="4177" y="1535"/>
                  <a:pt x="4179" y="1535"/>
                  <a:pt x="4180" y="1535"/>
                </a:cubicBezTo>
                <a:cubicBezTo>
                  <a:pt x="4187" y="1535"/>
                  <a:pt x="4196" y="1533"/>
                  <a:pt x="4201" y="1533"/>
                </a:cubicBezTo>
                <a:cubicBezTo>
                  <a:pt x="4202" y="1533"/>
                  <a:pt x="4202" y="1533"/>
                  <a:pt x="4202" y="1533"/>
                </a:cubicBezTo>
                <a:cubicBezTo>
                  <a:pt x="4202" y="1533"/>
                  <a:pt x="4202" y="1535"/>
                  <a:pt x="4203" y="1537"/>
                </a:cubicBezTo>
                <a:cubicBezTo>
                  <a:pt x="4205" y="1540"/>
                  <a:pt x="4208" y="1541"/>
                  <a:pt x="4211" y="1543"/>
                </a:cubicBezTo>
                <a:cubicBezTo>
                  <a:pt x="4214" y="1544"/>
                  <a:pt x="4218" y="1545"/>
                  <a:pt x="4225" y="1546"/>
                </a:cubicBezTo>
                <a:cubicBezTo>
                  <a:pt x="4246" y="1550"/>
                  <a:pt x="4248" y="1557"/>
                  <a:pt x="4253" y="1563"/>
                </a:cubicBezTo>
                <a:cubicBezTo>
                  <a:pt x="4255" y="1565"/>
                  <a:pt x="4258" y="1569"/>
                  <a:pt x="4260" y="1572"/>
                </a:cubicBezTo>
                <a:cubicBezTo>
                  <a:pt x="4261" y="1574"/>
                  <a:pt x="4262" y="1576"/>
                  <a:pt x="4263" y="1577"/>
                </a:cubicBezTo>
                <a:cubicBezTo>
                  <a:pt x="4259" y="1578"/>
                  <a:pt x="4256" y="1580"/>
                  <a:pt x="4253" y="1583"/>
                </a:cubicBezTo>
                <a:cubicBezTo>
                  <a:pt x="4250" y="1586"/>
                  <a:pt x="4247" y="1590"/>
                  <a:pt x="4246" y="1595"/>
                </a:cubicBezTo>
                <a:cubicBezTo>
                  <a:pt x="4246" y="1599"/>
                  <a:pt x="4250" y="1603"/>
                  <a:pt x="4253" y="1604"/>
                </a:cubicBezTo>
                <a:cubicBezTo>
                  <a:pt x="4255" y="1604"/>
                  <a:pt x="4256" y="1605"/>
                  <a:pt x="4257" y="1605"/>
                </a:cubicBezTo>
                <a:cubicBezTo>
                  <a:pt x="4264" y="1605"/>
                  <a:pt x="4274" y="1604"/>
                  <a:pt x="4278" y="1604"/>
                </a:cubicBezTo>
                <a:cubicBezTo>
                  <a:pt x="4278" y="1604"/>
                  <a:pt x="4278" y="1604"/>
                  <a:pt x="4278" y="1604"/>
                </a:cubicBezTo>
                <a:cubicBezTo>
                  <a:pt x="4280" y="1604"/>
                  <a:pt x="4282" y="1612"/>
                  <a:pt x="4286" y="1618"/>
                </a:cubicBezTo>
                <a:cubicBezTo>
                  <a:pt x="4290" y="1624"/>
                  <a:pt x="4295" y="1631"/>
                  <a:pt x="4304" y="1633"/>
                </a:cubicBezTo>
                <a:cubicBezTo>
                  <a:pt x="4303" y="1635"/>
                  <a:pt x="4303" y="1636"/>
                  <a:pt x="4302" y="1638"/>
                </a:cubicBezTo>
                <a:cubicBezTo>
                  <a:pt x="4299" y="1647"/>
                  <a:pt x="4295" y="1662"/>
                  <a:pt x="4295" y="1675"/>
                </a:cubicBezTo>
                <a:cubicBezTo>
                  <a:pt x="4295" y="1682"/>
                  <a:pt x="4296" y="1688"/>
                  <a:pt x="4299" y="1693"/>
                </a:cubicBezTo>
                <a:cubicBezTo>
                  <a:pt x="4300" y="1695"/>
                  <a:pt x="4301" y="1698"/>
                  <a:pt x="4301" y="1701"/>
                </a:cubicBezTo>
                <a:cubicBezTo>
                  <a:pt x="4301" y="1712"/>
                  <a:pt x="4294" y="1729"/>
                  <a:pt x="4289" y="1742"/>
                </a:cubicBezTo>
                <a:cubicBezTo>
                  <a:pt x="4289" y="1743"/>
                  <a:pt x="4288" y="1744"/>
                  <a:pt x="4288" y="1744"/>
                </a:cubicBezTo>
                <a:cubicBezTo>
                  <a:pt x="4288" y="1744"/>
                  <a:pt x="4287" y="1744"/>
                  <a:pt x="4286" y="1743"/>
                </a:cubicBezTo>
                <a:cubicBezTo>
                  <a:pt x="4281" y="1740"/>
                  <a:pt x="4274" y="1733"/>
                  <a:pt x="4267" y="1728"/>
                </a:cubicBezTo>
                <a:cubicBezTo>
                  <a:pt x="4255" y="1719"/>
                  <a:pt x="4239" y="1713"/>
                  <a:pt x="4233" y="1705"/>
                </a:cubicBezTo>
                <a:cubicBezTo>
                  <a:pt x="4233" y="1705"/>
                  <a:pt x="4232" y="1705"/>
                  <a:pt x="4232" y="1704"/>
                </a:cubicBezTo>
                <a:cubicBezTo>
                  <a:pt x="4232" y="1701"/>
                  <a:pt x="4234" y="1694"/>
                  <a:pt x="4237" y="1688"/>
                </a:cubicBezTo>
                <a:cubicBezTo>
                  <a:pt x="4240" y="1681"/>
                  <a:pt x="4243" y="1675"/>
                  <a:pt x="4243" y="1668"/>
                </a:cubicBezTo>
                <a:cubicBezTo>
                  <a:pt x="4243" y="1666"/>
                  <a:pt x="4243" y="1663"/>
                  <a:pt x="4241" y="1661"/>
                </a:cubicBezTo>
                <a:cubicBezTo>
                  <a:pt x="4236" y="1654"/>
                  <a:pt x="4229" y="1653"/>
                  <a:pt x="4222" y="1653"/>
                </a:cubicBezTo>
                <a:cubicBezTo>
                  <a:pt x="4216" y="1653"/>
                  <a:pt x="4210" y="1654"/>
                  <a:pt x="4205" y="1655"/>
                </a:cubicBezTo>
                <a:cubicBezTo>
                  <a:pt x="4202" y="1655"/>
                  <a:pt x="4200" y="1656"/>
                  <a:pt x="4198" y="1656"/>
                </a:cubicBezTo>
                <a:cubicBezTo>
                  <a:pt x="4198" y="1656"/>
                  <a:pt x="4197" y="1656"/>
                  <a:pt x="4197" y="1656"/>
                </a:cubicBezTo>
                <a:cubicBezTo>
                  <a:pt x="4196" y="1655"/>
                  <a:pt x="4194" y="1653"/>
                  <a:pt x="4192" y="1650"/>
                </a:cubicBezTo>
                <a:cubicBezTo>
                  <a:pt x="4189" y="1647"/>
                  <a:pt x="4185" y="1643"/>
                  <a:pt x="4179" y="1643"/>
                </a:cubicBezTo>
                <a:cubicBezTo>
                  <a:pt x="4174" y="1643"/>
                  <a:pt x="4171" y="1646"/>
                  <a:pt x="4170" y="1649"/>
                </a:cubicBezTo>
                <a:cubicBezTo>
                  <a:pt x="4169" y="1652"/>
                  <a:pt x="4168" y="1655"/>
                  <a:pt x="4167" y="1659"/>
                </a:cubicBezTo>
                <a:cubicBezTo>
                  <a:pt x="4165" y="1656"/>
                  <a:pt x="4163" y="1653"/>
                  <a:pt x="4160" y="1650"/>
                </a:cubicBezTo>
                <a:cubicBezTo>
                  <a:pt x="4159" y="1649"/>
                  <a:pt x="4158" y="1648"/>
                  <a:pt x="4157" y="1647"/>
                </a:cubicBezTo>
                <a:cubicBezTo>
                  <a:pt x="4156" y="1646"/>
                  <a:pt x="4155" y="1645"/>
                  <a:pt x="4151" y="1644"/>
                </a:cubicBezTo>
                <a:cubicBezTo>
                  <a:pt x="4148" y="1644"/>
                  <a:pt x="4145" y="1648"/>
                  <a:pt x="4145" y="1649"/>
                </a:cubicBezTo>
                <a:cubicBezTo>
                  <a:pt x="4145" y="1650"/>
                  <a:pt x="4145" y="1651"/>
                  <a:pt x="4145" y="1652"/>
                </a:cubicBezTo>
                <a:cubicBezTo>
                  <a:pt x="4145" y="1654"/>
                  <a:pt x="4145" y="1657"/>
                  <a:pt x="4145" y="1659"/>
                </a:cubicBezTo>
                <a:cubicBezTo>
                  <a:pt x="4145" y="1663"/>
                  <a:pt x="4144" y="1668"/>
                  <a:pt x="4142" y="1671"/>
                </a:cubicBezTo>
                <a:cubicBezTo>
                  <a:pt x="4137" y="1677"/>
                  <a:pt x="4135" y="1679"/>
                  <a:pt x="4133" y="1683"/>
                </a:cubicBezTo>
                <a:cubicBezTo>
                  <a:pt x="4131" y="1686"/>
                  <a:pt x="4131" y="1688"/>
                  <a:pt x="4129" y="1695"/>
                </a:cubicBezTo>
                <a:cubicBezTo>
                  <a:pt x="4128" y="1697"/>
                  <a:pt x="4128" y="1699"/>
                  <a:pt x="4127" y="1699"/>
                </a:cubicBezTo>
                <a:cubicBezTo>
                  <a:pt x="4127" y="1699"/>
                  <a:pt x="4127" y="1700"/>
                  <a:pt x="4127" y="1700"/>
                </a:cubicBezTo>
                <a:cubicBezTo>
                  <a:pt x="4127" y="1700"/>
                  <a:pt x="4127" y="1700"/>
                  <a:pt x="4127" y="1700"/>
                </a:cubicBezTo>
                <a:cubicBezTo>
                  <a:pt x="4126" y="1700"/>
                  <a:pt x="4120" y="1696"/>
                  <a:pt x="4114" y="1688"/>
                </a:cubicBezTo>
                <a:cubicBezTo>
                  <a:pt x="4110" y="1682"/>
                  <a:pt x="4105" y="1679"/>
                  <a:pt x="4099" y="1678"/>
                </a:cubicBezTo>
                <a:cubicBezTo>
                  <a:pt x="4090" y="1679"/>
                  <a:pt x="4087" y="1685"/>
                  <a:pt x="4083" y="1686"/>
                </a:cubicBezTo>
                <a:cubicBezTo>
                  <a:pt x="4077" y="1691"/>
                  <a:pt x="4074" y="1698"/>
                  <a:pt x="4071" y="1705"/>
                </a:cubicBezTo>
                <a:cubicBezTo>
                  <a:pt x="4068" y="1712"/>
                  <a:pt x="4068" y="1720"/>
                  <a:pt x="4064" y="1721"/>
                </a:cubicBezTo>
                <a:cubicBezTo>
                  <a:pt x="4064" y="1721"/>
                  <a:pt x="4064" y="1721"/>
                  <a:pt x="4064" y="1721"/>
                </a:cubicBezTo>
                <a:cubicBezTo>
                  <a:pt x="4064" y="1722"/>
                  <a:pt x="4057" y="1726"/>
                  <a:pt x="4050" y="1729"/>
                </a:cubicBezTo>
                <a:cubicBezTo>
                  <a:pt x="4043" y="1732"/>
                  <a:pt x="4037" y="1735"/>
                  <a:pt x="4032" y="1740"/>
                </a:cubicBezTo>
                <a:cubicBezTo>
                  <a:pt x="4028" y="1745"/>
                  <a:pt x="4026" y="1753"/>
                  <a:pt x="4025" y="1760"/>
                </a:cubicBezTo>
                <a:cubicBezTo>
                  <a:pt x="4024" y="1766"/>
                  <a:pt x="4023" y="1772"/>
                  <a:pt x="4023" y="1775"/>
                </a:cubicBezTo>
                <a:cubicBezTo>
                  <a:pt x="4021" y="1776"/>
                  <a:pt x="4016" y="1777"/>
                  <a:pt x="4011" y="1777"/>
                </a:cubicBezTo>
                <a:cubicBezTo>
                  <a:pt x="4005" y="1778"/>
                  <a:pt x="3998" y="1779"/>
                  <a:pt x="3993" y="1783"/>
                </a:cubicBezTo>
                <a:cubicBezTo>
                  <a:pt x="3991" y="1785"/>
                  <a:pt x="3988" y="1786"/>
                  <a:pt x="3984" y="1786"/>
                </a:cubicBezTo>
                <a:cubicBezTo>
                  <a:pt x="3979" y="1786"/>
                  <a:pt x="3973" y="1785"/>
                  <a:pt x="3968" y="1785"/>
                </a:cubicBezTo>
                <a:cubicBezTo>
                  <a:pt x="3963" y="1785"/>
                  <a:pt x="3960" y="1787"/>
                  <a:pt x="3956" y="1790"/>
                </a:cubicBezTo>
                <a:cubicBezTo>
                  <a:pt x="3943" y="1798"/>
                  <a:pt x="3926" y="1814"/>
                  <a:pt x="3920" y="1819"/>
                </a:cubicBezTo>
                <a:cubicBezTo>
                  <a:pt x="3911" y="1826"/>
                  <a:pt x="3910" y="1837"/>
                  <a:pt x="3909" y="1847"/>
                </a:cubicBezTo>
                <a:cubicBezTo>
                  <a:pt x="3910" y="1854"/>
                  <a:pt x="3910" y="1861"/>
                  <a:pt x="3914" y="1866"/>
                </a:cubicBezTo>
                <a:cubicBezTo>
                  <a:pt x="3917" y="1870"/>
                  <a:pt x="3922" y="1881"/>
                  <a:pt x="3922" y="1884"/>
                </a:cubicBezTo>
                <a:cubicBezTo>
                  <a:pt x="3917" y="1888"/>
                  <a:pt x="3916" y="1895"/>
                  <a:pt x="3915" y="1902"/>
                </a:cubicBezTo>
                <a:cubicBezTo>
                  <a:pt x="3915" y="1911"/>
                  <a:pt x="3918" y="1921"/>
                  <a:pt x="3927" y="1931"/>
                </a:cubicBezTo>
                <a:cubicBezTo>
                  <a:pt x="3935" y="1942"/>
                  <a:pt x="3935" y="1945"/>
                  <a:pt x="3935" y="1949"/>
                </a:cubicBezTo>
                <a:cubicBezTo>
                  <a:pt x="3935" y="1950"/>
                  <a:pt x="3935" y="1951"/>
                  <a:pt x="3935" y="1953"/>
                </a:cubicBezTo>
                <a:cubicBezTo>
                  <a:pt x="3935" y="1954"/>
                  <a:pt x="3935" y="1955"/>
                  <a:pt x="3936" y="1957"/>
                </a:cubicBezTo>
                <a:cubicBezTo>
                  <a:pt x="3936" y="1962"/>
                  <a:pt x="3939" y="1967"/>
                  <a:pt x="3942" y="1970"/>
                </a:cubicBezTo>
                <a:cubicBezTo>
                  <a:pt x="3945" y="1974"/>
                  <a:pt x="3948" y="1978"/>
                  <a:pt x="3953" y="1984"/>
                </a:cubicBezTo>
                <a:cubicBezTo>
                  <a:pt x="3953" y="1985"/>
                  <a:pt x="3954" y="1986"/>
                  <a:pt x="3954" y="1987"/>
                </a:cubicBezTo>
                <a:cubicBezTo>
                  <a:pt x="3954" y="1989"/>
                  <a:pt x="3951" y="1993"/>
                  <a:pt x="3946" y="1997"/>
                </a:cubicBezTo>
                <a:cubicBezTo>
                  <a:pt x="3941" y="2002"/>
                  <a:pt x="3936" y="2005"/>
                  <a:pt x="3932" y="2012"/>
                </a:cubicBezTo>
                <a:cubicBezTo>
                  <a:pt x="3932" y="2013"/>
                  <a:pt x="3931" y="2015"/>
                  <a:pt x="3931" y="2017"/>
                </a:cubicBezTo>
                <a:cubicBezTo>
                  <a:pt x="3932" y="2030"/>
                  <a:pt x="3943" y="2039"/>
                  <a:pt x="3949" y="2046"/>
                </a:cubicBezTo>
                <a:cubicBezTo>
                  <a:pt x="3953" y="2050"/>
                  <a:pt x="3959" y="2051"/>
                  <a:pt x="3965" y="2051"/>
                </a:cubicBezTo>
                <a:cubicBezTo>
                  <a:pt x="3974" y="2051"/>
                  <a:pt x="3983" y="2049"/>
                  <a:pt x="3990" y="2046"/>
                </a:cubicBezTo>
                <a:cubicBezTo>
                  <a:pt x="3996" y="2043"/>
                  <a:pt x="4002" y="2039"/>
                  <a:pt x="4007" y="2036"/>
                </a:cubicBezTo>
                <a:cubicBezTo>
                  <a:pt x="4012" y="2032"/>
                  <a:pt x="4016" y="2030"/>
                  <a:pt x="4017" y="2030"/>
                </a:cubicBezTo>
                <a:cubicBezTo>
                  <a:pt x="4020" y="2029"/>
                  <a:pt x="4030" y="2028"/>
                  <a:pt x="4039" y="2028"/>
                </a:cubicBezTo>
                <a:cubicBezTo>
                  <a:pt x="4048" y="2027"/>
                  <a:pt x="4056" y="2027"/>
                  <a:pt x="4056" y="2027"/>
                </a:cubicBezTo>
                <a:cubicBezTo>
                  <a:pt x="4058" y="2027"/>
                  <a:pt x="4060" y="2026"/>
                  <a:pt x="4061" y="2024"/>
                </a:cubicBezTo>
                <a:cubicBezTo>
                  <a:pt x="4061" y="2024"/>
                  <a:pt x="4072" y="2003"/>
                  <a:pt x="4080" y="1993"/>
                </a:cubicBezTo>
                <a:cubicBezTo>
                  <a:pt x="4081" y="1991"/>
                  <a:pt x="4084" y="1990"/>
                  <a:pt x="4089" y="1990"/>
                </a:cubicBezTo>
                <a:cubicBezTo>
                  <a:pt x="4093" y="1990"/>
                  <a:pt x="4097" y="1991"/>
                  <a:pt x="4101" y="1992"/>
                </a:cubicBezTo>
                <a:cubicBezTo>
                  <a:pt x="4104" y="1993"/>
                  <a:pt x="4106" y="1993"/>
                  <a:pt x="4106" y="1993"/>
                </a:cubicBezTo>
                <a:cubicBezTo>
                  <a:pt x="4108" y="1994"/>
                  <a:pt x="4110" y="1994"/>
                  <a:pt x="4112" y="1993"/>
                </a:cubicBezTo>
                <a:cubicBezTo>
                  <a:pt x="4112" y="1993"/>
                  <a:pt x="4113" y="1992"/>
                  <a:pt x="4114" y="1992"/>
                </a:cubicBezTo>
                <a:cubicBezTo>
                  <a:pt x="4117" y="1989"/>
                  <a:pt x="4128" y="1984"/>
                  <a:pt x="4148" y="1978"/>
                </a:cubicBezTo>
                <a:cubicBezTo>
                  <a:pt x="4153" y="1977"/>
                  <a:pt x="4156" y="1977"/>
                  <a:pt x="4158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1" y="1977"/>
                  <a:pt x="4161" y="1977"/>
                  <a:pt x="4161" y="1977"/>
                </a:cubicBezTo>
                <a:cubicBezTo>
                  <a:pt x="4162" y="1978"/>
                  <a:pt x="4163" y="1986"/>
                  <a:pt x="4171" y="1989"/>
                </a:cubicBezTo>
                <a:cubicBezTo>
                  <a:pt x="4182" y="1994"/>
                  <a:pt x="4195" y="1997"/>
                  <a:pt x="4201" y="2002"/>
                </a:cubicBezTo>
                <a:cubicBezTo>
                  <a:pt x="4202" y="2003"/>
                  <a:pt x="4202" y="2004"/>
                  <a:pt x="4203" y="2007"/>
                </a:cubicBezTo>
                <a:cubicBezTo>
                  <a:pt x="4203" y="2012"/>
                  <a:pt x="4199" y="2021"/>
                  <a:pt x="4198" y="2027"/>
                </a:cubicBezTo>
                <a:cubicBezTo>
                  <a:pt x="4198" y="2027"/>
                  <a:pt x="4198" y="2028"/>
                  <a:pt x="4198" y="2028"/>
                </a:cubicBezTo>
                <a:cubicBezTo>
                  <a:pt x="4198" y="2032"/>
                  <a:pt x="4201" y="2036"/>
                  <a:pt x="4203" y="2036"/>
                </a:cubicBezTo>
                <a:cubicBezTo>
                  <a:pt x="4206" y="2038"/>
                  <a:pt x="4208" y="2038"/>
                  <a:pt x="4210" y="2038"/>
                </a:cubicBezTo>
                <a:cubicBezTo>
                  <a:pt x="4214" y="2038"/>
                  <a:pt x="4218" y="2037"/>
                  <a:pt x="4222" y="2036"/>
                </a:cubicBezTo>
                <a:cubicBezTo>
                  <a:pt x="4225" y="2034"/>
                  <a:pt x="4229" y="2032"/>
                  <a:pt x="4231" y="2026"/>
                </a:cubicBezTo>
                <a:cubicBezTo>
                  <a:pt x="4231" y="2022"/>
                  <a:pt x="4234" y="2017"/>
                  <a:pt x="4243" y="2011"/>
                </a:cubicBezTo>
                <a:cubicBezTo>
                  <a:pt x="4243" y="2013"/>
                  <a:pt x="4242" y="2015"/>
                  <a:pt x="4242" y="2018"/>
                </a:cubicBezTo>
                <a:cubicBezTo>
                  <a:pt x="4242" y="2022"/>
                  <a:pt x="4243" y="2026"/>
                  <a:pt x="4244" y="2030"/>
                </a:cubicBezTo>
                <a:cubicBezTo>
                  <a:pt x="4245" y="2032"/>
                  <a:pt x="4246" y="2033"/>
                  <a:pt x="4247" y="2034"/>
                </a:cubicBezTo>
                <a:cubicBezTo>
                  <a:pt x="4248" y="2036"/>
                  <a:pt x="4250" y="2037"/>
                  <a:pt x="4253" y="2037"/>
                </a:cubicBezTo>
                <a:cubicBezTo>
                  <a:pt x="4255" y="2037"/>
                  <a:pt x="4257" y="2036"/>
                  <a:pt x="4258" y="2035"/>
                </a:cubicBezTo>
                <a:cubicBezTo>
                  <a:pt x="4259" y="2037"/>
                  <a:pt x="4260" y="2038"/>
                  <a:pt x="4260" y="2039"/>
                </a:cubicBezTo>
                <a:cubicBezTo>
                  <a:pt x="4262" y="2043"/>
                  <a:pt x="4264" y="2044"/>
                  <a:pt x="4266" y="2045"/>
                </a:cubicBezTo>
                <a:cubicBezTo>
                  <a:pt x="4269" y="2047"/>
                  <a:pt x="4271" y="2048"/>
                  <a:pt x="4273" y="2050"/>
                </a:cubicBezTo>
                <a:cubicBezTo>
                  <a:pt x="4275" y="2052"/>
                  <a:pt x="4276" y="2053"/>
                  <a:pt x="4276" y="2057"/>
                </a:cubicBezTo>
                <a:cubicBezTo>
                  <a:pt x="4276" y="2064"/>
                  <a:pt x="4276" y="2069"/>
                  <a:pt x="4277" y="2074"/>
                </a:cubicBezTo>
                <a:cubicBezTo>
                  <a:pt x="4277" y="2078"/>
                  <a:pt x="4278" y="2083"/>
                  <a:pt x="4282" y="2086"/>
                </a:cubicBezTo>
                <a:cubicBezTo>
                  <a:pt x="4285" y="2089"/>
                  <a:pt x="4287" y="2088"/>
                  <a:pt x="4290" y="2089"/>
                </a:cubicBezTo>
                <a:cubicBezTo>
                  <a:pt x="4297" y="2090"/>
                  <a:pt x="4305" y="2091"/>
                  <a:pt x="4310" y="2101"/>
                </a:cubicBezTo>
                <a:cubicBezTo>
                  <a:pt x="4313" y="2107"/>
                  <a:pt x="4316" y="2111"/>
                  <a:pt x="4323" y="2112"/>
                </a:cubicBezTo>
                <a:cubicBezTo>
                  <a:pt x="4329" y="2111"/>
                  <a:pt x="4332" y="2107"/>
                  <a:pt x="4334" y="2104"/>
                </a:cubicBezTo>
                <a:cubicBezTo>
                  <a:pt x="4336" y="2101"/>
                  <a:pt x="4338" y="2100"/>
                  <a:pt x="4339" y="2096"/>
                </a:cubicBezTo>
                <a:cubicBezTo>
                  <a:pt x="4339" y="2096"/>
                  <a:pt x="4339" y="2096"/>
                  <a:pt x="4339" y="2096"/>
                </a:cubicBezTo>
                <a:cubicBezTo>
                  <a:pt x="4342" y="2096"/>
                  <a:pt x="4353" y="2102"/>
                  <a:pt x="4355" y="2105"/>
                </a:cubicBezTo>
                <a:cubicBezTo>
                  <a:pt x="4356" y="2107"/>
                  <a:pt x="4359" y="2108"/>
                  <a:pt x="4362" y="2108"/>
                </a:cubicBezTo>
                <a:cubicBezTo>
                  <a:pt x="4369" y="2107"/>
                  <a:pt x="4372" y="2103"/>
                  <a:pt x="4378" y="2100"/>
                </a:cubicBezTo>
                <a:cubicBezTo>
                  <a:pt x="4383" y="2096"/>
                  <a:pt x="4389" y="2092"/>
                  <a:pt x="4396" y="2090"/>
                </a:cubicBezTo>
                <a:cubicBezTo>
                  <a:pt x="4404" y="2087"/>
                  <a:pt x="4408" y="2086"/>
                  <a:pt x="4412" y="2084"/>
                </a:cubicBezTo>
                <a:cubicBezTo>
                  <a:pt x="4416" y="2082"/>
                  <a:pt x="4417" y="2078"/>
                  <a:pt x="4419" y="2075"/>
                </a:cubicBezTo>
                <a:cubicBezTo>
                  <a:pt x="4424" y="2064"/>
                  <a:pt x="4427" y="2043"/>
                  <a:pt x="4437" y="2028"/>
                </a:cubicBezTo>
                <a:cubicBezTo>
                  <a:pt x="4447" y="2011"/>
                  <a:pt x="4462" y="1982"/>
                  <a:pt x="4462" y="1957"/>
                </a:cubicBezTo>
                <a:cubicBezTo>
                  <a:pt x="4462" y="1935"/>
                  <a:pt x="4461" y="1884"/>
                  <a:pt x="4447" y="1858"/>
                </a:cubicBezTo>
                <a:cubicBezTo>
                  <a:pt x="4441" y="1846"/>
                  <a:pt x="4432" y="1834"/>
                  <a:pt x="4425" y="1824"/>
                </a:cubicBezTo>
                <a:close/>
                <a:moveTo>
                  <a:pt x="4055" y="1637"/>
                </a:moveTo>
                <a:cubicBezTo>
                  <a:pt x="4057" y="1639"/>
                  <a:pt x="4060" y="1640"/>
                  <a:pt x="4062" y="1640"/>
                </a:cubicBezTo>
                <a:cubicBezTo>
                  <a:pt x="4062" y="1640"/>
                  <a:pt x="4062" y="1640"/>
                  <a:pt x="4062" y="1640"/>
                </a:cubicBezTo>
                <a:cubicBezTo>
                  <a:pt x="4069" y="1640"/>
                  <a:pt x="4074" y="1635"/>
                  <a:pt x="4079" y="1632"/>
                </a:cubicBezTo>
                <a:cubicBezTo>
                  <a:pt x="4082" y="1629"/>
                  <a:pt x="4085" y="1627"/>
                  <a:pt x="4086" y="1626"/>
                </a:cubicBezTo>
                <a:cubicBezTo>
                  <a:pt x="4088" y="1625"/>
                  <a:pt x="4091" y="1624"/>
                  <a:pt x="4095" y="1623"/>
                </a:cubicBezTo>
                <a:cubicBezTo>
                  <a:pt x="4097" y="1622"/>
                  <a:pt x="4100" y="1620"/>
                  <a:pt x="4103" y="1618"/>
                </a:cubicBezTo>
                <a:cubicBezTo>
                  <a:pt x="4105" y="1616"/>
                  <a:pt x="4108" y="1612"/>
                  <a:pt x="4108" y="1607"/>
                </a:cubicBezTo>
                <a:cubicBezTo>
                  <a:pt x="4107" y="1601"/>
                  <a:pt x="4104" y="1596"/>
                  <a:pt x="4100" y="1592"/>
                </a:cubicBezTo>
                <a:cubicBezTo>
                  <a:pt x="4095" y="1589"/>
                  <a:pt x="4090" y="1586"/>
                  <a:pt x="4084" y="1586"/>
                </a:cubicBezTo>
                <a:cubicBezTo>
                  <a:pt x="4079" y="1586"/>
                  <a:pt x="4074" y="1588"/>
                  <a:pt x="4071" y="1593"/>
                </a:cubicBezTo>
                <a:cubicBezTo>
                  <a:pt x="4068" y="1598"/>
                  <a:pt x="4064" y="1603"/>
                  <a:pt x="4060" y="1608"/>
                </a:cubicBezTo>
                <a:cubicBezTo>
                  <a:pt x="4056" y="1614"/>
                  <a:pt x="4052" y="1619"/>
                  <a:pt x="4052" y="1627"/>
                </a:cubicBezTo>
                <a:cubicBezTo>
                  <a:pt x="4052" y="1627"/>
                  <a:pt x="4052" y="1628"/>
                  <a:pt x="4052" y="1629"/>
                </a:cubicBezTo>
                <a:cubicBezTo>
                  <a:pt x="4052" y="1632"/>
                  <a:pt x="4053" y="1634"/>
                  <a:pt x="4055" y="1637"/>
                </a:cubicBezTo>
                <a:close/>
                <a:moveTo>
                  <a:pt x="4022" y="1470"/>
                </a:moveTo>
                <a:cubicBezTo>
                  <a:pt x="4023" y="1470"/>
                  <a:pt x="4024" y="1470"/>
                  <a:pt x="4025" y="1470"/>
                </a:cubicBezTo>
                <a:cubicBezTo>
                  <a:pt x="4038" y="1469"/>
                  <a:pt x="4065" y="1464"/>
                  <a:pt x="4069" y="1464"/>
                </a:cubicBezTo>
                <a:cubicBezTo>
                  <a:pt x="4076" y="1464"/>
                  <a:pt x="4079" y="1459"/>
                  <a:pt x="4081" y="1455"/>
                </a:cubicBezTo>
                <a:cubicBezTo>
                  <a:pt x="4084" y="1451"/>
                  <a:pt x="4086" y="1447"/>
                  <a:pt x="4086" y="1442"/>
                </a:cubicBezTo>
                <a:cubicBezTo>
                  <a:pt x="4086" y="1441"/>
                  <a:pt x="4086" y="1440"/>
                  <a:pt x="4085" y="1438"/>
                </a:cubicBezTo>
                <a:cubicBezTo>
                  <a:pt x="4083" y="1436"/>
                  <a:pt x="4081" y="1434"/>
                  <a:pt x="4078" y="1434"/>
                </a:cubicBezTo>
                <a:cubicBezTo>
                  <a:pt x="4072" y="1435"/>
                  <a:pt x="4043" y="1441"/>
                  <a:pt x="4036" y="1443"/>
                </a:cubicBezTo>
                <a:cubicBezTo>
                  <a:pt x="4036" y="1443"/>
                  <a:pt x="4036" y="1443"/>
                  <a:pt x="4036" y="1443"/>
                </a:cubicBezTo>
                <a:cubicBezTo>
                  <a:pt x="4033" y="1443"/>
                  <a:pt x="4028" y="1442"/>
                  <a:pt x="4023" y="1442"/>
                </a:cubicBezTo>
                <a:cubicBezTo>
                  <a:pt x="4019" y="1441"/>
                  <a:pt x="4015" y="1440"/>
                  <a:pt x="4015" y="1440"/>
                </a:cubicBezTo>
                <a:cubicBezTo>
                  <a:pt x="4013" y="1440"/>
                  <a:pt x="4011" y="1440"/>
                  <a:pt x="4009" y="1442"/>
                </a:cubicBezTo>
                <a:cubicBezTo>
                  <a:pt x="4006" y="1446"/>
                  <a:pt x="4004" y="1450"/>
                  <a:pt x="4004" y="1455"/>
                </a:cubicBezTo>
                <a:cubicBezTo>
                  <a:pt x="4004" y="1459"/>
                  <a:pt x="4006" y="1463"/>
                  <a:pt x="4010" y="1466"/>
                </a:cubicBezTo>
                <a:cubicBezTo>
                  <a:pt x="4013" y="1469"/>
                  <a:pt x="4017" y="1470"/>
                  <a:pt x="4022" y="1470"/>
                </a:cubicBezTo>
                <a:close/>
                <a:moveTo>
                  <a:pt x="4825" y="1720"/>
                </a:moveTo>
                <a:cubicBezTo>
                  <a:pt x="4825" y="1720"/>
                  <a:pt x="4825" y="1720"/>
                  <a:pt x="4825" y="1720"/>
                </a:cubicBezTo>
                <a:cubicBezTo>
                  <a:pt x="4824" y="1720"/>
                  <a:pt x="4822" y="1719"/>
                  <a:pt x="4821" y="1719"/>
                </a:cubicBezTo>
                <a:cubicBezTo>
                  <a:pt x="4816" y="1720"/>
                  <a:pt x="4812" y="1722"/>
                  <a:pt x="4808" y="1725"/>
                </a:cubicBezTo>
                <a:cubicBezTo>
                  <a:pt x="4797" y="1735"/>
                  <a:pt x="4787" y="1751"/>
                  <a:pt x="4787" y="1752"/>
                </a:cubicBezTo>
                <a:cubicBezTo>
                  <a:pt x="4786" y="1753"/>
                  <a:pt x="4786" y="1755"/>
                  <a:pt x="4786" y="1757"/>
                </a:cubicBezTo>
                <a:cubicBezTo>
                  <a:pt x="4787" y="1758"/>
                  <a:pt x="4788" y="1759"/>
                  <a:pt x="4789" y="1759"/>
                </a:cubicBezTo>
                <a:cubicBezTo>
                  <a:pt x="4792" y="1760"/>
                  <a:pt x="4794" y="1760"/>
                  <a:pt x="4796" y="1760"/>
                </a:cubicBezTo>
                <a:cubicBezTo>
                  <a:pt x="4797" y="1760"/>
                  <a:pt x="4797" y="1760"/>
                  <a:pt x="4797" y="1760"/>
                </a:cubicBezTo>
                <a:cubicBezTo>
                  <a:pt x="4806" y="1760"/>
                  <a:pt x="4813" y="1755"/>
                  <a:pt x="4820" y="1749"/>
                </a:cubicBezTo>
                <a:cubicBezTo>
                  <a:pt x="4826" y="1743"/>
                  <a:pt x="4831" y="1737"/>
                  <a:pt x="4831" y="1729"/>
                </a:cubicBezTo>
                <a:cubicBezTo>
                  <a:pt x="4832" y="1726"/>
                  <a:pt x="4829" y="1722"/>
                  <a:pt x="4825" y="1720"/>
                </a:cubicBezTo>
                <a:close/>
                <a:moveTo>
                  <a:pt x="4791" y="2070"/>
                </a:moveTo>
                <a:cubicBezTo>
                  <a:pt x="4787" y="2070"/>
                  <a:pt x="4785" y="2072"/>
                  <a:pt x="4784" y="2072"/>
                </a:cubicBezTo>
                <a:cubicBezTo>
                  <a:pt x="4782" y="2073"/>
                  <a:pt x="4782" y="2073"/>
                  <a:pt x="4782" y="2073"/>
                </a:cubicBezTo>
                <a:cubicBezTo>
                  <a:pt x="4781" y="2073"/>
                  <a:pt x="4780" y="2073"/>
                  <a:pt x="4777" y="2071"/>
                </a:cubicBezTo>
                <a:cubicBezTo>
                  <a:pt x="4771" y="2067"/>
                  <a:pt x="4770" y="2066"/>
                  <a:pt x="4769" y="2066"/>
                </a:cubicBezTo>
                <a:cubicBezTo>
                  <a:pt x="4769" y="2065"/>
                  <a:pt x="4767" y="2062"/>
                  <a:pt x="4764" y="2055"/>
                </a:cubicBezTo>
                <a:cubicBezTo>
                  <a:pt x="4761" y="2050"/>
                  <a:pt x="4759" y="2044"/>
                  <a:pt x="4757" y="2038"/>
                </a:cubicBezTo>
                <a:cubicBezTo>
                  <a:pt x="4756" y="2035"/>
                  <a:pt x="4755" y="2033"/>
                  <a:pt x="4753" y="2030"/>
                </a:cubicBezTo>
                <a:cubicBezTo>
                  <a:pt x="4751" y="2028"/>
                  <a:pt x="4748" y="2026"/>
                  <a:pt x="4744" y="2026"/>
                </a:cubicBezTo>
                <a:cubicBezTo>
                  <a:pt x="4741" y="2026"/>
                  <a:pt x="4738" y="2027"/>
                  <a:pt x="4736" y="2028"/>
                </a:cubicBezTo>
                <a:cubicBezTo>
                  <a:pt x="4731" y="2031"/>
                  <a:pt x="4731" y="2035"/>
                  <a:pt x="4731" y="2038"/>
                </a:cubicBezTo>
                <a:cubicBezTo>
                  <a:pt x="4731" y="2046"/>
                  <a:pt x="4734" y="2055"/>
                  <a:pt x="4739" y="2061"/>
                </a:cubicBezTo>
                <a:cubicBezTo>
                  <a:pt x="4740" y="2061"/>
                  <a:pt x="4741" y="2065"/>
                  <a:pt x="4742" y="2070"/>
                </a:cubicBezTo>
                <a:cubicBezTo>
                  <a:pt x="4743" y="2074"/>
                  <a:pt x="4744" y="2080"/>
                  <a:pt x="4744" y="2083"/>
                </a:cubicBezTo>
                <a:cubicBezTo>
                  <a:pt x="4744" y="2084"/>
                  <a:pt x="4743" y="2085"/>
                  <a:pt x="4743" y="2085"/>
                </a:cubicBezTo>
                <a:cubicBezTo>
                  <a:pt x="4743" y="2086"/>
                  <a:pt x="4740" y="2088"/>
                  <a:pt x="4737" y="2091"/>
                </a:cubicBezTo>
                <a:cubicBezTo>
                  <a:pt x="4734" y="2093"/>
                  <a:pt x="4730" y="2096"/>
                  <a:pt x="4729" y="2102"/>
                </a:cubicBezTo>
                <a:cubicBezTo>
                  <a:pt x="4729" y="2106"/>
                  <a:pt x="4732" y="2109"/>
                  <a:pt x="4734" y="2111"/>
                </a:cubicBezTo>
                <a:cubicBezTo>
                  <a:pt x="4741" y="2116"/>
                  <a:pt x="4748" y="2116"/>
                  <a:pt x="4753" y="2116"/>
                </a:cubicBezTo>
                <a:cubicBezTo>
                  <a:pt x="4754" y="2116"/>
                  <a:pt x="4754" y="2116"/>
                  <a:pt x="4755" y="2116"/>
                </a:cubicBezTo>
                <a:cubicBezTo>
                  <a:pt x="4753" y="2120"/>
                  <a:pt x="4750" y="2125"/>
                  <a:pt x="4750" y="2131"/>
                </a:cubicBezTo>
                <a:cubicBezTo>
                  <a:pt x="4749" y="2129"/>
                  <a:pt x="4747" y="2127"/>
                  <a:pt x="4744" y="2125"/>
                </a:cubicBezTo>
                <a:cubicBezTo>
                  <a:pt x="4743" y="2123"/>
                  <a:pt x="4740" y="2121"/>
                  <a:pt x="4738" y="2119"/>
                </a:cubicBezTo>
                <a:cubicBezTo>
                  <a:pt x="4736" y="2117"/>
                  <a:pt x="4735" y="2115"/>
                  <a:pt x="4730" y="2115"/>
                </a:cubicBezTo>
                <a:cubicBezTo>
                  <a:pt x="4728" y="2114"/>
                  <a:pt x="4724" y="2118"/>
                  <a:pt x="4724" y="2120"/>
                </a:cubicBezTo>
                <a:cubicBezTo>
                  <a:pt x="4724" y="2121"/>
                  <a:pt x="4722" y="2122"/>
                  <a:pt x="4719" y="2124"/>
                </a:cubicBezTo>
                <a:cubicBezTo>
                  <a:pt x="4716" y="2126"/>
                  <a:pt x="4711" y="2128"/>
                  <a:pt x="4707" y="2132"/>
                </a:cubicBezTo>
                <a:cubicBezTo>
                  <a:pt x="4703" y="2137"/>
                  <a:pt x="4702" y="2141"/>
                  <a:pt x="4701" y="2143"/>
                </a:cubicBezTo>
                <a:cubicBezTo>
                  <a:pt x="4700" y="2145"/>
                  <a:pt x="4698" y="2148"/>
                  <a:pt x="4688" y="2155"/>
                </a:cubicBezTo>
                <a:cubicBezTo>
                  <a:pt x="4669" y="2169"/>
                  <a:pt x="4645" y="2183"/>
                  <a:pt x="4638" y="2199"/>
                </a:cubicBezTo>
                <a:cubicBezTo>
                  <a:pt x="4637" y="2202"/>
                  <a:pt x="4636" y="2205"/>
                  <a:pt x="4636" y="2207"/>
                </a:cubicBezTo>
                <a:cubicBezTo>
                  <a:pt x="4636" y="2214"/>
                  <a:pt x="4640" y="2220"/>
                  <a:pt x="4646" y="2223"/>
                </a:cubicBezTo>
                <a:cubicBezTo>
                  <a:pt x="4651" y="2226"/>
                  <a:pt x="4658" y="2228"/>
                  <a:pt x="4666" y="2228"/>
                </a:cubicBezTo>
                <a:cubicBezTo>
                  <a:pt x="4673" y="2229"/>
                  <a:pt x="4676" y="2230"/>
                  <a:pt x="4680" y="2230"/>
                </a:cubicBezTo>
                <a:cubicBezTo>
                  <a:pt x="4680" y="2230"/>
                  <a:pt x="4680" y="2230"/>
                  <a:pt x="4680" y="2230"/>
                </a:cubicBezTo>
                <a:cubicBezTo>
                  <a:pt x="4684" y="2230"/>
                  <a:pt x="4687" y="2228"/>
                  <a:pt x="4689" y="2225"/>
                </a:cubicBezTo>
                <a:cubicBezTo>
                  <a:pt x="4692" y="2223"/>
                  <a:pt x="4694" y="2220"/>
                  <a:pt x="4698" y="2215"/>
                </a:cubicBezTo>
                <a:cubicBezTo>
                  <a:pt x="4710" y="2199"/>
                  <a:pt x="4721" y="2189"/>
                  <a:pt x="4736" y="2176"/>
                </a:cubicBezTo>
                <a:cubicBezTo>
                  <a:pt x="4750" y="2162"/>
                  <a:pt x="4753" y="2145"/>
                  <a:pt x="4753" y="2139"/>
                </a:cubicBezTo>
                <a:cubicBezTo>
                  <a:pt x="4755" y="2141"/>
                  <a:pt x="4757" y="2142"/>
                  <a:pt x="4759" y="2143"/>
                </a:cubicBezTo>
                <a:cubicBezTo>
                  <a:pt x="4761" y="2143"/>
                  <a:pt x="4762" y="2143"/>
                  <a:pt x="4764" y="2143"/>
                </a:cubicBezTo>
                <a:cubicBezTo>
                  <a:pt x="4771" y="2143"/>
                  <a:pt x="4775" y="2138"/>
                  <a:pt x="4778" y="2134"/>
                </a:cubicBezTo>
                <a:cubicBezTo>
                  <a:pt x="4781" y="2129"/>
                  <a:pt x="4783" y="2124"/>
                  <a:pt x="4785" y="2120"/>
                </a:cubicBezTo>
                <a:cubicBezTo>
                  <a:pt x="4789" y="2110"/>
                  <a:pt x="4793" y="2103"/>
                  <a:pt x="4799" y="2099"/>
                </a:cubicBezTo>
                <a:cubicBezTo>
                  <a:pt x="4803" y="2096"/>
                  <a:pt x="4805" y="2091"/>
                  <a:pt x="4805" y="2088"/>
                </a:cubicBezTo>
                <a:cubicBezTo>
                  <a:pt x="4805" y="2083"/>
                  <a:pt x="4803" y="2079"/>
                  <a:pt x="4801" y="2076"/>
                </a:cubicBezTo>
                <a:cubicBezTo>
                  <a:pt x="4798" y="2073"/>
                  <a:pt x="4796" y="2070"/>
                  <a:pt x="4791" y="2070"/>
                </a:cubicBezTo>
                <a:close/>
                <a:moveTo>
                  <a:pt x="4639" y="1836"/>
                </a:moveTo>
                <a:cubicBezTo>
                  <a:pt x="4646" y="1836"/>
                  <a:pt x="4651" y="1831"/>
                  <a:pt x="4652" y="1824"/>
                </a:cubicBezTo>
                <a:cubicBezTo>
                  <a:pt x="4646" y="1823"/>
                  <a:pt x="4646" y="1823"/>
                  <a:pt x="4646" y="1823"/>
                </a:cubicBezTo>
                <a:cubicBezTo>
                  <a:pt x="4652" y="1825"/>
                  <a:pt x="4652" y="1825"/>
                  <a:pt x="4652" y="1825"/>
                </a:cubicBezTo>
                <a:cubicBezTo>
                  <a:pt x="4652" y="1823"/>
                  <a:pt x="4652" y="1822"/>
                  <a:pt x="4652" y="1821"/>
                </a:cubicBezTo>
                <a:cubicBezTo>
                  <a:pt x="4652" y="1811"/>
                  <a:pt x="4644" y="1801"/>
                  <a:pt x="4624" y="1796"/>
                </a:cubicBezTo>
                <a:cubicBezTo>
                  <a:pt x="4620" y="1795"/>
                  <a:pt x="4617" y="1794"/>
                  <a:pt x="4614" y="1794"/>
                </a:cubicBezTo>
                <a:cubicBezTo>
                  <a:pt x="4613" y="1794"/>
                  <a:pt x="4611" y="1794"/>
                  <a:pt x="4609" y="1795"/>
                </a:cubicBezTo>
                <a:cubicBezTo>
                  <a:pt x="4607" y="1796"/>
                  <a:pt x="4606" y="1799"/>
                  <a:pt x="4606" y="1802"/>
                </a:cubicBezTo>
                <a:cubicBezTo>
                  <a:pt x="4606" y="1805"/>
                  <a:pt x="4607" y="1806"/>
                  <a:pt x="4608" y="1807"/>
                </a:cubicBezTo>
                <a:cubicBezTo>
                  <a:pt x="4610" y="1812"/>
                  <a:pt x="4615" y="1816"/>
                  <a:pt x="4617" y="1821"/>
                </a:cubicBezTo>
                <a:cubicBezTo>
                  <a:pt x="4623" y="1829"/>
                  <a:pt x="4630" y="1836"/>
                  <a:pt x="4639" y="1836"/>
                </a:cubicBezTo>
                <a:cubicBezTo>
                  <a:pt x="4639" y="1836"/>
                  <a:pt x="4639" y="1836"/>
                  <a:pt x="4639" y="1836"/>
                </a:cubicBezTo>
                <a:close/>
                <a:moveTo>
                  <a:pt x="2422" y="804"/>
                </a:moveTo>
                <a:cubicBezTo>
                  <a:pt x="2416" y="804"/>
                  <a:pt x="2413" y="808"/>
                  <a:pt x="2409" y="815"/>
                </a:cubicBezTo>
                <a:cubicBezTo>
                  <a:pt x="2409" y="816"/>
                  <a:pt x="2408" y="817"/>
                  <a:pt x="2408" y="819"/>
                </a:cubicBezTo>
                <a:cubicBezTo>
                  <a:pt x="2408" y="823"/>
                  <a:pt x="2411" y="826"/>
                  <a:pt x="2413" y="827"/>
                </a:cubicBezTo>
                <a:cubicBezTo>
                  <a:pt x="2415" y="828"/>
                  <a:pt x="2417" y="828"/>
                  <a:pt x="2420" y="828"/>
                </a:cubicBezTo>
                <a:cubicBezTo>
                  <a:pt x="2424" y="828"/>
                  <a:pt x="2429" y="827"/>
                  <a:pt x="2432" y="821"/>
                </a:cubicBezTo>
                <a:cubicBezTo>
                  <a:pt x="2432" y="821"/>
                  <a:pt x="2432" y="821"/>
                  <a:pt x="2432" y="821"/>
                </a:cubicBezTo>
                <a:cubicBezTo>
                  <a:pt x="2432" y="819"/>
                  <a:pt x="2433" y="818"/>
                  <a:pt x="2433" y="816"/>
                </a:cubicBezTo>
                <a:cubicBezTo>
                  <a:pt x="2433" y="813"/>
                  <a:pt x="2432" y="811"/>
                  <a:pt x="2430" y="809"/>
                </a:cubicBezTo>
                <a:cubicBezTo>
                  <a:pt x="2429" y="806"/>
                  <a:pt x="2426" y="804"/>
                  <a:pt x="2422" y="804"/>
                </a:cubicBezTo>
                <a:close/>
                <a:moveTo>
                  <a:pt x="4023" y="1526"/>
                </a:moveTo>
                <a:cubicBezTo>
                  <a:pt x="4023" y="1530"/>
                  <a:pt x="4024" y="1536"/>
                  <a:pt x="4028" y="1543"/>
                </a:cubicBezTo>
                <a:cubicBezTo>
                  <a:pt x="4037" y="1556"/>
                  <a:pt x="4051" y="1557"/>
                  <a:pt x="4055" y="1557"/>
                </a:cubicBezTo>
                <a:cubicBezTo>
                  <a:pt x="4056" y="1557"/>
                  <a:pt x="4057" y="1557"/>
                  <a:pt x="4057" y="1557"/>
                </a:cubicBezTo>
                <a:cubicBezTo>
                  <a:pt x="4060" y="1557"/>
                  <a:pt x="4063" y="1554"/>
                  <a:pt x="4063" y="1551"/>
                </a:cubicBezTo>
                <a:cubicBezTo>
                  <a:pt x="4063" y="1550"/>
                  <a:pt x="4062" y="1542"/>
                  <a:pt x="4060" y="1532"/>
                </a:cubicBezTo>
                <a:cubicBezTo>
                  <a:pt x="4058" y="1522"/>
                  <a:pt x="4055" y="1511"/>
                  <a:pt x="4046" y="1504"/>
                </a:cubicBezTo>
                <a:cubicBezTo>
                  <a:pt x="4044" y="1503"/>
                  <a:pt x="4043" y="1502"/>
                  <a:pt x="4041" y="1501"/>
                </a:cubicBezTo>
                <a:cubicBezTo>
                  <a:pt x="4042" y="1501"/>
                  <a:pt x="4043" y="1501"/>
                  <a:pt x="4043" y="1501"/>
                </a:cubicBezTo>
                <a:cubicBezTo>
                  <a:pt x="4049" y="1501"/>
                  <a:pt x="4053" y="1500"/>
                  <a:pt x="4057" y="1497"/>
                </a:cubicBezTo>
                <a:cubicBezTo>
                  <a:pt x="4061" y="1495"/>
                  <a:pt x="4063" y="1490"/>
                  <a:pt x="4063" y="1486"/>
                </a:cubicBezTo>
                <a:cubicBezTo>
                  <a:pt x="4063" y="1484"/>
                  <a:pt x="4063" y="1482"/>
                  <a:pt x="4062" y="1480"/>
                </a:cubicBezTo>
                <a:cubicBezTo>
                  <a:pt x="4058" y="1471"/>
                  <a:pt x="4050" y="1471"/>
                  <a:pt x="4043" y="1471"/>
                </a:cubicBezTo>
                <a:cubicBezTo>
                  <a:pt x="4035" y="1471"/>
                  <a:pt x="4027" y="1472"/>
                  <a:pt x="4023" y="1473"/>
                </a:cubicBezTo>
                <a:cubicBezTo>
                  <a:pt x="4023" y="1473"/>
                  <a:pt x="4023" y="1473"/>
                  <a:pt x="4022" y="1473"/>
                </a:cubicBezTo>
                <a:cubicBezTo>
                  <a:pt x="4021" y="1473"/>
                  <a:pt x="4017" y="1472"/>
                  <a:pt x="4015" y="1471"/>
                </a:cubicBezTo>
                <a:cubicBezTo>
                  <a:pt x="4012" y="1470"/>
                  <a:pt x="4010" y="1469"/>
                  <a:pt x="4010" y="1469"/>
                </a:cubicBezTo>
                <a:cubicBezTo>
                  <a:pt x="4009" y="1467"/>
                  <a:pt x="4007" y="1467"/>
                  <a:pt x="4005" y="1468"/>
                </a:cubicBezTo>
                <a:cubicBezTo>
                  <a:pt x="3999" y="1470"/>
                  <a:pt x="3996" y="1475"/>
                  <a:pt x="3995" y="1480"/>
                </a:cubicBezTo>
                <a:cubicBezTo>
                  <a:pt x="3994" y="1485"/>
                  <a:pt x="3994" y="1489"/>
                  <a:pt x="3993" y="1496"/>
                </a:cubicBezTo>
                <a:cubicBezTo>
                  <a:pt x="3992" y="1504"/>
                  <a:pt x="3986" y="1511"/>
                  <a:pt x="3986" y="1520"/>
                </a:cubicBezTo>
                <a:cubicBezTo>
                  <a:pt x="3986" y="1525"/>
                  <a:pt x="3988" y="1529"/>
                  <a:pt x="3992" y="1532"/>
                </a:cubicBezTo>
                <a:cubicBezTo>
                  <a:pt x="3994" y="1534"/>
                  <a:pt x="3996" y="1534"/>
                  <a:pt x="3999" y="1534"/>
                </a:cubicBezTo>
                <a:cubicBezTo>
                  <a:pt x="4007" y="1534"/>
                  <a:pt x="4011" y="1529"/>
                  <a:pt x="4016" y="1525"/>
                </a:cubicBezTo>
                <a:cubicBezTo>
                  <a:pt x="4019" y="1522"/>
                  <a:pt x="4021" y="1520"/>
                  <a:pt x="4022" y="1519"/>
                </a:cubicBezTo>
                <a:cubicBezTo>
                  <a:pt x="4023" y="1521"/>
                  <a:pt x="4023" y="1523"/>
                  <a:pt x="4023" y="1526"/>
                </a:cubicBezTo>
                <a:close/>
                <a:moveTo>
                  <a:pt x="4598" y="517"/>
                </a:moveTo>
                <a:cubicBezTo>
                  <a:pt x="4598" y="516"/>
                  <a:pt x="4598" y="514"/>
                  <a:pt x="4599" y="511"/>
                </a:cubicBezTo>
                <a:cubicBezTo>
                  <a:pt x="4603" y="504"/>
                  <a:pt x="4605" y="498"/>
                  <a:pt x="4608" y="496"/>
                </a:cubicBezTo>
                <a:cubicBezTo>
                  <a:pt x="4611" y="493"/>
                  <a:pt x="4618" y="490"/>
                  <a:pt x="4634" y="490"/>
                </a:cubicBezTo>
                <a:cubicBezTo>
                  <a:pt x="4662" y="490"/>
                  <a:pt x="4659" y="492"/>
                  <a:pt x="4672" y="492"/>
                </a:cubicBezTo>
                <a:cubicBezTo>
                  <a:pt x="4676" y="492"/>
                  <a:pt x="4680" y="492"/>
                  <a:pt x="4685" y="491"/>
                </a:cubicBezTo>
                <a:cubicBezTo>
                  <a:pt x="4700" y="491"/>
                  <a:pt x="4711" y="485"/>
                  <a:pt x="4721" y="480"/>
                </a:cubicBezTo>
                <a:cubicBezTo>
                  <a:pt x="4730" y="474"/>
                  <a:pt x="4739" y="469"/>
                  <a:pt x="4751" y="465"/>
                </a:cubicBezTo>
                <a:cubicBezTo>
                  <a:pt x="4771" y="458"/>
                  <a:pt x="4788" y="454"/>
                  <a:pt x="4797" y="454"/>
                </a:cubicBezTo>
                <a:cubicBezTo>
                  <a:pt x="4800" y="454"/>
                  <a:pt x="4801" y="454"/>
                  <a:pt x="4802" y="455"/>
                </a:cubicBezTo>
                <a:cubicBezTo>
                  <a:pt x="4805" y="456"/>
                  <a:pt x="4809" y="457"/>
                  <a:pt x="4812" y="457"/>
                </a:cubicBezTo>
                <a:cubicBezTo>
                  <a:pt x="4815" y="457"/>
                  <a:pt x="4818" y="457"/>
                  <a:pt x="4821" y="455"/>
                </a:cubicBezTo>
                <a:cubicBezTo>
                  <a:pt x="4823" y="454"/>
                  <a:pt x="4826" y="450"/>
                  <a:pt x="4826" y="447"/>
                </a:cubicBezTo>
                <a:cubicBezTo>
                  <a:pt x="4826" y="443"/>
                  <a:pt x="4824" y="440"/>
                  <a:pt x="4822" y="437"/>
                </a:cubicBezTo>
                <a:cubicBezTo>
                  <a:pt x="4818" y="433"/>
                  <a:pt x="4813" y="428"/>
                  <a:pt x="4809" y="424"/>
                </a:cubicBezTo>
                <a:cubicBezTo>
                  <a:pt x="4808" y="423"/>
                  <a:pt x="4806" y="421"/>
                  <a:pt x="4805" y="420"/>
                </a:cubicBezTo>
                <a:cubicBezTo>
                  <a:pt x="4809" y="419"/>
                  <a:pt x="4812" y="418"/>
                  <a:pt x="4816" y="416"/>
                </a:cubicBezTo>
                <a:cubicBezTo>
                  <a:pt x="4821" y="413"/>
                  <a:pt x="4826" y="409"/>
                  <a:pt x="4828" y="402"/>
                </a:cubicBezTo>
                <a:cubicBezTo>
                  <a:pt x="4828" y="400"/>
                  <a:pt x="4828" y="398"/>
                  <a:pt x="4828" y="396"/>
                </a:cubicBezTo>
                <a:cubicBezTo>
                  <a:pt x="4828" y="385"/>
                  <a:pt x="4821" y="374"/>
                  <a:pt x="4822" y="367"/>
                </a:cubicBezTo>
                <a:cubicBezTo>
                  <a:pt x="4822" y="365"/>
                  <a:pt x="4822" y="364"/>
                  <a:pt x="4823" y="362"/>
                </a:cubicBezTo>
                <a:cubicBezTo>
                  <a:pt x="4826" y="359"/>
                  <a:pt x="4827" y="355"/>
                  <a:pt x="4827" y="351"/>
                </a:cubicBezTo>
                <a:cubicBezTo>
                  <a:pt x="4827" y="344"/>
                  <a:pt x="4823" y="338"/>
                  <a:pt x="4818" y="334"/>
                </a:cubicBezTo>
                <a:cubicBezTo>
                  <a:pt x="4813" y="330"/>
                  <a:pt x="4807" y="326"/>
                  <a:pt x="4801" y="325"/>
                </a:cubicBezTo>
                <a:cubicBezTo>
                  <a:pt x="4798" y="324"/>
                  <a:pt x="4793" y="324"/>
                  <a:pt x="4788" y="324"/>
                </a:cubicBezTo>
                <a:cubicBezTo>
                  <a:pt x="4778" y="324"/>
                  <a:pt x="4766" y="325"/>
                  <a:pt x="4756" y="325"/>
                </a:cubicBezTo>
                <a:cubicBezTo>
                  <a:pt x="4746" y="325"/>
                  <a:pt x="4738" y="323"/>
                  <a:pt x="4737" y="323"/>
                </a:cubicBezTo>
                <a:cubicBezTo>
                  <a:pt x="4730" y="318"/>
                  <a:pt x="4719" y="313"/>
                  <a:pt x="4710" y="312"/>
                </a:cubicBezTo>
                <a:cubicBezTo>
                  <a:pt x="4707" y="312"/>
                  <a:pt x="4704" y="313"/>
                  <a:pt x="4702" y="315"/>
                </a:cubicBezTo>
                <a:cubicBezTo>
                  <a:pt x="4698" y="319"/>
                  <a:pt x="4695" y="325"/>
                  <a:pt x="4691" y="332"/>
                </a:cubicBezTo>
                <a:cubicBezTo>
                  <a:pt x="4689" y="335"/>
                  <a:pt x="4688" y="338"/>
                  <a:pt x="4687" y="340"/>
                </a:cubicBezTo>
                <a:cubicBezTo>
                  <a:pt x="4686" y="339"/>
                  <a:pt x="4684" y="338"/>
                  <a:pt x="4681" y="333"/>
                </a:cubicBezTo>
                <a:cubicBezTo>
                  <a:pt x="4676" y="325"/>
                  <a:pt x="4666" y="323"/>
                  <a:pt x="4657" y="321"/>
                </a:cubicBezTo>
                <a:cubicBezTo>
                  <a:pt x="4647" y="319"/>
                  <a:pt x="4636" y="319"/>
                  <a:pt x="4628" y="319"/>
                </a:cubicBezTo>
                <a:cubicBezTo>
                  <a:pt x="4624" y="319"/>
                  <a:pt x="4621" y="319"/>
                  <a:pt x="4619" y="319"/>
                </a:cubicBezTo>
                <a:cubicBezTo>
                  <a:pt x="4607" y="319"/>
                  <a:pt x="4594" y="322"/>
                  <a:pt x="4582" y="323"/>
                </a:cubicBezTo>
                <a:cubicBezTo>
                  <a:pt x="4575" y="324"/>
                  <a:pt x="4570" y="326"/>
                  <a:pt x="4567" y="325"/>
                </a:cubicBezTo>
                <a:cubicBezTo>
                  <a:pt x="4564" y="325"/>
                  <a:pt x="4562" y="325"/>
                  <a:pt x="4558" y="321"/>
                </a:cubicBezTo>
                <a:cubicBezTo>
                  <a:pt x="4548" y="310"/>
                  <a:pt x="4534" y="306"/>
                  <a:pt x="4531" y="303"/>
                </a:cubicBezTo>
                <a:cubicBezTo>
                  <a:pt x="4528" y="300"/>
                  <a:pt x="4524" y="300"/>
                  <a:pt x="4520" y="299"/>
                </a:cubicBezTo>
                <a:cubicBezTo>
                  <a:pt x="4516" y="298"/>
                  <a:pt x="4511" y="298"/>
                  <a:pt x="4505" y="298"/>
                </a:cubicBezTo>
                <a:cubicBezTo>
                  <a:pt x="4496" y="298"/>
                  <a:pt x="4486" y="299"/>
                  <a:pt x="4477" y="300"/>
                </a:cubicBezTo>
                <a:cubicBezTo>
                  <a:pt x="4461" y="302"/>
                  <a:pt x="4445" y="303"/>
                  <a:pt x="4440" y="303"/>
                </a:cubicBezTo>
                <a:cubicBezTo>
                  <a:pt x="4439" y="302"/>
                  <a:pt x="4437" y="301"/>
                  <a:pt x="4435" y="300"/>
                </a:cubicBezTo>
                <a:cubicBezTo>
                  <a:pt x="4431" y="298"/>
                  <a:pt x="4426" y="295"/>
                  <a:pt x="4419" y="290"/>
                </a:cubicBezTo>
                <a:cubicBezTo>
                  <a:pt x="4412" y="285"/>
                  <a:pt x="4405" y="281"/>
                  <a:pt x="4399" y="278"/>
                </a:cubicBezTo>
                <a:cubicBezTo>
                  <a:pt x="4393" y="275"/>
                  <a:pt x="4388" y="273"/>
                  <a:pt x="4383" y="272"/>
                </a:cubicBezTo>
                <a:cubicBezTo>
                  <a:pt x="4379" y="272"/>
                  <a:pt x="4363" y="275"/>
                  <a:pt x="4350" y="275"/>
                </a:cubicBezTo>
                <a:cubicBezTo>
                  <a:pt x="4344" y="276"/>
                  <a:pt x="4339" y="274"/>
                  <a:pt x="4339" y="274"/>
                </a:cubicBezTo>
                <a:cubicBezTo>
                  <a:pt x="4331" y="267"/>
                  <a:pt x="4324" y="263"/>
                  <a:pt x="4316" y="262"/>
                </a:cubicBezTo>
                <a:cubicBezTo>
                  <a:pt x="4321" y="260"/>
                  <a:pt x="4327" y="259"/>
                  <a:pt x="4334" y="257"/>
                </a:cubicBezTo>
                <a:cubicBezTo>
                  <a:pt x="4343" y="254"/>
                  <a:pt x="4351" y="251"/>
                  <a:pt x="4351" y="251"/>
                </a:cubicBezTo>
                <a:cubicBezTo>
                  <a:pt x="4353" y="250"/>
                  <a:pt x="4354" y="249"/>
                  <a:pt x="4355" y="247"/>
                </a:cubicBezTo>
                <a:cubicBezTo>
                  <a:pt x="4355" y="246"/>
                  <a:pt x="4355" y="244"/>
                  <a:pt x="4354" y="242"/>
                </a:cubicBezTo>
                <a:cubicBezTo>
                  <a:pt x="4354" y="242"/>
                  <a:pt x="4351" y="238"/>
                  <a:pt x="4347" y="234"/>
                </a:cubicBezTo>
                <a:cubicBezTo>
                  <a:pt x="4343" y="229"/>
                  <a:pt x="4337" y="224"/>
                  <a:pt x="4328" y="224"/>
                </a:cubicBezTo>
                <a:cubicBezTo>
                  <a:pt x="4324" y="224"/>
                  <a:pt x="4316" y="223"/>
                  <a:pt x="4308" y="221"/>
                </a:cubicBezTo>
                <a:cubicBezTo>
                  <a:pt x="4301" y="219"/>
                  <a:pt x="4295" y="217"/>
                  <a:pt x="4290" y="217"/>
                </a:cubicBezTo>
                <a:cubicBezTo>
                  <a:pt x="4288" y="217"/>
                  <a:pt x="4285" y="218"/>
                  <a:pt x="4284" y="219"/>
                </a:cubicBezTo>
                <a:cubicBezTo>
                  <a:pt x="4283" y="220"/>
                  <a:pt x="4282" y="221"/>
                  <a:pt x="4282" y="222"/>
                </a:cubicBezTo>
                <a:cubicBezTo>
                  <a:pt x="4281" y="222"/>
                  <a:pt x="4280" y="222"/>
                  <a:pt x="4279" y="222"/>
                </a:cubicBezTo>
                <a:cubicBezTo>
                  <a:pt x="4271" y="220"/>
                  <a:pt x="4264" y="216"/>
                  <a:pt x="4255" y="216"/>
                </a:cubicBezTo>
                <a:cubicBezTo>
                  <a:pt x="4251" y="216"/>
                  <a:pt x="4247" y="217"/>
                  <a:pt x="4244" y="220"/>
                </a:cubicBezTo>
                <a:cubicBezTo>
                  <a:pt x="4242" y="222"/>
                  <a:pt x="4239" y="224"/>
                  <a:pt x="4235" y="226"/>
                </a:cubicBezTo>
                <a:cubicBezTo>
                  <a:pt x="4232" y="229"/>
                  <a:pt x="4229" y="232"/>
                  <a:pt x="4228" y="238"/>
                </a:cubicBezTo>
                <a:cubicBezTo>
                  <a:pt x="4228" y="241"/>
                  <a:pt x="4230" y="244"/>
                  <a:pt x="4232" y="246"/>
                </a:cubicBezTo>
                <a:cubicBezTo>
                  <a:pt x="4234" y="248"/>
                  <a:pt x="4237" y="249"/>
                  <a:pt x="4240" y="250"/>
                </a:cubicBezTo>
                <a:cubicBezTo>
                  <a:pt x="4250" y="253"/>
                  <a:pt x="4259" y="253"/>
                  <a:pt x="4265" y="253"/>
                </a:cubicBezTo>
                <a:cubicBezTo>
                  <a:pt x="4272" y="253"/>
                  <a:pt x="4275" y="255"/>
                  <a:pt x="4275" y="255"/>
                </a:cubicBezTo>
                <a:cubicBezTo>
                  <a:pt x="4276" y="257"/>
                  <a:pt x="4276" y="258"/>
                  <a:pt x="4276" y="259"/>
                </a:cubicBezTo>
                <a:cubicBezTo>
                  <a:pt x="4276" y="261"/>
                  <a:pt x="4274" y="264"/>
                  <a:pt x="4274" y="270"/>
                </a:cubicBezTo>
                <a:cubicBezTo>
                  <a:pt x="4274" y="270"/>
                  <a:pt x="4272" y="276"/>
                  <a:pt x="4269" y="280"/>
                </a:cubicBezTo>
                <a:cubicBezTo>
                  <a:pt x="4267" y="284"/>
                  <a:pt x="4263" y="288"/>
                  <a:pt x="4262" y="288"/>
                </a:cubicBezTo>
                <a:cubicBezTo>
                  <a:pt x="4262" y="288"/>
                  <a:pt x="4262" y="288"/>
                  <a:pt x="4262" y="288"/>
                </a:cubicBezTo>
                <a:cubicBezTo>
                  <a:pt x="4260" y="288"/>
                  <a:pt x="4257" y="287"/>
                  <a:pt x="4251" y="287"/>
                </a:cubicBezTo>
                <a:cubicBezTo>
                  <a:pt x="4248" y="287"/>
                  <a:pt x="4243" y="289"/>
                  <a:pt x="4238" y="292"/>
                </a:cubicBezTo>
                <a:cubicBezTo>
                  <a:pt x="4234" y="294"/>
                  <a:pt x="4224" y="296"/>
                  <a:pt x="4216" y="296"/>
                </a:cubicBezTo>
                <a:cubicBezTo>
                  <a:pt x="4213" y="296"/>
                  <a:pt x="4211" y="296"/>
                  <a:pt x="4210" y="296"/>
                </a:cubicBezTo>
                <a:cubicBezTo>
                  <a:pt x="4206" y="296"/>
                  <a:pt x="4203" y="295"/>
                  <a:pt x="4201" y="295"/>
                </a:cubicBezTo>
                <a:cubicBezTo>
                  <a:pt x="4199" y="296"/>
                  <a:pt x="4197" y="295"/>
                  <a:pt x="4196" y="296"/>
                </a:cubicBezTo>
                <a:cubicBezTo>
                  <a:pt x="4195" y="295"/>
                  <a:pt x="4194" y="294"/>
                  <a:pt x="4193" y="293"/>
                </a:cubicBezTo>
                <a:cubicBezTo>
                  <a:pt x="4190" y="291"/>
                  <a:pt x="4188" y="288"/>
                  <a:pt x="4182" y="287"/>
                </a:cubicBezTo>
                <a:cubicBezTo>
                  <a:pt x="4181" y="287"/>
                  <a:pt x="4180" y="288"/>
                  <a:pt x="4178" y="288"/>
                </a:cubicBezTo>
                <a:cubicBezTo>
                  <a:pt x="4174" y="291"/>
                  <a:pt x="4169" y="295"/>
                  <a:pt x="4164" y="300"/>
                </a:cubicBezTo>
                <a:cubicBezTo>
                  <a:pt x="4159" y="304"/>
                  <a:pt x="4152" y="307"/>
                  <a:pt x="4152" y="307"/>
                </a:cubicBezTo>
                <a:cubicBezTo>
                  <a:pt x="4152" y="307"/>
                  <a:pt x="4152" y="307"/>
                  <a:pt x="4152" y="307"/>
                </a:cubicBezTo>
                <a:cubicBezTo>
                  <a:pt x="4148" y="306"/>
                  <a:pt x="4139" y="298"/>
                  <a:pt x="4139" y="291"/>
                </a:cubicBezTo>
                <a:cubicBezTo>
                  <a:pt x="4139" y="285"/>
                  <a:pt x="4139" y="278"/>
                  <a:pt x="4137" y="272"/>
                </a:cubicBezTo>
                <a:cubicBezTo>
                  <a:pt x="4136" y="267"/>
                  <a:pt x="4135" y="262"/>
                  <a:pt x="4130" y="258"/>
                </a:cubicBezTo>
                <a:cubicBezTo>
                  <a:pt x="4128" y="257"/>
                  <a:pt x="4126" y="257"/>
                  <a:pt x="4124" y="256"/>
                </a:cubicBezTo>
                <a:cubicBezTo>
                  <a:pt x="4118" y="255"/>
                  <a:pt x="4108" y="254"/>
                  <a:pt x="4099" y="254"/>
                </a:cubicBezTo>
                <a:cubicBezTo>
                  <a:pt x="4095" y="254"/>
                  <a:pt x="4091" y="254"/>
                  <a:pt x="4088" y="255"/>
                </a:cubicBezTo>
                <a:cubicBezTo>
                  <a:pt x="4084" y="255"/>
                  <a:pt x="4074" y="256"/>
                  <a:pt x="4065" y="258"/>
                </a:cubicBezTo>
                <a:cubicBezTo>
                  <a:pt x="4060" y="259"/>
                  <a:pt x="4056" y="260"/>
                  <a:pt x="4052" y="261"/>
                </a:cubicBezTo>
                <a:cubicBezTo>
                  <a:pt x="4048" y="262"/>
                  <a:pt x="4045" y="263"/>
                  <a:pt x="4042" y="266"/>
                </a:cubicBezTo>
                <a:cubicBezTo>
                  <a:pt x="4040" y="269"/>
                  <a:pt x="4027" y="274"/>
                  <a:pt x="4021" y="274"/>
                </a:cubicBezTo>
                <a:cubicBezTo>
                  <a:pt x="4020" y="274"/>
                  <a:pt x="4016" y="272"/>
                  <a:pt x="4011" y="269"/>
                </a:cubicBezTo>
                <a:cubicBezTo>
                  <a:pt x="4006" y="267"/>
                  <a:pt x="3999" y="263"/>
                  <a:pt x="3990" y="261"/>
                </a:cubicBezTo>
                <a:cubicBezTo>
                  <a:pt x="3976" y="259"/>
                  <a:pt x="3953" y="259"/>
                  <a:pt x="3939" y="259"/>
                </a:cubicBezTo>
                <a:cubicBezTo>
                  <a:pt x="3933" y="259"/>
                  <a:pt x="3930" y="260"/>
                  <a:pt x="3927" y="260"/>
                </a:cubicBezTo>
                <a:cubicBezTo>
                  <a:pt x="3927" y="260"/>
                  <a:pt x="3927" y="260"/>
                  <a:pt x="3927" y="260"/>
                </a:cubicBezTo>
                <a:cubicBezTo>
                  <a:pt x="3926" y="260"/>
                  <a:pt x="3923" y="259"/>
                  <a:pt x="3922" y="259"/>
                </a:cubicBezTo>
                <a:cubicBezTo>
                  <a:pt x="3924" y="256"/>
                  <a:pt x="3927" y="253"/>
                  <a:pt x="3930" y="250"/>
                </a:cubicBezTo>
                <a:cubicBezTo>
                  <a:pt x="3933" y="244"/>
                  <a:pt x="3937" y="239"/>
                  <a:pt x="3937" y="232"/>
                </a:cubicBezTo>
                <a:cubicBezTo>
                  <a:pt x="3937" y="227"/>
                  <a:pt x="3935" y="223"/>
                  <a:pt x="3931" y="220"/>
                </a:cubicBezTo>
                <a:cubicBezTo>
                  <a:pt x="3918" y="210"/>
                  <a:pt x="3895" y="211"/>
                  <a:pt x="3885" y="209"/>
                </a:cubicBezTo>
                <a:cubicBezTo>
                  <a:pt x="3878" y="208"/>
                  <a:pt x="3870" y="206"/>
                  <a:pt x="3861" y="206"/>
                </a:cubicBezTo>
                <a:cubicBezTo>
                  <a:pt x="3856" y="206"/>
                  <a:pt x="3851" y="207"/>
                  <a:pt x="3846" y="208"/>
                </a:cubicBezTo>
                <a:cubicBezTo>
                  <a:pt x="3840" y="209"/>
                  <a:pt x="3835" y="211"/>
                  <a:pt x="3831" y="213"/>
                </a:cubicBezTo>
                <a:cubicBezTo>
                  <a:pt x="3830" y="213"/>
                  <a:pt x="3830" y="213"/>
                  <a:pt x="3830" y="213"/>
                </a:cubicBezTo>
                <a:cubicBezTo>
                  <a:pt x="3830" y="212"/>
                  <a:pt x="3829" y="211"/>
                  <a:pt x="3829" y="211"/>
                </a:cubicBezTo>
                <a:cubicBezTo>
                  <a:pt x="3828" y="210"/>
                  <a:pt x="3828" y="210"/>
                  <a:pt x="3827" y="210"/>
                </a:cubicBezTo>
                <a:cubicBezTo>
                  <a:pt x="3826" y="209"/>
                  <a:pt x="3823" y="207"/>
                  <a:pt x="3817" y="204"/>
                </a:cubicBezTo>
                <a:cubicBezTo>
                  <a:pt x="3802" y="197"/>
                  <a:pt x="3791" y="194"/>
                  <a:pt x="3783" y="194"/>
                </a:cubicBezTo>
                <a:cubicBezTo>
                  <a:pt x="3777" y="194"/>
                  <a:pt x="3772" y="195"/>
                  <a:pt x="3768" y="197"/>
                </a:cubicBezTo>
                <a:cubicBezTo>
                  <a:pt x="3766" y="199"/>
                  <a:pt x="3765" y="200"/>
                  <a:pt x="3764" y="201"/>
                </a:cubicBezTo>
                <a:cubicBezTo>
                  <a:pt x="3762" y="203"/>
                  <a:pt x="3763" y="202"/>
                  <a:pt x="3762" y="203"/>
                </a:cubicBezTo>
                <a:cubicBezTo>
                  <a:pt x="3761" y="203"/>
                  <a:pt x="3758" y="204"/>
                  <a:pt x="3752" y="207"/>
                </a:cubicBezTo>
                <a:cubicBezTo>
                  <a:pt x="3734" y="215"/>
                  <a:pt x="3723" y="220"/>
                  <a:pt x="3719" y="220"/>
                </a:cubicBezTo>
                <a:cubicBezTo>
                  <a:pt x="3719" y="220"/>
                  <a:pt x="3719" y="220"/>
                  <a:pt x="3719" y="220"/>
                </a:cubicBezTo>
                <a:cubicBezTo>
                  <a:pt x="3717" y="220"/>
                  <a:pt x="3709" y="219"/>
                  <a:pt x="3702" y="217"/>
                </a:cubicBezTo>
                <a:cubicBezTo>
                  <a:pt x="3698" y="216"/>
                  <a:pt x="3694" y="215"/>
                  <a:pt x="3692" y="214"/>
                </a:cubicBezTo>
                <a:cubicBezTo>
                  <a:pt x="3690" y="214"/>
                  <a:pt x="3689" y="214"/>
                  <a:pt x="3689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8" y="213"/>
                  <a:pt x="3688" y="213"/>
                  <a:pt x="3688" y="213"/>
                </a:cubicBezTo>
                <a:cubicBezTo>
                  <a:pt x="3684" y="211"/>
                  <a:pt x="3683" y="211"/>
                  <a:pt x="3681" y="211"/>
                </a:cubicBezTo>
                <a:cubicBezTo>
                  <a:pt x="3673" y="211"/>
                  <a:pt x="3663" y="215"/>
                  <a:pt x="3654" y="219"/>
                </a:cubicBezTo>
                <a:cubicBezTo>
                  <a:pt x="3643" y="225"/>
                  <a:pt x="3636" y="231"/>
                  <a:pt x="3630" y="230"/>
                </a:cubicBezTo>
                <a:cubicBezTo>
                  <a:pt x="3629" y="230"/>
                  <a:pt x="3628" y="230"/>
                  <a:pt x="3626" y="230"/>
                </a:cubicBezTo>
                <a:cubicBezTo>
                  <a:pt x="3621" y="228"/>
                  <a:pt x="3615" y="228"/>
                  <a:pt x="3608" y="228"/>
                </a:cubicBezTo>
                <a:cubicBezTo>
                  <a:pt x="3599" y="228"/>
                  <a:pt x="3589" y="229"/>
                  <a:pt x="3581" y="233"/>
                </a:cubicBezTo>
                <a:cubicBezTo>
                  <a:pt x="3571" y="238"/>
                  <a:pt x="3562" y="238"/>
                  <a:pt x="3549" y="249"/>
                </a:cubicBezTo>
                <a:cubicBezTo>
                  <a:pt x="3544" y="253"/>
                  <a:pt x="3536" y="257"/>
                  <a:pt x="3529" y="259"/>
                </a:cubicBezTo>
                <a:cubicBezTo>
                  <a:pt x="3525" y="261"/>
                  <a:pt x="3520" y="262"/>
                  <a:pt x="3519" y="263"/>
                </a:cubicBezTo>
                <a:cubicBezTo>
                  <a:pt x="3514" y="262"/>
                  <a:pt x="3499" y="261"/>
                  <a:pt x="3489" y="261"/>
                </a:cubicBezTo>
                <a:cubicBezTo>
                  <a:pt x="3485" y="261"/>
                  <a:pt x="3481" y="261"/>
                  <a:pt x="3476" y="262"/>
                </a:cubicBezTo>
                <a:cubicBezTo>
                  <a:pt x="3474" y="262"/>
                  <a:pt x="3472" y="263"/>
                  <a:pt x="3470" y="264"/>
                </a:cubicBezTo>
                <a:cubicBezTo>
                  <a:pt x="3468" y="265"/>
                  <a:pt x="3465" y="268"/>
                  <a:pt x="3465" y="272"/>
                </a:cubicBezTo>
                <a:cubicBezTo>
                  <a:pt x="3465" y="276"/>
                  <a:pt x="3467" y="278"/>
                  <a:pt x="3470" y="281"/>
                </a:cubicBezTo>
                <a:cubicBezTo>
                  <a:pt x="3476" y="287"/>
                  <a:pt x="3485" y="292"/>
                  <a:pt x="3494" y="296"/>
                </a:cubicBezTo>
                <a:cubicBezTo>
                  <a:pt x="3494" y="296"/>
                  <a:pt x="3494" y="297"/>
                  <a:pt x="3494" y="297"/>
                </a:cubicBezTo>
                <a:cubicBezTo>
                  <a:pt x="3492" y="296"/>
                  <a:pt x="3490" y="295"/>
                  <a:pt x="3487" y="293"/>
                </a:cubicBezTo>
                <a:cubicBezTo>
                  <a:pt x="3480" y="291"/>
                  <a:pt x="3476" y="290"/>
                  <a:pt x="3474" y="289"/>
                </a:cubicBezTo>
                <a:cubicBezTo>
                  <a:pt x="3473" y="289"/>
                  <a:pt x="3471" y="287"/>
                  <a:pt x="3465" y="281"/>
                </a:cubicBezTo>
                <a:cubicBezTo>
                  <a:pt x="3458" y="274"/>
                  <a:pt x="3450" y="270"/>
                  <a:pt x="3443" y="270"/>
                </a:cubicBezTo>
                <a:cubicBezTo>
                  <a:pt x="3436" y="270"/>
                  <a:pt x="3429" y="274"/>
                  <a:pt x="3426" y="279"/>
                </a:cubicBezTo>
                <a:cubicBezTo>
                  <a:pt x="3421" y="285"/>
                  <a:pt x="3421" y="292"/>
                  <a:pt x="3420" y="297"/>
                </a:cubicBezTo>
                <a:cubicBezTo>
                  <a:pt x="3420" y="300"/>
                  <a:pt x="3420" y="302"/>
                  <a:pt x="3419" y="303"/>
                </a:cubicBezTo>
                <a:cubicBezTo>
                  <a:pt x="3419" y="303"/>
                  <a:pt x="3419" y="303"/>
                  <a:pt x="3419" y="303"/>
                </a:cubicBezTo>
                <a:cubicBezTo>
                  <a:pt x="3416" y="304"/>
                  <a:pt x="3413" y="305"/>
                  <a:pt x="3412" y="305"/>
                </a:cubicBezTo>
                <a:cubicBezTo>
                  <a:pt x="3412" y="305"/>
                  <a:pt x="3411" y="304"/>
                  <a:pt x="3411" y="303"/>
                </a:cubicBezTo>
                <a:cubicBezTo>
                  <a:pt x="3411" y="298"/>
                  <a:pt x="3411" y="291"/>
                  <a:pt x="3410" y="286"/>
                </a:cubicBezTo>
                <a:cubicBezTo>
                  <a:pt x="3410" y="283"/>
                  <a:pt x="3409" y="280"/>
                  <a:pt x="3408" y="278"/>
                </a:cubicBezTo>
                <a:cubicBezTo>
                  <a:pt x="3408" y="276"/>
                  <a:pt x="3407" y="275"/>
                  <a:pt x="3406" y="274"/>
                </a:cubicBezTo>
                <a:cubicBezTo>
                  <a:pt x="3405" y="273"/>
                  <a:pt x="3403" y="271"/>
                  <a:pt x="3400" y="271"/>
                </a:cubicBezTo>
                <a:cubicBezTo>
                  <a:pt x="3394" y="272"/>
                  <a:pt x="3393" y="275"/>
                  <a:pt x="3391" y="278"/>
                </a:cubicBezTo>
                <a:cubicBezTo>
                  <a:pt x="3387" y="285"/>
                  <a:pt x="3384" y="288"/>
                  <a:pt x="3382" y="291"/>
                </a:cubicBezTo>
                <a:cubicBezTo>
                  <a:pt x="3380" y="293"/>
                  <a:pt x="3378" y="297"/>
                  <a:pt x="3379" y="302"/>
                </a:cubicBezTo>
                <a:cubicBezTo>
                  <a:pt x="3379" y="311"/>
                  <a:pt x="3384" y="316"/>
                  <a:pt x="3384" y="323"/>
                </a:cubicBezTo>
                <a:cubicBezTo>
                  <a:pt x="3384" y="324"/>
                  <a:pt x="3384" y="326"/>
                  <a:pt x="3383" y="327"/>
                </a:cubicBezTo>
                <a:cubicBezTo>
                  <a:pt x="3382" y="333"/>
                  <a:pt x="3382" y="338"/>
                  <a:pt x="3382" y="342"/>
                </a:cubicBezTo>
                <a:cubicBezTo>
                  <a:pt x="3382" y="344"/>
                  <a:pt x="3382" y="347"/>
                  <a:pt x="3383" y="349"/>
                </a:cubicBezTo>
                <a:cubicBezTo>
                  <a:pt x="3383" y="351"/>
                  <a:pt x="3385" y="353"/>
                  <a:pt x="3387" y="354"/>
                </a:cubicBezTo>
                <a:cubicBezTo>
                  <a:pt x="3380" y="363"/>
                  <a:pt x="3372" y="375"/>
                  <a:pt x="3369" y="378"/>
                </a:cubicBezTo>
                <a:cubicBezTo>
                  <a:pt x="3367" y="380"/>
                  <a:pt x="3363" y="382"/>
                  <a:pt x="3358" y="384"/>
                </a:cubicBezTo>
                <a:cubicBezTo>
                  <a:pt x="3356" y="385"/>
                  <a:pt x="3355" y="386"/>
                  <a:pt x="3353" y="387"/>
                </a:cubicBezTo>
                <a:cubicBezTo>
                  <a:pt x="3356" y="382"/>
                  <a:pt x="3361" y="378"/>
                  <a:pt x="3364" y="376"/>
                </a:cubicBezTo>
                <a:cubicBezTo>
                  <a:pt x="3373" y="368"/>
                  <a:pt x="3380" y="357"/>
                  <a:pt x="3380" y="348"/>
                </a:cubicBezTo>
                <a:cubicBezTo>
                  <a:pt x="3380" y="346"/>
                  <a:pt x="3380" y="343"/>
                  <a:pt x="3378" y="341"/>
                </a:cubicBezTo>
                <a:cubicBezTo>
                  <a:pt x="3378" y="341"/>
                  <a:pt x="3378" y="341"/>
                  <a:pt x="3378" y="341"/>
                </a:cubicBezTo>
                <a:cubicBezTo>
                  <a:pt x="3376" y="339"/>
                  <a:pt x="3373" y="321"/>
                  <a:pt x="3373" y="313"/>
                </a:cubicBezTo>
                <a:cubicBezTo>
                  <a:pt x="3373" y="311"/>
                  <a:pt x="3373" y="309"/>
                  <a:pt x="3373" y="309"/>
                </a:cubicBezTo>
                <a:cubicBezTo>
                  <a:pt x="3374" y="306"/>
                  <a:pt x="3379" y="301"/>
                  <a:pt x="3380" y="292"/>
                </a:cubicBezTo>
                <a:cubicBezTo>
                  <a:pt x="3380" y="287"/>
                  <a:pt x="3377" y="282"/>
                  <a:pt x="3372" y="279"/>
                </a:cubicBezTo>
                <a:cubicBezTo>
                  <a:pt x="3361" y="272"/>
                  <a:pt x="3353" y="264"/>
                  <a:pt x="3342" y="259"/>
                </a:cubicBezTo>
                <a:cubicBezTo>
                  <a:pt x="3341" y="258"/>
                  <a:pt x="3339" y="258"/>
                  <a:pt x="3337" y="258"/>
                </a:cubicBezTo>
                <a:cubicBezTo>
                  <a:pt x="3329" y="259"/>
                  <a:pt x="3324" y="265"/>
                  <a:pt x="3320" y="270"/>
                </a:cubicBezTo>
                <a:cubicBezTo>
                  <a:pt x="3315" y="275"/>
                  <a:pt x="3311" y="280"/>
                  <a:pt x="3309" y="282"/>
                </a:cubicBezTo>
                <a:cubicBezTo>
                  <a:pt x="3304" y="285"/>
                  <a:pt x="3301" y="289"/>
                  <a:pt x="3300" y="291"/>
                </a:cubicBezTo>
                <a:cubicBezTo>
                  <a:pt x="3298" y="293"/>
                  <a:pt x="3298" y="294"/>
                  <a:pt x="3294" y="294"/>
                </a:cubicBezTo>
                <a:cubicBezTo>
                  <a:pt x="3285" y="296"/>
                  <a:pt x="3278" y="304"/>
                  <a:pt x="3278" y="313"/>
                </a:cubicBezTo>
                <a:cubicBezTo>
                  <a:pt x="3278" y="321"/>
                  <a:pt x="3283" y="328"/>
                  <a:pt x="3292" y="333"/>
                </a:cubicBezTo>
                <a:cubicBezTo>
                  <a:pt x="3298" y="337"/>
                  <a:pt x="3303" y="340"/>
                  <a:pt x="3306" y="343"/>
                </a:cubicBezTo>
                <a:cubicBezTo>
                  <a:pt x="3307" y="344"/>
                  <a:pt x="3308" y="345"/>
                  <a:pt x="3308" y="346"/>
                </a:cubicBezTo>
                <a:cubicBezTo>
                  <a:pt x="3308" y="346"/>
                  <a:pt x="3308" y="346"/>
                  <a:pt x="3308" y="346"/>
                </a:cubicBezTo>
                <a:cubicBezTo>
                  <a:pt x="3308" y="346"/>
                  <a:pt x="3308" y="346"/>
                  <a:pt x="3307" y="346"/>
                </a:cubicBezTo>
                <a:cubicBezTo>
                  <a:pt x="3305" y="346"/>
                  <a:pt x="3301" y="345"/>
                  <a:pt x="3297" y="344"/>
                </a:cubicBezTo>
                <a:cubicBezTo>
                  <a:pt x="3294" y="343"/>
                  <a:pt x="3291" y="342"/>
                  <a:pt x="3291" y="342"/>
                </a:cubicBezTo>
                <a:cubicBezTo>
                  <a:pt x="3291" y="342"/>
                  <a:pt x="3291" y="342"/>
                  <a:pt x="3291" y="342"/>
                </a:cubicBezTo>
                <a:cubicBezTo>
                  <a:pt x="3289" y="340"/>
                  <a:pt x="3276" y="333"/>
                  <a:pt x="3265" y="333"/>
                </a:cubicBezTo>
                <a:cubicBezTo>
                  <a:pt x="3258" y="333"/>
                  <a:pt x="3247" y="327"/>
                  <a:pt x="3236" y="325"/>
                </a:cubicBezTo>
                <a:cubicBezTo>
                  <a:pt x="3232" y="324"/>
                  <a:pt x="3228" y="324"/>
                  <a:pt x="3223" y="324"/>
                </a:cubicBezTo>
                <a:cubicBezTo>
                  <a:pt x="3214" y="324"/>
                  <a:pt x="3205" y="324"/>
                  <a:pt x="3198" y="331"/>
                </a:cubicBezTo>
                <a:cubicBezTo>
                  <a:pt x="3196" y="334"/>
                  <a:pt x="3193" y="338"/>
                  <a:pt x="3189" y="341"/>
                </a:cubicBezTo>
                <a:cubicBezTo>
                  <a:pt x="3186" y="345"/>
                  <a:pt x="3182" y="347"/>
                  <a:pt x="3181" y="347"/>
                </a:cubicBezTo>
                <a:cubicBezTo>
                  <a:pt x="3181" y="347"/>
                  <a:pt x="3181" y="346"/>
                  <a:pt x="3181" y="346"/>
                </a:cubicBezTo>
                <a:cubicBezTo>
                  <a:pt x="3178" y="345"/>
                  <a:pt x="3176" y="343"/>
                  <a:pt x="3174" y="341"/>
                </a:cubicBezTo>
                <a:cubicBezTo>
                  <a:pt x="3172" y="340"/>
                  <a:pt x="3168" y="338"/>
                  <a:pt x="3164" y="338"/>
                </a:cubicBezTo>
                <a:cubicBezTo>
                  <a:pt x="3161" y="338"/>
                  <a:pt x="3157" y="339"/>
                  <a:pt x="3153" y="340"/>
                </a:cubicBezTo>
                <a:cubicBezTo>
                  <a:pt x="3151" y="341"/>
                  <a:pt x="3149" y="342"/>
                  <a:pt x="3146" y="342"/>
                </a:cubicBezTo>
                <a:cubicBezTo>
                  <a:pt x="3142" y="342"/>
                  <a:pt x="3137" y="341"/>
                  <a:pt x="3132" y="341"/>
                </a:cubicBezTo>
                <a:cubicBezTo>
                  <a:pt x="3128" y="340"/>
                  <a:pt x="3122" y="342"/>
                  <a:pt x="3119" y="346"/>
                </a:cubicBezTo>
                <a:cubicBezTo>
                  <a:pt x="3118" y="348"/>
                  <a:pt x="3117" y="349"/>
                  <a:pt x="3116" y="350"/>
                </a:cubicBezTo>
                <a:cubicBezTo>
                  <a:pt x="3114" y="349"/>
                  <a:pt x="3109" y="347"/>
                  <a:pt x="3102" y="344"/>
                </a:cubicBezTo>
                <a:cubicBezTo>
                  <a:pt x="3097" y="342"/>
                  <a:pt x="3093" y="341"/>
                  <a:pt x="3089" y="341"/>
                </a:cubicBezTo>
                <a:cubicBezTo>
                  <a:pt x="3082" y="341"/>
                  <a:pt x="3077" y="345"/>
                  <a:pt x="3074" y="348"/>
                </a:cubicBezTo>
                <a:cubicBezTo>
                  <a:pt x="3071" y="350"/>
                  <a:pt x="3068" y="352"/>
                  <a:pt x="3061" y="354"/>
                </a:cubicBezTo>
                <a:cubicBezTo>
                  <a:pt x="3057" y="355"/>
                  <a:pt x="3053" y="355"/>
                  <a:pt x="3049" y="355"/>
                </a:cubicBezTo>
                <a:cubicBezTo>
                  <a:pt x="3043" y="355"/>
                  <a:pt x="3038" y="354"/>
                  <a:pt x="3033" y="354"/>
                </a:cubicBezTo>
                <a:cubicBezTo>
                  <a:pt x="3028" y="354"/>
                  <a:pt x="3022" y="355"/>
                  <a:pt x="3018" y="360"/>
                </a:cubicBezTo>
                <a:cubicBezTo>
                  <a:pt x="3016" y="363"/>
                  <a:pt x="3015" y="366"/>
                  <a:pt x="3013" y="369"/>
                </a:cubicBezTo>
                <a:cubicBezTo>
                  <a:pt x="3013" y="367"/>
                  <a:pt x="3014" y="365"/>
                  <a:pt x="3015" y="364"/>
                </a:cubicBezTo>
                <a:cubicBezTo>
                  <a:pt x="3017" y="359"/>
                  <a:pt x="3019" y="355"/>
                  <a:pt x="3019" y="350"/>
                </a:cubicBezTo>
                <a:cubicBezTo>
                  <a:pt x="3019" y="347"/>
                  <a:pt x="3018" y="344"/>
                  <a:pt x="3016" y="342"/>
                </a:cubicBezTo>
                <a:cubicBezTo>
                  <a:pt x="3011" y="337"/>
                  <a:pt x="3005" y="337"/>
                  <a:pt x="2999" y="337"/>
                </a:cubicBezTo>
                <a:cubicBezTo>
                  <a:pt x="2994" y="337"/>
                  <a:pt x="2989" y="337"/>
                  <a:pt x="2985" y="338"/>
                </a:cubicBezTo>
                <a:cubicBezTo>
                  <a:pt x="2980" y="339"/>
                  <a:pt x="2977" y="340"/>
                  <a:pt x="2974" y="343"/>
                </a:cubicBezTo>
                <a:cubicBezTo>
                  <a:pt x="2971" y="348"/>
                  <a:pt x="2971" y="351"/>
                  <a:pt x="2971" y="355"/>
                </a:cubicBezTo>
                <a:cubicBezTo>
                  <a:pt x="2971" y="362"/>
                  <a:pt x="2972" y="370"/>
                  <a:pt x="2974" y="375"/>
                </a:cubicBezTo>
                <a:cubicBezTo>
                  <a:pt x="2974" y="375"/>
                  <a:pt x="2974" y="376"/>
                  <a:pt x="2975" y="377"/>
                </a:cubicBezTo>
                <a:cubicBezTo>
                  <a:pt x="2973" y="375"/>
                  <a:pt x="2970" y="373"/>
                  <a:pt x="2967" y="373"/>
                </a:cubicBezTo>
                <a:cubicBezTo>
                  <a:pt x="2966" y="373"/>
                  <a:pt x="2965" y="373"/>
                  <a:pt x="2964" y="373"/>
                </a:cubicBezTo>
                <a:cubicBezTo>
                  <a:pt x="2961" y="374"/>
                  <a:pt x="2958" y="375"/>
                  <a:pt x="2956" y="376"/>
                </a:cubicBezTo>
                <a:cubicBezTo>
                  <a:pt x="2957" y="375"/>
                  <a:pt x="2957" y="373"/>
                  <a:pt x="2957" y="371"/>
                </a:cubicBezTo>
                <a:cubicBezTo>
                  <a:pt x="2957" y="365"/>
                  <a:pt x="2953" y="363"/>
                  <a:pt x="2950" y="361"/>
                </a:cubicBezTo>
                <a:cubicBezTo>
                  <a:pt x="2940" y="356"/>
                  <a:pt x="2929" y="350"/>
                  <a:pt x="2911" y="347"/>
                </a:cubicBezTo>
                <a:cubicBezTo>
                  <a:pt x="2895" y="344"/>
                  <a:pt x="2874" y="344"/>
                  <a:pt x="2850" y="334"/>
                </a:cubicBezTo>
                <a:cubicBezTo>
                  <a:pt x="2825" y="323"/>
                  <a:pt x="2819" y="318"/>
                  <a:pt x="2807" y="315"/>
                </a:cubicBezTo>
                <a:cubicBezTo>
                  <a:pt x="2798" y="313"/>
                  <a:pt x="2754" y="304"/>
                  <a:pt x="2721" y="304"/>
                </a:cubicBezTo>
                <a:cubicBezTo>
                  <a:pt x="2714" y="304"/>
                  <a:pt x="2708" y="304"/>
                  <a:pt x="2702" y="306"/>
                </a:cubicBezTo>
                <a:cubicBezTo>
                  <a:pt x="2687" y="308"/>
                  <a:pt x="2660" y="316"/>
                  <a:pt x="2636" y="323"/>
                </a:cubicBezTo>
                <a:cubicBezTo>
                  <a:pt x="2624" y="327"/>
                  <a:pt x="2613" y="331"/>
                  <a:pt x="2604" y="334"/>
                </a:cubicBezTo>
                <a:cubicBezTo>
                  <a:pt x="2600" y="335"/>
                  <a:pt x="2596" y="337"/>
                  <a:pt x="2593" y="338"/>
                </a:cubicBezTo>
                <a:cubicBezTo>
                  <a:pt x="2590" y="339"/>
                  <a:pt x="2589" y="340"/>
                  <a:pt x="2586" y="341"/>
                </a:cubicBezTo>
                <a:cubicBezTo>
                  <a:pt x="2583" y="345"/>
                  <a:pt x="2580" y="350"/>
                  <a:pt x="2576" y="356"/>
                </a:cubicBezTo>
                <a:cubicBezTo>
                  <a:pt x="2572" y="362"/>
                  <a:pt x="2567" y="370"/>
                  <a:pt x="2560" y="376"/>
                </a:cubicBezTo>
                <a:cubicBezTo>
                  <a:pt x="2545" y="390"/>
                  <a:pt x="2517" y="421"/>
                  <a:pt x="2498" y="426"/>
                </a:cubicBezTo>
                <a:cubicBezTo>
                  <a:pt x="2486" y="429"/>
                  <a:pt x="2474" y="436"/>
                  <a:pt x="2464" y="443"/>
                </a:cubicBezTo>
                <a:cubicBezTo>
                  <a:pt x="2460" y="447"/>
                  <a:pt x="2455" y="450"/>
                  <a:pt x="2452" y="454"/>
                </a:cubicBezTo>
                <a:cubicBezTo>
                  <a:pt x="2450" y="457"/>
                  <a:pt x="2447" y="459"/>
                  <a:pt x="2446" y="465"/>
                </a:cubicBezTo>
                <a:cubicBezTo>
                  <a:pt x="2447" y="469"/>
                  <a:pt x="2449" y="474"/>
                  <a:pt x="2450" y="480"/>
                </a:cubicBezTo>
                <a:cubicBezTo>
                  <a:pt x="2452" y="485"/>
                  <a:pt x="2454" y="491"/>
                  <a:pt x="2454" y="493"/>
                </a:cubicBezTo>
                <a:cubicBezTo>
                  <a:pt x="2453" y="494"/>
                  <a:pt x="2453" y="496"/>
                  <a:pt x="2453" y="497"/>
                </a:cubicBezTo>
                <a:cubicBezTo>
                  <a:pt x="2453" y="502"/>
                  <a:pt x="2455" y="509"/>
                  <a:pt x="2458" y="515"/>
                </a:cubicBezTo>
                <a:cubicBezTo>
                  <a:pt x="2462" y="521"/>
                  <a:pt x="2467" y="527"/>
                  <a:pt x="2474" y="531"/>
                </a:cubicBezTo>
                <a:cubicBezTo>
                  <a:pt x="2480" y="533"/>
                  <a:pt x="2488" y="534"/>
                  <a:pt x="2494" y="535"/>
                </a:cubicBezTo>
                <a:cubicBezTo>
                  <a:pt x="2498" y="535"/>
                  <a:pt x="2501" y="534"/>
                  <a:pt x="2503" y="534"/>
                </a:cubicBezTo>
                <a:cubicBezTo>
                  <a:pt x="2503" y="534"/>
                  <a:pt x="2503" y="534"/>
                  <a:pt x="2503" y="534"/>
                </a:cubicBezTo>
                <a:cubicBezTo>
                  <a:pt x="2498" y="536"/>
                  <a:pt x="2492" y="539"/>
                  <a:pt x="2489" y="545"/>
                </a:cubicBezTo>
                <a:cubicBezTo>
                  <a:pt x="2487" y="551"/>
                  <a:pt x="2485" y="560"/>
                  <a:pt x="2484" y="568"/>
                </a:cubicBezTo>
                <a:cubicBezTo>
                  <a:pt x="2485" y="572"/>
                  <a:pt x="2485" y="577"/>
                  <a:pt x="2488" y="581"/>
                </a:cubicBezTo>
                <a:cubicBezTo>
                  <a:pt x="2489" y="583"/>
                  <a:pt x="2490" y="584"/>
                  <a:pt x="2492" y="586"/>
                </a:cubicBezTo>
                <a:cubicBezTo>
                  <a:pt x="2488" y="585"/>
                  <a:pt x="2483" y="585"/>
                  <a:pt x="2479" y="585"/>
                </a:cubicBezTo>
                <a:cubicBezTo>
                  <a:pt x="2471" y="585"/>
                  <a:pt x="2463" y="587"/>
                  <a:pt x="2457" y="592"/>
                </a:cubicBezTo>
                <a:cubicBezTo>
                  <a:pt x="2449" y="599"/>
                  <a:pt x="2437" y="613"/>
                  <a:pt x="2432" y="617"/>
                </a:cubicBezTo>
                <a:cubicBezTo>
                  <a:pt x="2429" y="618"/>
                  <a:pt x="2425" y="618"/>
                  <a:pt x="2419" y="620"/>
                </a:cubicBezTo>
                <a:cubicBezTo>
                  <a:pt x="2418" y="620"/>
                  <a:pt x="2416" y="621"/>
                  <a:pt x="2414" y="621"/>
                </a:cubicBezTo>
                <a:cubicBezTo>
                  <a:pt x="2414" y="621"/>
                  <a:pt x="2414" y="620"/>
                  <a:pt x="2414" y="620"/>
                </a:cubicBezTo>
                <a:cubicBezTo>
                  <a:pt x="2412" y="607"/>
                  <a:pt x="2400" y="592"/>
                  <a:pt x="2387" y="585"/>
                </a:cubicBezTo>
                <a:cubicBezTo>
                  <a:pt x="2384" y="583"/>
                  <a:pt x="2379" y="576"/>
                  <a:pt x="2374" y="569"/>
                </a:cubicBezTo>
                <a:cubicBezTo>
                  <a:pt x="2369" y="561"/>
                  <a:pt x="2364" y="554"/>
                  <a:pt x="2360" y="550"/>
                </a:cubicBezTo>
                <a:cubicBezTo>
                  <a:pt x="2360" y="550"/>
                  <a:pt x="2360" y="550"/>
                  <a:pt x="2360" y="550"/>
                </a:cubicBezTo>
                <a:cubicBezTo>
                  <a:pt x="2360" y="548"/>
                  <a:pt x="2363" y="541"/>
                  <a:pt x="2363" y="533"/>
                </a:cubicBezTo>
                <a:cubicBezTo>
                  <a:pt x="2363" y="529"/>
                  <a:pt x="2362" y="525"/>
                  <a:pt x="2359" y="521"/>
                </a:cubicBezTo>
                <a:cubicBezTo>
                  <a:pt x="2355" y="516"/>
                  <a:pt x="2350" y="513"/>
                  <a:pt x="2346" y="511"/>
                </a:cubicBezTo>
                <a:cubicBezTo>
                  <a:pt x="2342" y="509"/>
                  <a:pt x="2339" y="508"/>
                  <a:pt x="2335" y="505"/>
                </a:cubicBezTo>
                <a:cubicBezTo>
                  <a:pt x="2332" y="503"/>
                  <a:pt x="2328" y="501"/>
                  <a:pt x="2325" y="501"/>
                </a:cubicBezTo>
                <a:cubicBezTo>
                  <a:pt x="2314" y="502"/>
                  <a:pt x="2308" y="510"/>
                  <a:pt x="2304" y="516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3" y="517"/>
                  <a:pt x="2303" y="517"/>
                  <a:pt x="2303" y="517"/>
                </a:cubicBezTo>
                <a:cubicBezTo>
                  <a:pt x="2302" y="517"/>
                  <a:pt x="2298" y="515"/>
                  <a:pt x="2292" y="514"/>
                </a:cubicBezTo>
                <a:cubicBezTo>
                  <a:pt x="2290" y="514"/>
                  <a:pt x="2289" y="515"/>
                  <a:pt x="2287" y="515"/>
                </a:cubicBezTo>
                <a:cubicBezTo>
                  <a:pt x="2280" y="518"/>
                  <a:pt x="2277" y="525"/>
                  <a:pt x="2277" y="531"/>
                </a:cubicBezTo>
                <a:cubicBezTo>
                  <a:pt x="2277" y="538"/>
                  <a:pt x="2280" y="544"/>
                  <a:pt x="2283" y="549"/>
                </a:cubicBezTo>
                <a:cubicBezTo>
                  <a:pt x="2284" y="551"/>
                  <a:pt x="2286" y="554"/>
                  <a:pt x="2288" y="557"/>
                </a:cubicBezTo>
                <a:cubicBezTo>
                  <a:pt x="2285" y="556"/>
                  <a:pt x="2283" y="556"/>
                  <a:pt x="2281" y="556"/>
                </a:cubicBezTo>
                <a:cubicBezTo>
                  <a:pt x="2279" y="556"/>
                  <a:pt x="2277" y="556"/>
                  <a:pt x="2275" y="557"/>
                </a:cubicBezTo>
                <a:cubicBezTo>
                  <a:pt x="2267" y="558"/>
                  <a:pt x="2263" y="564"/>
                  <a:pt x="2261" y="567"/>
                </a:cubicBezTo>
                <a:cubicBezTo>
                  <a:pt x="2260" y="569"/>
                  <a:pt x="2259" y="571"/>
                  <a:pt x="2258" y="571"/>
                </a:cubicBezTo>
                <a:cubicBezTo>
                  <a:pt x="2258" y="571"/>
                  <a:pt x="2258" y="571"/>
                  <a:pt x="2258" y="572"/>
                </a:cubicBezTo>
                <a:cubicBezTo>
                  <a:pt x="2254" y="572"/>
                  <a:pt x="2250" y="572"/>
                  <a:pt x="2246" y="574"/>
                </a:cubicBezTo>
                <a:cubicBezTo>
                  <a:pt x="2242" y="576"/>
                  <a:pt x="2239" y="581"/>
                  <a:pt x="2239" y="587"/>
                </a:cubicBezTo>
                <a:cubicBezTo>
                  <a:pt x="2239" y="588"/>
                  <a:pt x="2239" y="590"/>
                  <a:pt x="2239" y="591"/>
                </a:cubicBezTo>
                <a:cubicBezTo>
                  <a:pt x="2241" y="598"/>
                  <a:pt x="2243" y="603"/>
                  <a:pt x="2243" y="605"/>
                </a:cubicBezTo>
                <a:cubicBezTo>
                  <a:pt x="2243" y="605"/>
                  <a:pt x="2243" y="605"/>
                  <a:pt x="2243" y="605"/>
                </a:cubicBezTo>
                <a:cubicBezTo>
                  <a:pt x="2243" y="605"/>
                  <a:pt x="2243" y="605"/>
                  <a:pt x="2242" y="605"/>
                </a:cubicBezTo>
                <a:cubicBezTo>
                  <a:pt x="2238" y="608"/>
                  <a:pt x="2237" y="612"/>
                  <a:pt x="2237" y="616"/>
                </a:cubicBezTo>
                <a:cubicBezTo>
                  <a:pt x="2237" y="621"/>
                  <a:pt x="2239" y="626"/>
                  <a:pt x="2242" y="630"/>
                </a:cubicBezTo>
                <a:cubicBezTo>
                  <a:pt x="2245" y="634"/>
                  <a:pt x="2249" y="638"/>
                  <a:pt x="2255" y="639"/>
                </a:cubicBezTo>
                <a:cubicBezTo>
                  <a:pt x="2255" y="639"/>
                  <a:pt x="2255" y="639"/>
                  <a:pt x="2255" y="639"/>
                </a:cubicBezTo>
                <a:cubicBezTo>
                  <a:pt x="2256" y="639"/>
                  <a:pt x="2257" y="639"/>
                  <a:pt x="2258" y="639"/>
                </a:cubicBezTo>
                <a:cubicBezTo>
                  <a:pt x="2270" y="639"/>
                  <a:pt x="2279" y="630"/>
                  <a:pt x="2286" y="627"/>
                </a:cubicBezTo>
                <a:cubicBezTo>
                  <a:pt x="2295" y="623"/>
                  <a:pt x="2309" y="614"/>
                  <a:pt x="2309" y="597"/>
                </a:cubicBezTo>
                <a:cubicBezTo>
                  <a:pt x="2309" y="590"/>
                  <a:pt x="2308" y="583"/>
                  <a:pt x="2307" y="577"/>
                </a:cubicBezTo>
                <a:cubicBezTo>
                  <a:pt x="2308" y="578"/>
                  <a:pt x="2309" y="578"/>
                  <a:pt x="2309" y="579"/>
                </a:cubicBezTo>
                <a:cubicBezTo>
                  <a:pt x="2312" y="573"/>
                  <a:pt x="2312" y="573"/>
                  <a:pt x="2312" y="573"/>
                </a:cubicBezTo>
                <a:cubicBezTo>
                  <a:pt x="2309" y="579"/>
                  <a:pt x="2309" y="579"/>
                  <a:pt x="2309" y="579"/>
                </a:cubicBezTo>
                <a:cubicBezTo>
                  <a:pt x="2315" y="581"/>
                  <a:pt x="2322" y="584"/>
                  <a:pt x="2328" y="586"/>
                </a:cubicBezTo>
                <a:cubicBezTo>
                  <a:pt x="2329" y="587"/>
                  <a:pt x="2330" y="587"/>
                  <a:pt x="2331" y="588"/>
                </a:cubicBezTo>
                <a:cubicBezTo>
                  <a:pt x="2327" y="591"/>
                  <a:pt x="2322" y="595"/>
                  <a:pt x="2318" y="599"/>
                </a:cubicBezTo>
                <a:cubicBezTo>
                  <a:pt x="2312" y="605"/>
                  <a:pt x="2307" y="611"/>
                  <a:pt x="2305" y="617"/>
                </a:cubicBezTo>
                <a:cubicBezTo>
                  <a:pt x="2305" y="618"/>
                  <a:pt x="2305" y="619"/>
                  <a:pt x="2305" y="620"/>
                </a:cubicBezTo>
                <a:cubicBezTo>
                  <a:pt x="2306" y="629"/>
                  <a:pt x="2312" y="633"/>
                  <a:pt x="2318" y="636"/>
                </a:cubicBezTo>
                <a:cubicBezTo>
                  <a:pt x="2319" y="637"/>
                  <a:pt x="2321" y="638"/>
                  <a:pt x="2322" y="638"/>
                </a:cubicBezTo>
                <a:cubicBezTo>
                  <a:pt x="2322" y="640"/>
                  <a:pt x="2321" y="642"/>
                  <a:pt x="2321" y="644"/>
                </a:cubicBezTo>
                <a:cubicBezTo>
                  <a:pt x="2321" y="647"/>
                  <a:pt x="2323" y="652"/>
                  <a:pt x="2327" y="653"/>
                </a:cubicBezTo>
                <a:cubicBezTo>
                  <a:pt x="2328" y="654"/>
                  <a:pt x="2330" y="654"/>
                  <a:pt x="2331" y="654"/>
                </a:cubicBezTo>
                <a:cubicBezTo>
                  <a:pt x="2338" y="654"/>
                  <a:pt x="2340" y="650"/>
                  <a:pt x="2342" y="648"/>
                </a:cubicBezTo>
                <a:cubicBezTo>
                  <a:pt x="2345" y="645"/>
                  <a:pt x="2346" y="644"/>
                  <a:pt x="2348" y="644"/>
                </a:cubicBezTo>
                <a:cubicBezTo>
                  <a:pt x="2355" y="644"/>
                  <a:pt x="2372" y="650"/>
                  <a:pt x="2383" y="651"/>
                </a:cubicBezTo>
                <a:cubicBezTo>
                  <a:pt x="2375" y="653"/>
                  <a:pt x="2366" y="655"/>
                  <a:pt x="2357" y="657"/>
                </a:cubicBezTo>
                <a:cubicBezTo>
                  <a:pt x="2349" y="659"/>
                  <a:pt x="2345" y="662"/>
                  <a:pt x="2341" y="664"/>
                </a:cubicBezTo>
                <a:cubicBezTo>
                  <a:pt x="2338" y="666"/>
                  <a:pt x="2336" y="667"/>
                  <a:pt x="2329" y="668"/>
                </a:cubicBezTo>
                <a:cubicBezTo>
                  <a:pt x="2324" y="668"/>
                  <a:pt x="2320" y="669"/>
                  <a:pt x="2317" y="671"/>
                </a:cubicBezTo>
                <a:cubicBezTo>
                  <a:pt x="2313" y="673"/>
                  <a:pt x="2310" y="675"/>
                  <a:pt x="2310" y="680"/>
                </a:cubicBezTo>
                <a:cubicBezTo>
                  <a:pt x="2310" y="685"/>
                  <a:pt x="2313" y="687"/>
                  <a:pt x="2315" y="689"/>
                </a:cubicBezTo>
                <a:cubicBezTo>
                  <a:pt x="2318" y="691"/>
                  <a:pt x="2321" y="692"/>
                  <a:pt x="2325" y="692"/>
                </a:cubicBezTo>
                <a:cubicBezTo>
                  <a:pt x="2331" y="694"/>
                  <a:pt x="2341" y="697"/>
                  <a:pt x="2348" y="701"/>
                </a:cubicBezTo>
                <a:cubicBezTo>
                  <a:pt x="2355" y="705"/>
                  <a:pt x="2359" y="711"/>
                  <a:pt x="2359" y="713"/>
                </a:cubicBezTo>
                <a:cubicBezTo>
                  <a:pt x="2359" y="715"/>
                  <a:pt x="2359" y="717"/>
                  <a:pt x="2359" y="719"/>
                </a:cubicBezTo>
                <a:cubicBezTo>
                  <a:pt x="2359" y="729"/>
                  <a:pt x="2356" y="739"/>
                  <a:pt x="2352" y="749"/>
                </a:cubicBezTo>
                <a:cubicBezTo>
                  <a:pt x="2352" y="749"/>
                  <a:pt x="2352" y="749"/>
                  <a:pt x="2352" y="749"/>
                </a:cubicBezTo>
                <a:cubicBezTo>
                  <a:pt x="2352" y="749"/>
                  <a:pt x="2349" y="750"/>
                  <a:pt x="2344" y="750"/>
                </a:cubicBezTo>
                <a:cubicBezTo>
                  <a:pt x="2336" y="750"/>
                  <a:pt x="2325" y="748"/>
                  <a:pt x="2316" y="748"/>
                </a:cubicBezTo>
                <a:cubicBezTo>
                  <a:pt x="2308" y="748"/>
                  <a:pt x="2293" y="746"/>
                  <a:pt x="2279" y="746"/>
                </a:cubicBezTo>
                <a:cubicBezTo>
                  <a:pt x="2273" y="746"/>
                  <a:pt x="2267" y="746"/>
                  <a:pt x="2261" y="749"/>
                </a:cubicBezTo>
                <a:cubicBezTo>
                  <a:pt x="2250" y="754"/>
                  <a:pt x="2249" y="767"/>
                  <a:pt x="2249" y="778"/>
                </a:cubicBezTo>
                <a:cubicBezTo>
                  <a:pt x="2249" y="786"/>
                  <a:pt x="2250" y="795"/>
                  <a:pt x="2252" y="801"/>
                </a:cubicBezTo>
                <a:cubicBezTo>
                  <a:pt x="2253" y="804"/>
                  <a:pt x="2253" y="806"/>
                  <a:pt x="2253" y="808"/>
                </a:cubicBezTo>
                <a:cubicBezTo>
                  <a:pt x="2253" y="813"/>
                  <a:pt x="2251" y="816"/>
                  <a:pt x="2248" y="818"/>
                </a:cubicBezTo>
                <a:cubicBezTo>
                  <a:pt x="2244" y="823"/>
                  <a:pt x="2242" y="828"/>
                  <a:pt x="2242" y="834"/>
                </a:cubicBezTo>
                <a:cubicBezTo>
                  <a:pt x="2242" y="839"/>
                  <a:pt x="2244" y="845"/>
                  <a:pt x="2248" y="849"/>
                </a:cubicBezTo>
                <a:cubicBezTo>
                  <a:pt x="2250" y="851"/>
                  <a:pt x="2253" y="855"/>
                  <a:pt x="2255" y="859"/>
                </a:cubicBezTo>
                <a:cubicBezTo>
                  <a:pt x="2258" y="863"/>
                  <a:pt x="2259" y="868"/>
                  <a:pt x="2265" y="870"/>
                </a:cubicBezTo>
                <a:cubicBezTo>
                  <a:pt x="2267" y="871"/>
                  <a:pt x="2268" y="871"/>
                  <a:pt x="2269" y="871"/>
                </a:cubicBezTo>
                <a:cubicBezTo>
                  <a:pt x="2274" y="871"/>
                  <a:pt x="2278" y="869"/>
                  <a:pt x="2282" y="870"/>
                </a:cubicBezTo>
                <a:cubicBezTo>
                  <a:pt x="2286" y="870"/>
                  <a:pt x="2288" y="870"/>
                  <a:pt x="2288" y="871"/>
                </a:cubicBezTo>
                <a:cubicBezTo>
                  <a:pt x="2290" y="873"/>
                  <a:pt x="2292" y="878"/>
                  <a:pt x="2295" y="882"/>
                </a:cubicBezTo>
                <a:cubicBezTo>
                  <a:pt x="2296" y="884"/>
                  <a:pt x="2297" y="887"/>
                  <a:pt x="2299" y="888"/>
                </a:cubicBezTo>
                <a:cubicBezTo>
                  <a:pt x="2299" y="889"/>
                  <a:pt x="2299" y="889"/>
                  <a:pt x="2299" y="889"/>
                </a:cubicBezTo>
                <a:cubicBezTo>
                  <a:pt x="2299" y="889"/>
                  <a:pt x="2299" y="889"/>
                  <a:pt x="2298" y="890"/>
                </a:cubicBezTo>
                <a:cubicBezTo>
                  <a:pt x="2291" y="894"/>
                  <a:pt x="2284" y="901"/>
                  <a:pt x="2279" y="905"/>
                </a:cubicBezTo>
                <a:cubicBezTo>
                  <a:pt x="2276" y="908"/>
                  <a:pt x="2274" y="910"/>
                  <a:pt x="2272" y="911"/>
                </a:cubicBezTo>
                <a:cubicBezTo>
                  <a:pt x="2272" y="911"/>
                  <a:pt x="2271" y="912"/>
                  <a:pt x="2271" y="912"/>
                </a:cubicBezTo>
                <a:cubicBezTo>
                  <a:pt x="2268" y="912"/>
                  <a:pt x="2266" y="914"/>
                  <a:pt x="2264" y="915"/>
                </a:cubicBezTo>
                <a:cubicBezTo>
                  <a:pt x="2258" y="920"/>
                  <a:pt x="2251" y="930"/>
                  <a:pt x="2245" y="946"/>
                </a:cubicBezTo>
                <a:cubicBezTo>
                  <a:pt x="2242" y="958"/>
                  <a:pt x="2242" y="968"/>
                  <a:pt x="2241" y="976"/>
                </a:cubicBezTo>
                <a:cubicBezTo>
                  <a:pt x="2241" y="984"/>
                  <a:pt x="2240" y="987"/>
                  <a:pt x="2237" y="989"/>
                </a:cubicBezTo>
                <a:cubicBezTo>
                  <a:pt x="2224" y="996"/>
                  <a:pt x="2201" y="1011"/>
                  <a:pt x="2190" y="1023"/>
                </a:cubicBezTo>
                <a:cubicBezTo>
                  <a:pt x="2184" y="1030"/>
                  <a:pt x="2179" y="1042"/>
                  <a:pt x="2174" y="1056"/>
                </a:cubicBezTo>
                <a:cubicBezTo>
                  <a:pt x="2168" y="1069"/>
                  <a:pt x="2163" y="1083"/>
                  <a:pt x="2157" y="1091"/>
                </a:cubicBezTo>
                <a:cubicBezTo>
                  <a:pt x="2153" y="1098"/>
                  <a:pt x="2151" y="1105"/>
                  <a:pt x="2151" y="1111"/>
                </a:cubicBezTo>
                <a:cubicBezTo>
                  <a:pt x="2152" y="1125"/>
                  <a:pt x="2158" y="1135"/>
                  <a:pt x="2159" y="1141"/>
                </a:cubicBezTo>
                <a:cubicBezTo>
                  <a:pt x="2160" y="1148"/>
                  <a:pt x="2163" y="1157"/>
                  <a:pt x="2163" y="1167"/>
                </a:cubicBezTo>
                <a:cubicBezTo>
                  <a:pt x="2163" y="1174"/>
                  <a:pt x="2162" y="1181"/>
                  <a:pt x="2157" y="1188"/>
                </a:cubicBezTo>
                <a:cubicBezTo>
                  <a:pt x="2151" y="1198"/>
                  <a:pt x="2148" y="1206"/>
                  <a:pt x="2146" y="1211"/>
                </a:cubicBezTo>
                <a:cubicBezTo>
                  <a:pt x="2145" y="1213"/>
                  <a:pt x="2144" y="1215"/>
                  <a:pt x="2144" y="1215"/>
                </a:cubicBezTo>
                <a:cubicBezTo>
                  <a:pt x="2143" y="1216"/>
                  <a:pt x="2143" y="1216"/>
                  <a:pt x="2143" y="1216"/>
                </a:cubicBezTo>
                <a:cubicBezTo>
                  <a:pt x="2142" y="1216"/>
                  <a:pt x="2141" y="1216"/>
                  <a:pt x="2140" y="1217"/>
                </a:cubicBezTo>
                <a:cubicBezTo>
                  <a:pt x="2139" y="1218"/>
                  <a:pt x="2138" y="1221"/>
                  <a:pt x="2138" y="1223"/>
                </a:cubicBezTo>
                <a:cubicBezTo>
                  <a:pt x="2138" y="1226"/>
                  <a:pt x="2139" y="1227"/>
                  <a:pt x="2140" y="1229"/>
                </a:cubicBezTo>
                <a:cubicBezTo>
                  <a:pt x="2143" y="1232"/>
                  <a:pt x="2146" y="1236"/>
                  <a:pt x="2147" y="1243"/>
                </a:cubicBezTo>
                <a:cubicBezTo>
                  <a:pt x="2148" y="1244"/>
                  <a:pt x="2148" y="1245"/>
                  <a:pt x="2148" y="1246"/>
                </a:cubicBezTo>
                <a:cubicBezTo>
                  <a:pt x="2148" y="1250"/>
                  <a:pt x="2146" y="1256"/>
                  <a:pt x="2146" y="1263"/>
                </a:cubicBezTo>
                <a:cubicBezTo>
                  <a:pt x="2145" y="1271"/>
                  <a:pt x="2150" y="1281"/>
                  <a:pt x="2162" y="1287"/>
                </a:cubicBezTo>
                <a:cubicBezTo>
                  <a:pt x="2183" y="1299"/>
                  <a:pt x="2192" y="1309"/>
                  <a:pt x="2197" y="1324"/>
                </a:cubicBezTo>
                <a:cubicBezTo>
                  <a:pt x="2204" y="1343"/>
                  <a:pt x="2233" y="1370"/>
                  <a:pt x="2233" y="1370"/>
                </a:cubicBezTo>
                <a:cubicBezTo>
                  <a:pt x="2233" y="1371"/>
                  <a:pt x="2254" y="1392"/>
                  <a:pt x="2264" y="1402"/>
                </a:cubicBezTo>
                <a:cubicBezTo>
                  <a:pt x="2269" y="1406"/>
                  <a:pt x="2272" y="1409"/>
                  <a:pt x="2277" y="1409"/>
                </a:cubicBezTo>
                <a:cubicBezTo>
                  <a:pt x="2282" y="1409"/>
                  <a:pt x="2285" y="1406"/>
                  <a:pt x="2287" y="1403"/>
                </a:cubicBezTo>
                <a:cubicBezTo>
                  <a:pt x="2289" y="1400"/>
                  <a:pt x="2290" y="1397"/>
                  <a:pt x="2290" y="1394"/>
                </a:cubicBezTo>
                <a:cubicBezTo>
                  <a:pt x="2291" y="1392"/>
                  <a:pt x="2292" y="1390"/>
                  <a:pt x="2297" y="1389"/>
                </a:cubicBezTo>
                <a:cubicBezTo>
                  <a:pt x="2302" y="1388"/>
                  <a:pt x="2309" y="1387"/>
                  <a:pt x="2317" y="1387"/>
                </a:cubicBezTo>
                <a:cubicBezTo>
                  <a:pt x="2328" y="1387"/>
                  <a:pt x="2337" y="1390"/>
                  <a:pt x="2349" y="1390"/>
                </a:cubicBezTo>
                <a:cubicBezTo>
                  <a:pt x="2353" y="1390"/>
                  <a:pt x="2357" y="1389"/>
                  <a:pt x="2361" y="1389"/>
                </a:cubicBezTo>
                <a:cubicBezTo>
                  <a:pt x="2380" y="1385"/>
                  <a:pt x="2396" y="1372"/>
                  <a:pt x="2401" y="1370"/>
                </a:cubicBezTo>
                <a:cubicBezTo>
                  <a:pt x="2406" y="1367"/>
                  <a:pt x="2417" y="1360"/>
                  <a:pt x="2426" y="1360"/>
                </a:cubicBezTo>
                <a:cubicBezTo>
                  <a:pt x="2430" y="1360"/>
                  <a:pt x="2432" y="1361"/>
                  <a:pt x="2435" y="1363"/>
                </a:cubicBezTo>
                <a:cubicBezTo>
                  <a:pt x="2441" y="1367"/>
                  <a:pt x="2444" y="1372"/>
                  <a:pt x="2446" y="1378"/>
                </a:cubicBezTo>
                <a:cubicBezTo>
                  <a:pt x="2448" y="1384"/>
                  <a:pt x="2450" y="1391"/>
                  <a:pt x="2455" y="1398"/>
                </a:cubicBezTo>
                <a:cubicBezTo>
                  <a:pt x="2459" y="1402"/>
                  <a:pt x="2465" y="1405"/>
                  <a:pt x="2470" y="1405"/>
                </a:cubicBezTo>
                <a:cubicBezTo>
                  <a:pt x="2480" y="1405"/>
                  <a:pt x="2488" y="1399"/>
                  <a:pt x="2496" y="1393"/>
                </a:cubicBezTo>
                <a:cubicBezTo>
                  <a:pt x="2497" y="1391"/>
                  <a:pt x="2498" y="1390"/>
                  <a:pt x="2499" y="1390"/>
                </a:cubicBezTo>
                <a:cubicBezTo>
                  <a:pt x="2500" y="1391"/>
                  <a:pt x="2503" y="1394"/>
                  <a:pt x="2507" y="1396"/>
                </a:cubicBezTo>
                <a:cubicBezTo>
                  <a:pt x="2514" y="1401"/>
                  <a:pt x="2517" y="1405"/>
                  <a:pt x="2517" y="1407"/>
                </a:cubicBezTo>
                <a:cubicBezTo>
                  <a:pt x="2517" y="1409"/>
                  <a:pt x="2516" y="1412"/>
                  <a:pt x="2513" y="1416"/>
                </a:cubicBezTo>
                <a:cubicBezTo>
                  <a:pt x="2505" y="1424"/>
                  <a:pt x="2504" y="1433"/>
                  <a:pt x="2503" y="1442"/>
                </a:cubicBezTo>
                <a:cubicBezTo>
                  <a:pt x="2503" y="1451"/>
                  <a:pt x="2503" y="1460"/>
                  <a:pt x="2500" y="1469"/>
                </a:cubicBezTo>
                <a:cubicBezTo>
                  <a:pt x="2497" y="1477"/>
                  <a:pt x="2495" y="1482"/>
                  <a:pt x="2495" y="1487"/>
                </a:cubicBezTo>
                <a:cubicBezTo>
                  <a:pt x="2495" y="1491"/>
                  <a:pt x="2497" y="1496"/>
                  <a:pt x="2499" y="1499"/>
                </a:cubicBezTo>
                <a:cubicBezTo>
                  <a:pt x="2502" y="1501"/>
                  <a:pt x="2505" y="1504"/>
                  <a:pt x="2509" y="1506"/>
                </a:cubicBezTo>
                <a:cubicBezTo>
                  <a:pt x="2513" y="1508"/>
                  <a:pt x="2523" y="1523"/>
                  <a:pt x="2530" y="1538"/>
                </a:cubicBezTo>
                <a:cubicBezTo>
                  <a:pt x="2539" y="1553"/>
                  <a:pt x="2546" y="1568"/>
                  <a:pt x="2550" y="1574"/>
                </a:cubicBezTo>
                <a:cubicBezTo>
                  <a:pt x="2551" y="1575"/>
                  <a:pt x="2552" y="1579"/>
                  <a:pt x="2552" y="1584"/>
                </a:cubicBezTo>
                <a:cubicBezTo>
                  <a:pt x="2552" y="1590"/>
                  <a:pt x="2551" y="1596"/>
                  <a:pt x="2551" y="1603"/>
                </a:cubicBezTo>
                <a:cubicBezTo>
                  <a:pt x="2551" y="1611"/>
                  <a:pt x="2552" y="1619"/>
                  <a:pt x="2555" y="1627"/>
                </a:cubicBezTo>
                <a:cubicBezTo>
                  <a:pt x="2561" y="1638"/>
                  <a:pt x="2566" y="1647"/>
                  <a:pt x="2566" y="1651"/>
                </a:cubicBezTo>
                <a:cubicBezTo>
                  <a:pt x="2565" y="1653"/>
                  <a:pt x="2565" y="1653"/>
                  <a:pt x="2564" y="1655"/>
                </a:cubicBezTo>
                <a:cubicBezTo>
                  <a:pt x="2554" y="1664"/>
                  <a:pt x="2536" y="1680"/>
                  <a:pt x="2535" y="1710"/>
                </a:cubicBezTo>
                <a:cubicBezTo>
                  <a:pt x="2535" y="1713"/>
                  <a:pt x="2535" y="1716"/>
                  <a:pt x="2535" y="1718"/>
                </a:cubicBezTo>
                <a:cubicBezTo>
                  <a:pt x="2535" y="1743"/>
                  <a:pt x="2540" y="1760"/>
                  <a:pt x="2545" y="1770"/>
                </a:cubicBezTo>
                <a:cubicBezTo>
                  <a:pt x="2549" y="1779"/>
                  <a:pt x="2561" y="1805"/>
                  <a:pt x="2567" y="1816"/>
                </a:cubicBezTo>
                <a:cubicBezTo>
                  <a:pt x="2572" y="1824"/>
                  <a:pt x="2579" y="1848"/>
                  <a:pt x="2580" y="1861"/>
                </a:cubicBezTo>
                <a:cubicBezTo>
                  <a:pt x="2580" y="1864"/>
                  <a:pt x="2580" y="1866"/>
                  <a:pt x="2580" y="1869"/>
                </a:cubicBezTo>
                <a:cubicBezTo>
                  <a:pt x="2580" y="1874"/>
                  <a:pt x="2580" y="1879"/>
                  <a:pt x="2580" y="1884"/>
                </a:cubicBezTo>
                <a:cubicBezTo>
                  <a:pt x="2580" y="1892"/>
                  <a:pt x="2580" y="1899"/>
                  <a:pt x="2584" y="1906"/>
                </a:cubicBezTo>
                <a:cubicBezTo>
                  <a:pt x="2589" y="1913"/>
                  <a:pt x="2593" y="1926"/>
                  <a:pt x="2605" y="1938"/>
                </a:cubicBezTo>
                <a:cubicBezTo>
                  <a:pt x="2609" y="1942"/>
                  <a:pt x="2612" y="1950"/>
                  <a:pt x="2614" y="1957"/>
                </a:cubicBezTo>
                <a:cubicBezTo>
                  <a:pt x="2616" y="1964"/>
                  <a:pt x="2617" y="1969"/>
                  <a:pt x="2617" y="1969"/>
                </a:cubicBezTo>
                <a:cubicBezTo>
                  <a:pt x="2617" y="1971"/>
                  <a:pt x="2617" y="1971"/>
                  <a:pt x="2617" y="1971"/>
                </a:cubicBezTo>
                <a:cubicBezTo>
                  <a:pt x="2617" y="1971"/>
                  <a:pt x="2618" y="1973"/>
                  <a:pt x="2619" y="1977"/>
                </a:cubicBezTo>
                <a:cubicBezTo>
                  <a:pt x="2620" y="1981"/>
                  <a:pt x="2621" y="1987"/>
                  <a:pt x="2621" y="1994"/>
                </a:cubicBezTo>
                <a:cubicBezTo>
                  <a:pt x="2622" y="2001"/>
                  <a:pt x="2622" y="2008"/>
                  <a:pt x="2625" y="2014"/>
                </a:cubicBezTo>
                <a:cubicBezTo>
                  <a:pt x="2627" y="2021"/>
                  <a:pt x="2631" y="2026"/>
                  <a:pt x="2638" y="2030"/>
                </a:cubicBezTo>
                <a:cubicBezTo>
                  <a:pt x="2645" y="2034"/>
                  <a:pt x="2651" y="2036"/>
                  <a:pt x="2657" y="2036"/>
                </a:cubicBezTo>
                <a:cubicBezTo>
                  <a:pt x="2658" y="2036"/>
                  <a:pt x="2658" y="2036"/>
                  <a:pt x="2658" y="2036"/>
                </a:cubicBezTo>
                <a:cubicBezTo>
                  <a:pt x="2663" y="2036"/>
                  <a:pt x="2668" y="2034"/>
                  <a:pt x="2671" y="2030"/>
                </a:cubicBezTo>
                <a:cubicBezTo>
                  <a:pt x="2671" y="2030"/>
                  <a:pt x="2672" y="2029"/>
                  <a:pt x="2674" y="2028"/>
                </a:cubicBezTo>
                <a:cubicBezTo>
                  <a:pt x="2681" y="2026"/>
                  <a:pt x="2693" y="2025"/>
                  <a:pt x="2704" y="2025"/>
                </a:cubicBezTo>
                <a:cubicBezTo>
                  <a:pt x="2708" y="2025"/>
                  <a:pt x="2712" y="2025"/>
                  <a:pt x="2715" y="2026"/>
                </a:cubicBezTo>
                <a:cubicBezTo>
                  <a:pt x="2717" y="2026"/>
                  <a:pt x="2718" y="2026"/>
                  <a:pt x="2719" y="2026"/>
                </a:cubicBezTo>
                <a:cubicBezTo>
                  <a:pt x="2736" y="2026"/>
                  <a:pt x="2752" y="2015"/>
                  <a:pt x="2767" y="2003"/>
                </a:cubicBezTo>
                <a:cubicBezTo>
                  <a:pt x="2783" y="1990"/>
                  <a:pt x="2805" y="1957"/>
                  <a:pt x="2813" y="1948"/>
                </a:cubicBezTo>
                <a:cubicBezTo>
                  <a:pt x="2816" y="1943"/>
                  <a:pt x="2822" y="1937"/>
                  <a:pt x="2828" y="1930"/>
                </a:cubicBezTo>
                <a:cubicBezTo>
                  <a:pt x="2833" y="1923"/>
                  <a:pt x="2838" y="1916"/>
                  <a:pt x="2838" y="1907"/>
                </a:cubicBezTo>
                <a:cubicBezTo>
                  <a:pt x="2838" y="1906"/>
                  <a:pt x="2838" y="1905"/>
                  <a:pt x="2838" y="1904"/>
                </a:cubicBezTo>
                <a:cubicBezTo>
                  <a:pt x="2837" y="1897"/>
                  <a:pt x="2835" y="1892"/>
                  <a:pt x="2835" y="1888"/>
                </a:cubicBezTo>
                <a:cubicBezTo>
                  <a:pt x="2835" y="1885"/>
                  <a:pt x="2835" y="1884"/>
                  <a:pt x="2838" y="1883"/>
                </a:cubicBezTo>
                <a:cubicBezTo>
                  <a:pt x="2842" y="1880"/>
                  <a:pt x="2850" y="1876"/>
                  <a:pt x="2857" y="1871"/>
                </a:cubicBezTo>
                <a:cubicBezTo>
                  <a:pt x="2864" y="1866"/>
                  <a:pt x="2871" y="1862"/>
                  <a:pt x="2873" y="1853"/>
                </a:cubicBezTo>
                <a:cubicBezTo>
                  <a:pt x="2873" y="1853"/>
                  <a:pt x="2873" y="1852"/>
                  <a:pt x="2873" y="1851"/>
                </a:cubicBezTo>
                <a:cubicBezTo>
                  <a:pt x="2873" y="1838"/>
                  <a:pt x="2864" y="1808"/>
                  <a:pt x="2862" y="1801"/>
                </a:cubicBezTo>
                <a:cubicBezTo>
                  <a:pt x="2862" y="1801"/>
                  <a:pt x="2862" y="1801"/>
                  <a:pt x="2862" y="1800"/>
                </a:cubicBezTo>
                <a:cubicBezTo>
                  <a:pt x="2862" y="1797"/>
                  <a:pt x="2868" y="1785"/>
                  <a:pt x="2876" y="1773"/>
                </a:cubicBezTo>
                <a:cubicBezTo>
                  <a:pt x="2880" y="1768"/>
                  <a:pt x="2889" y="1762"/>
                  <a:pt x="2897" y="1758"/>
                </a:cubicBezTo>
                <a:cubicBezTo>
                  <a:pt x="2902" y="1755"/>
                  <a:pt x="2906" y="1753"/>
                  <a:pt x="2910" y="1751"/>
                </a:cubicBezTo>
                <a:cubicBezTo>
                  <a:pt x="2913" y="1749"/>
                  <a:pt x="2916" y="1748"/>
                  <a:pt x="2919" y="1745"/>
                </a:cubicBezTo>
                <a:cubicBezTo>
                  <a:pt x="2924" y="1738"/>
                  <a:pt x="2937" y="1715"/>
                  <a:pt x="2939" y="1695"/>
                </a:cubicBezTo>
                <a:cubicBezTo>
                  <a:pt x="2940" y="1692"/>
                  <a:pt x="2940" y="1689"/>
                  <a:pt x="2940" y="1686"/>
                </a:cubicBezTo>
                <a:cubicBezTo>
                  <a:pt x="2940" y="1674"/>
                  <a:pt x="2938" y="1662"/>
                  <a:pt x="2938" y="1654"/>
                </a:cubicBezTo>
                <a:cubicBezTo>
                  <a:pt x="2938" y="1651"/>
                  <a:pt x="2938" y="1648"/>
                  <a:pt x="2939" y="1647"/>
                </a:cubicBezTo>
                <a:cubicBezTo>
                  <a:pt x="2941" y="1644"/>
                  <a:pt x="2942" y="1640"/>
                  <a:pt x="2942" y="1636"/>
                </a:cubicBezTo>
                <a:cubicBezTo>
                  <a:pt x="2941" y="1627"/>
                  <a:pt x="2936" y="1620"/>
                  <a:pt x="2929" y="1611"/>
                </a:cubicBezTo>
                <a:cubicBezTo>
                  <a:pt x="2925" y="1608"/>
                  <a:pt x="2923" y="1598"/>
                  <a:pt x="2922" y="1588"/>
                </a:cubicBezTo>
                <a:cubicBezTo>
                  <a:pt x="2921" y="1583"/>
                  <a:pt x="2921" y="1578"/>
                  <a:pt x="2921" y="1574"/>
                </a:cubicBezTo>
                <a:cubicBezTo>
                  <a:pt x="2920" y="1570"/>
                  <a:pt x="2920" y="1567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8" y="1563"/>
                  <a:pt x="2918" y="1563"/>
                </a:cubicBezTo>
                <a:cubicBezTo>
                  <a:pt x="2918" y="1563"/>
                  <a:pt x="2917" y="1559"/>
                  <a:pt x="2917" y="1556"/>
                </a:cubicBezTo>
                <a:cubicBezTo>
                  <a:pt x="2917" y="1551"/>
                  <a:pt x="2918" y="1545"/>
                  <a:pt x="2919" y="1540"/>
                </a:cubicBezTo>
                <a:cubicBezTo>
                  <a:pt x="2919" y="1538"/>
                  <a:pt x="2920" y="1536"/>
                  <a:pt x="2921" y="1535"/>
                </a:cubicBezTo>
                <a:cubicBezTo>
                  <a:pt x="2921" y="1535"/>
                  <a:pt x="2921" y="1534"/>
                  <a:pt x="2921" y="1534"/>
                </a:cubicBezTo>
                <a:cubicBezTo>
                  <a:pt x="2925" y="1532"/>
                  <a:pt x="2927" y="1530"/>
                  <a:pt x="2930" y="1526"/>
                </a:cubicBezTo>
                <a:cubicBezTo>
                  <a:pt x="2938" y="1516"/>
                  <a:pt x="2948" y="1498"/>
                  <a:pt x="2954" y="1490"/>
                </a:cubicBezTo>
                <a:cubicBezTo>
                  <a:pt x="2959" y="1483"/>
                  <a:pt x="2968" y="1471"/>
                  <a:pt x="2977" y="1459"/>
                </a:cubicBezTo>
                <a:cubicBezTo>
                  <a:pt x="2986" y="1448"/>
                  <a:pt x="2997" y="1438"/>
                  <a:pt x="2999" y="1438"/>
                </a:cubicBezTo>
                <a:cubicBezTo>
                  <a:pt x="3008" y="1436"/>
                  <a:pt x="3016" y="1429"/>
                  <a:pt x="3023" y="1421"/>
                </a:cubicBezTo>
                <a:cubicBezTo>
                  <a:pt x="3031" y="1413"/>
                  <a:pt x="3036" y="1404"/>
                  <a:pt x="3037" y="1396"/>
                </a:cubicBezTo>
                <a:cubicBezTo>
                  <a:pt x="3037" y="1393"/>
                  <a:pt x="3046" y="1377"/>
                  <a:pt x="3054" y="1363"/>
                </a:cubicBezTo>
                <a:cubicBezTo>
                  <a:pt x="3059" y="1355"/>
                  <a:pt x="3063" y="1348"/>
                  <a:pt x="3066" y="1342"/>
                </a:cubicBezTo>
                <a:cubicBezTo>
                  <a:pt x="3070" y="1336"/>
                  <a:pt x="3072" y="1332"/>
                  <a:pt x="3073" y="1327"/>
                </a:cubicBezTo>
                <a:cubicBezTo>
                  <a:pt x="3073" y="1324"/>
                  <a:pt x="3076" y="1315"/>
                  <a:pt x="3078" y="1306"/>
                </a:cubicBezTo>
                <a:cubicBezTo>
                  <a:pt x="3081" y="1297"/>
                  <a:pt x="3084" y="1287"/>
                  <a:pt x="3084" y="1279"/>
                </a:cubicBezTo>
                <a:cubicBezTo>
                  <a:pt x="3084" y="1275"/>
                  <a:pt x="3083" y="1272"/>
                  <a:pt x="3081" y="1269"/>
                </a:cubicBezTo>
                <a:cubicBezTo>
                  <a:pt x="3078" y="1265"/>
                  <a:pt x="3074" y="1264"/>
                  <a:pt x="3071" y="1264"/>
                </a:cubicBezTo>
                <a:cubicBezTo>
                  <a:pt x="3054" y="1265"/>
                  <a:pt x="3023" y="1280"/>
                  <a:pt x="3017" y="1282"/>
                </a:cubicBezTo>
                <a:cubicBezTo>
                  <a:pt x="3011" y="1285"/>
                  <a:pt x="2998" y="1294"/>
                  <a:pt x="2983" y="1294"/>
                </a:cubicBezTo>
                <a:cubicBezTo>
                  <a:pt x="2982" y="1294"/>
                  <a:pt x="2981" y="1294"/>
                  <a:pt x="2980" y="1294"/>
                </a:cubicBezTo>
                <a:cubicBezTo>
                  <a:pt x="2976" y="1293"/>
                  <a:pt x="2975" y="1293"/>
                  <a:pt x="2974" y="1292"/>
                </a:cubicBezTo>
                <a:cubicBezTo>
                  <a:pt x="2974" y="1291"/>
                  <a:pt x="2973" y="1289"/>
                  <a:pt x="2973" y="1287"/>
                </a:cubicBezTo>
                <a:cubicBezTo>
                  <a:pt x="2973" y="1283"/>
                  <a:pt x="2974" y="1279"/>
                  <a:pt x="2974" y="1274"/>
                </a:cubicBezTo>
                <a:cubicBezTo>
                  <a:pt x="2974" y="1273"/>
                  <a:pt x="2974" y="1273"/>
                  <a:pt x="2974" y="1272"/>
                </a:cubicBezTo>
                <a:cubicBezTo>
                  <a:pt x="2974" y="1269"/>
                  <a:pt x="2972" y="1265"/>
                  <a:pt x="2970" y="1261"/>
                </a:cubicBezTo>
                <a:cubicBezTo>
                  <a:pt x="2971" y="1262"/>
                  <a:pt x="2972" y="1262"/>
                  <a:pt x="2972" y="1263"/>
                </a:cubicBezTo>
                <a:cubicBezTo>
                  <a:pt x="2975" y="1264"/>
                  <a:pt x="2978" y="1264"/>
                  <a:pt x="2981" y="1264"/>
                </a:cubicBezTo>
                <a:cubicBezTo>
                  <a:pt x="2988" y="1264"/>
                  <a:pt x="2997" y="1262"/>
                  <a:pt x="3005" y="1259"/>
                </a:cubicBezTo>
                <a:cubicBezTo>
                  <a:pt x="3014" y="1256"/>
                  <a:pt x="3021" y="1254"/>
                  <a:pt x="3024" y="1251"/>
                </a:cubicBezTo>
                <a:cubicBezTo>
                  <a:pt x="3029" y="1248"/>
                  <a:pt x="3069" y="1225"/>
                  <a:pt x="3079" y="1225"/>
                </a:cubicBezTo>
                <a:cubicBezTo>
                  <a:pt x="3088" y="1224"/>
                  <a:pt x="3093" y="1220"/>
                  <a:pt x="3098" y="1216"/>
                </a:cubicBezTo>
                <a:cubicBezTo>
                  <a:pt x="3102" y="1213"/>
                  <a:pt x="3106" y="1210"/>
                  <a:pt x="3113" y="1208"/>
                </a:cubicBezTo>
                <a:cubicBezTo>
                  <a:pt x="3133" y="1203"/>
                  <a:pt x="3146" y="1187"/>
                  <a:pt x="3157" y="1176"/>
                </a:cubicBezTo>
                <a:cubicBezTo>
                  <a:pt x="3170" y="1163"/>
                  <a:pt x="3184" y="1136"/>
                  <a:pt x="3189" y="1126"/>
                </a:cubicBezTo>
                <a:cubicBezTo>
                  <a:pt x="3191" y="1120"/>
                  <a:pt x="3200" y="1114"/>
                  <a:pt x="3201" y="1102"/>
                </a:cubicBezTo>
                <a:cubicBezTo>
                  <a:pt x="3201" y="1099"/>
                  <a:pt x="3200" y="1096"/>
                  <a:pt x="3199" y="1093"/>
                </a:cubicBezTo>
                <a:cubicBezTo>
                  <a:pt x="3195" y="1086"/>
                  <a:pt x="3187" y="1079"/>
                  <a:pt x="3179" y="1073"/>
                </a:cubicBezTo>
                <a:cubicBezTo>
                  <a:pt x="3170" y="1067"/>
                  <a:pt x="3162" y="1062"/>
                  <a:pt x="3155" y="1061"/>
                </a:cubicBezTo>
                <a:cubicBezTo>
                  <a:pt x="3155" y="1061"/>
                  <a:pt x="3155" y="1061"/>
                  <a:pt x="3154" y="1060"/>
                </a:cubicBezTo>
                <a:cubicBezTo>
                  <a:pt x="3153" y="1058"/>
                  <a:pt x="3152" y="1055"/>
                  <a:pt x="3151" y="1051"/>
                </a:cubicBezTo>
                <a:cubicBezTo>
                  <a:pt x="3150" y="1050"/>
                  <a:pt x="3150" y="1048"/>
                  <a:pt x="3148" y="1046"/>
                </a:cubicBezTo>
                <a:cubicBezTo>
                  <a:pt x="3147" y="1044"/>
                  <a:pt x="3144" y="1042"/>
                  <a:pt x="3141" y="1042"/>
                </a:cubicBezTo>
                <a:cubicBezTo>
                  <a:pt x="3137" y="1041"/>
                  <a:pt x="3134" y="1043"/>
                  <a:pt x="3133" y="1045"/>
                </a:cubicBezTo>
                <a:cubicBezTo>
                  <a:pt x="3128" y="1051"/>
                  <a:pt x="3128" y="1055"/>
                  <a:pt x="3121" y="1059"/>
                </a:cubicBezTo>
                <a:cubicBezTo>
                  <a:pt x="3116" y="1063"/>
                  <a:pt x="3110" y="1067"/>
                  <a:pt x="3105" y="1071"/>
                </a:cubicBezTo>
                <a:cubicBezTo>
                  <a:pt x="3101" y="1074"/>
                  <a:pt x="3097" y="1076"/>
                  <a:pt x="3096" y="1076"/>
                </a:cubicBezTo>
                <a:cubicBezTo>
                  <a:pt x="3096" y="1076"/>
                  <a:pt x="3096" y="1075"/>
                  <a:pt x="3096" y="1075"/>
                </a:cubicBezTo>
                <a:cubicBezTo>
                  <a:pt x="3096" y="1070"/>
                  <a:pt x="3095" y="1063"/>
                  <a:pt x="3087" y="1056"/>
                </a:cubicBezTo>
                <a:cubicBezTo>
                  <a:pt x="3081" y="1049"/>
                  <a:pt x="3077" y="1046"/>
                  <a:pt x="3074" y="1043"/>
                </a:cubicBezTo>
                <a:cubicBezTo>
                  <a:pt x="3072" y="1040"/>
                  <a:pt x="3072" y="1039"/>
                  <a:pt x="3072" y="1035"/>
                </a:cubicBezTo>
                <a:cubicBezTo>
                  <a:pt x="3072" y="1030"/>
                  <a:pt x="3069" y="1027"/>
                  <a:pt x="3067" y="1023"/>
                </a:cubicBezTo>
                <a:cubicBezTo>
                  <a:pt x="3059" y="1013"/>
                  <a:pt x="3045" y="999"/>
                  <a:pt x="3044" y="993"/>
                </a:cubicBezTo>
                <a:cubicBezTo>
                  <a:pt x="3044" y="992"/>
                  <a:pt x="3044" y="992"/>
                  <a:pt x="3044" y="992"/>
                </a:cubicBezTo>
                <a:cubicBezTo>
                  <a:pt x="3044" y="988"/>
                  <a:pt x="3046" y="984"/>
                  <a:pt x="3049" y="980"/>
                </a:cubicBezTo>
                <a:cubicBezTo>
                  <a:pt x="3051" y="977"/>
                  <a:pt x="3055" y="975"/>
                  <a:pt x="3055" y="975"/>
                </a:cubicBezTo>
                <a:cubicBezTo>
                  <a:pt x="3056" y="975"/>
                  <a:pt x="3056" y="975"/>
                  <a:pt x="3056" y="976"/>
                </a:cubicBezTo>
                <a:cubicBezTo>
                  <a:pt x="3061" y="987"/>
                  <a:pt x="3066" y="1008"/>
                  <a:pt x="3084" y="1018"/>
                </a:cubicBezTo>
                <a:cubicBezTo>
                  <a:pt x="3091" y="1022"/>
                  <a:pt x="3097" y="1028"/>
                  <a:pt x="3104" y="1032"/>
                </a:cubicBezTo>
                <a:cubicBezTo>
                  <a:pt x="3110" y="1037"/>
                  <a:pt x="3115" y="1041"/>
                  <a:pt x="3120" y="1044"/>
                </a:cubicBezTo>
                <a:cubicBezTo>
                  <a:pt x="3121" y="1044"/>
                  <a:pt x="3123" y="1044"/>
                  <a:pt x="3124" y="1044"/>
                </a:cubicBezTo>
                <a:cubicBezTo>
                  <a:pt x="3131" y="1044"/>
                  <a:pt x="3136" y="1040"/>
                  <a:pt x="3141" y="1037"/>
                </a:cubicBezTo>
                <a:cubicBezTo>
                  <a:pt x="3143" y="1035"/>
                  <a:pt x="3146" y="1034"/>
                  <a:pt x="3148" y="1033"/>
                </a:cubicBezTo>
                <a:cubicBezTo>
                  <a:pt x="3149" y="1032"/>
                  <a:pt x="3149" y="1032"/>
                  <a:pt x="3150" y="1032"/>
                </a:cubicBezTo>
                <a:cubicBezTo>
                  <a:pt x="3152" y="1034"/>
                  <a:pt x="3156" y="1040"/>
                  <a:pt x="3160" y="1046"/>
                </a:cubicBezTo>
                <a:cubicBezTo>
                  <a:pt x="3165" y="1053"/>
                  <a:pt x="3170" y="1060"/>
                  <a:pt x="3178" y="1063"/>
                </a:cubicBezTo>
                <a:cubicBezTo>
                  <a:pt x="3184" y="1066"/>
                  <a:pt x="3195" y="1067"/>
                  <a:pt x="3206" y="1068"/>
                </a:cubicBezTo>
                <a:cubicBezTo>
                  <a:pt x="3217" y="1069"/>
                  <a:pt x="3227" y="1069"/>
                  <a:pt x="3230" y="1069"/>
                </a:cubicBezTo>
                <a:cubicBezTo>
                  <a:pt x="3232" y="1069"/>
                  <a:pt x="3234" y="1069"/>
                  <a:pt x="3238" y="1069"/>
                </a:cubicBezTo>
                <a:cubicBezTo>
                  <a:pt x="3242" y="1069"/>
                  <a:pt x="3249" y="1069"/>
                  <a:pt x="3255" y="1068"/>
                </a:cubicBezTo>
                <a:cubicBezTo>
                  <a:pt x="3260" y="1066"/>
                  <a:pt x="3266" y="1065"/>
                  <a:pt x="3270" y="1059"/>
                </a:cubicBezTo>
                <a:cubicBezTo>
                  <a:pt x="3272" y="1055"/>
                  <a:pt x="3273" y="1054"/>
                  <a:pt x="3274" y="1054"/>
                </a:cubicBezTo>
                <a:cubicBezTo>
                  <a:pt x="3274" y="1054"/>
                  <a:pt x="3275" y="1054"/>
                  <a:pt x="3278" y="1054"/>
                </a:cubicBezTo>
                <a:cubicBezTo>
                  <a:pt x="3279" y="1055"/>
                  <a:pt x="3283" y="1061"/>
                  <a:pt x="3286" y="1066"/>
                </a:cubicBezTo>
                <a:cubicBezTo>
                  <a:pt x="3291" y="1072"/>
                  <a:pt x="3294" y="1078"/>
                  <a:pt x="3301" y="1081"/>
                </a:cubicBezTo>
                <a:cubicBezTo>
                  <a:pt x="3306" y="1083"/>
                  <a:pt x="3311" y="1083"/>
                  <a:pt x="3314" y="1084"/>
                </a:cubicBezTo>
                <a:cubicBezTo>
                  <a:pt x="3317" y="1086"/>
                  <a:pt x="3318" y="1086"/>
                  <a:pt x="3319" y="1093"/>
                </a:cubicBezTo>
                <a:cubicBezTo>
                  <a:pt x="3319" y="1093"/>
                  <a:pt x="3319" y="1094"/>
                  <a:pt x="3319" y="1094"/>
                </a:cubicBezTo>
                <a:cubicBezTo>
                  <a:pt x="3319" y="1095"/>
                  <a:pt x="3319" y="1097"/>
                  <a:pt x="3319" y="1098"/>
                </a:cubicBezTo>
                <a:cubicBezTo>
                  <a:pt x="3319" y="1107"/>
                  <a:pt x="3321" y="1115"/>
                  <a:pt x="3324" y="1122"/>
                </a:cubicBezTo>
                <a:cubicBezTo>
                  <a:pt x="3327" y="1128"/>
                  <a:pt x="3332" y="1134"/>
                  <a:pt x="3339" y="1135"/>
                </a:cubicBezTo>
                <a:cubicBezTo>
                  <a:pt x="3339" y="1135"/>
                  <a:pt x="3340" y="1135"/>
                  <a:pt x="3340" y="1135"/>
                </a:cubicBezTo>
                <a:cubicBezTo>
                  <a:pt x="3349" y="1134"/>
                  <a:pt x="3354" y="1129"/>
                  <a:pt x="3360" y="1124"/>
                </a:cubicBezTo>
                <a:cubicBezTo>
                  <a:pt x="3360" y="1134"/>
                  <a:pt x="3360" y="1148"/>
                  <a:pt x="3359" y="1155"/>
                </a:cubicBezTo>
                <a:cubicBezTo>
                  <a:pt x="3359" y="1155"/>
                  <a:pt x="3359" y="1156"/>
                  <a:pt x="3359" y="1157"/>
                </a:cubicBezTo>
                <a:cubicBezTo>
                  <a:pt x="3359" y="1173"/>
                  <a:pt x="3372" y="1214"/>
                  <a:pt x="3372" y="1215"/>
                </a:cubicBezTo>
                <a:cubicBezTo>
                  <a:pt x="3372" y="1215"/>
                  <a:pt x="3372" y="1215"/>
                  <a:pt x="3372" y="1215"/>
                </a:cubicBezTo>
                <a:cubicBezTo>
                  <a:pt x="3372" y="1215"/>
                  <a:pt x="3389" y="1258"/>
                  <a:pt x="3394" y="1268"/>
                </a:cubicBezTo>
                <a:cubicBezTo>
                  <a:pt x="3397" y="1274"/>
                  <a:pt x="3403" y="1283"/>
                  <a:pt x="3408" y="1293"/>
                </a:cubicBezTo>
                <a:cubicBezTo>
                  <a:pt x="3413" y="1302"/>
                  <a:pt x="3418" y="1313"/>
                  <a:pt x="3418" y="1316"/>
                </a:cubicBezTo>
                <a:cubicBezTo>
                  <a:pt x="3418" y="1323"/>
                  <a:pt x="3418" y="1331"/>
                  <a:pt x="3420" y="1338"/>
                </a:cubicBezTo>
                <a:cubicBezTo>
                  <a:pt x="3421" y="1342"/>
                  <a:pt x="3422" y="1345"/>
                  <a:pt x="3423" y="1348"/>
                </a:cubicBezTo>
                <a:cubicBezTo>
                  <a:pt x="3425" y="1351"/>
                  <a:pt x="3428" y="1354"/>
                  <a:pt x="3433" y="1354"/>
                </a:cubicBezTo>
                <a:cubicBezTo>
                  <a:pt x="3438" y="1354"/>
                  <a:pt x="3441" y="1351"/>
                  <a:pt x="3443" y="1348"/>
                </a:cubicBezTo>
                <a:cubicBezTo>
                  <a:pt x="3449" y="1340"/>
                  <a:pt x="3454" y="1325"/>
                  <a:pt x="3460" y="1315"/>
                </a:cubicBezTo>
                <a:cubicBezTo>
                  <a:pt x="3461" y="1314"/>
                  <a:pt x="3461" y="1313"/>
                  <a:pt x="3462" y="1311"/>
                </a:cubicBezTo>
                <a:cubicBezTo>
                  <a:pt x="3461" y="1314"/>
                  <a:pt x="3460" y="1317"/>
                  <a:pt x="3459" y="1320"/>
                </a:cubicBezTo>
                <a:cubicBezTo>
                  <a:pt x="3458" y="1327"/>
                  <a:pt x="3457" y="1335"/>
                  <a:pt x="3457" y="1343"/>
                </a:cubicBezTo>
                <a:cubicBezTo>
                  <a:pt x="3457" y="1349"/>
                  <a:pt x="3457" y="1354"/>
                  <a:pt x="3459" y="1359"/>
                </a:cubicBezTo>
                <a:cubicBezTo>
                  <a:pt x="3460" y="1364"/>
                  <a:pt x="3463" y="1369"/>
                  <a:pt x="3469" y="1372"/>
                </a:cubicBezTo>
                <a:cubicBezTo>
                  <a:pt x="3471" y="1373"/>
                  <a:pt x="3472" y="1373"/>
                  <a:pt x="3474" y="1373"/>
                </a:cubicBezTo>
                <a:cubicBezTo>
                  <a:pt x="3483" y="1373"/>
                  <a:pt x="3488" y="1367"/>
                  <a:pt x="3491" y="1361"/>
                </a:cubicBezTo>
                <a:cubicBezTo>
                  <a:pt x="3494" y="1355"/>
                  <a:pt x="3495" y="1349"/>
                  <a:pt x="3495" y="1343"/>
                </a:cubicBezTo>
                <a:cubicBezTo>
                  <a:pt x="3495" y="1340"/>
                  <a:pt x="3495" y="1337"/>
                  <a:pt x="3493" y="1334"/>
                </a:cubicBezTo>
                <a:cubicBezTo>
                  <a:pt x="3492" y="1333"/>
                  <a:pt x="3490" y="1325"/>
                  <a:pt x="3488" y="1319"/>
                </a:cubicBezTo>
                <a:cubicBezTo>
                  <a:pt x="3487" y="1315"/>
                  <a:pt x="3486" y="1312"/>
                  <a:pt x="3484" y="1309"/>
                </a:cubicBezTo>
                <a:cubicBezTo>
                  <a:pt x="3482" y="1306"/>
                  <a:pt x="3479" y="1303"/>
                  <a:pt x="3474" y="1303"/>
                </a:cubicBezTo>
                <a:cubicBezTo>
                  <a:pt x="3472" y="1303"/>
                  <a:pt x="3468" y="1303"/>
                  <a:pt x="3468" y="1304"/>
                </a:cubicBezTo>
                <a:cubicBezTo>
                  <a:pt x="3468" y="1304"/>
                  <a:pt x="3468" y="1304"/>
                  <a:pt x="3468" y="1304"/>
                </a:cubicBezTo>
                <a:cubicBezTo>
                  <a:pt x="3464" y="1306"/>
                  <a:pt x="3464" y="1308"/>
                  <a:pt x="3463" y="1310"/>
                </a:cubicBezTo>
                <a:cubicBezTo>
                  <a:pt x="3469" y="1296"/>
                  <a:pt x="3471" y="1279"/>
                  <a:pt x="3474" y="1267"/>
                </a:cubicBezTo>
                <a:cubicBezTo>
                  <a:pt x="3478" y="1252"/>
                  <a:pt x="3478" y="1227"/>
                  <a:pt x="3478" y="1217"/>
                </a:cubicBezTo>
                <a:cubicBezTo>
                  <a:pt x="3478" y="1211"/>
                  <a:pt x="3482" y="1205"/>
                  <a:pt x="3498" y="1196"/>
                </a:cubicBezTo>
                <a:cubicBezTo>
                  <a:pt x="3517" y="1186"/>
                  <a:pt x="3528" y="1162"/>
                  <a:pt x="3540" y="1151"/>
                </a:cubicBezTo>
                <a:cubicBezTo>
                  <a:pt x="3549" y="1144"/>
                  <a:pt x="3552" y="1135"/>
                  <a:pt x="3556" y="1129"/>
                </a:cubicBezTo>
                <a:cubicBezTo>
                  <a:pt x="3561" y="1124"/>
                  <a:pt x="3564" y="1120"/>
                  <a:pt x="3577" y="1120"/>
                </a:cubicBezTo>
                <a:cubicBezTo>
                  <a:pt x="3591" y="1120"/>
                  <a:pt x="3597" y="1120"/>
                  <a:pt x="3602" y="1119"/>
                </a:cubicBezTo>
                <a:cubicBezTo>
                  <a:pt x="3608" y="1117"/>
                  <a:pt x="3611" y="1113"/>
                  <a:pt x="3614" y="1109"/>
                </a:cubicBezTo>
                <a:cubicBezTo>
                  <a:pt x="3615" y="1107"/>
                  <a:pt x="3617" y="1105"/>
                  <a:pt x="3618" y="1104"/>
                </a:cubicBezTo>
                <a:cubicBezTo>
                  <a:pt x="3619" y="1104"/>
                  <a:pt x="3619" y="1104"/>
                  <a:pt x="3619" y="1104"/>
                </a:cubicBezTo>
                <a:cubicBezTo>
                  <a:pt x="3619" y="1105"/>
                  <a:pt x="3620" y="1106"/>
                  <a:pt x="3620" y="1108"/>
                </a:cubicBezTo>
                <a:cubicBezTo>
                  <a:pt x="3623" y="1118"/>
                  <a:pt x="3629" y="1127"/>
                  <a:pt x="3635" y="1135"/>
                </a:cubicBezTo>
                <a:cubicBezTo>
                  <a:pt x="3640" y="1144"/>
                  <a:pt x="3646" y="1151"/>
                  <a:pt x="3648" y="1153"/>
                </a:cubicBezTo>
                <a:cubicBezTo>
                  <a:pt x="3650" y="1157"/>
                  <a:pt x="3656" y="1170"/>
                  <a:pt x="3656" y="1183"/>
                </a:cubicBezTo>
                <a:cubicBezTo>
                  <a:pt x="3656" y="1184"/>
                  <a:pt x="3656" y="1185"/>
                  <a:pt x="3656" y="1186"/>
                </a:cubicBezTo>
                <a:cubicBezTo>
                  <a:pt x="3656" y="1189"/>
                  <a:pt x="3656" y="1192"/>
                  <a:pt x="3656" y="1195"/>
                </a:cubicBezTo>
                <a:cubicBezTo>
                  <a:pt x="3656" y="1203"/>
                  <a:pt x="3656" y="1210"/>
                  <a:pt x="3658" y="1216"/>
                </a:cubicBezTo>
                <a:cubicBezTo>
                  <a:pt x="3658" y="1219"/>
                  <a:pt x="3659" y="1221"/>
                  <a:pt x="3660" y="1224"/>
                </a:cubicBezTo>
                <a:cubicBezTo>
                  <a:pt x="3662" y="1226"/>
                  <a:pt x="3665" y="1229"/>
                  <a:pt x="3669" y="1229"/>
                </a:cubicBezTo>
                <a:cubicBezTo>
                  <a:pt x="3674" y="1228"/>
                  <a:pt x="3676" y="1225"/>
                  <a:pt x="3679" y="1223"/>
                </a:cubicBezTo>
                <a:cubicBezTo>
                  <a:pt x="3684" y="1217"/>
                  <a:pt x="3689" y="1207"/>
                  <a:pt x="3691" y="1203"/>
                </a:cubicBezTo>
                <a:cubicBezTo>
                  <a:pt x="3692" y="1202"/>
                  <a:pt x="3694" y="1201"/>
                  <a:pt x="3696" y="1200"/>
                </a:cubicBezTo>
                <a:cubicBezTo>
                  <a:pt x="3699" y="1198"/>
                  <a:pt x="3703" y="1196"/>
                  <a:pt x="3704" y="1197"/>
                </a:cubicBezTo>
                <a:cubicBezTo>
                  <a:pt x="3704" y="1197"/>
                  <a:pt x="3704" y="1198"/>
                  <a:pt x="3704" y="1199"/>
                </a:cubicBezTo>
                <a:cubicBezTo>
                  <a:pt x="3704" y="1200"/>
                  <a:pt x="3704" y="1200"/>
                  <a:pt x="3704" y="1200"/>
                </a:cubicBezTo>
                <a:cubicBezTo>
                  <a:pt x="3704" y="1204"/>
                  <a:pt x="3704" y="1207"/>
                  <a:pt x="3704" y="1210"/>
                </a:cubicBezTo>
                <a:cubicBezTo>
                  <a:pt x="3704" y="1230"/>
                  <a:pt x="3706" y="1249"/>
                  <a:pt x="3706" y="1260"/>
                </a:cubicBezTo>
                <a:cubicBezTo>
                  <a:pt x="3707" y="1268"/>
                  <a:pt x="3711" y="1278"/>
                  <a:pt x="3716" y="1287"/>
                </a:cubicBezTo>
                <a:cubicBezTo>
                  <a:pt x="3717" y="1290"/>
                  <a:pt x="3719" y="1293"/>
                  <a:pt x="3720" y="1295"/>
                </a:cubicBezTo>
                <a:cubicBezTo>
                  <a:pt x="3720" y="1295"/>
                  <a:pt x="3720" y="1295"/>
                  <a:pt x="3720" y="1295"/>
                </a:cubicBezTo>
                <a:cubicBezTo>
                  <a:pt x="3714" y="1296"/>
                  <a:pt x="3711" y="1300"/>
                  <a:pt x="3709" y="1304"/>
                </a:cubicBezTo>
                <a:cubicBezTo>
                  <a:pt x="3707" y="1308"/>
                  <a:pt x="3707" y="1313"/>
                  <a:pt x="3707" y="1317"/>
                </a:cubicBezTo>
                <a:cubicBezTo>
                  <a:pt x="3707" y="1323"/>
                  <a:pt x="3708" y="1329"/>
                  <a:pt x="3711" y="1334"/>
                </a:cubicBezTo>
                <a:cubicBezTo>
                  <a:pt x="3715" y="1339"/>
                  <a:pt x="3719" y="1340"/>
                  <a:pt x="3722" y="1342"/>
                </a:cubicBezTo>
                <a:cubicBezTo>
                  <a:pt x="3724" y="1344"/>
                  <a:pt x="3727" y="1347"/>
                  <a:pt x="3730" y="1359"/>
                </a:cubicBezTo>
                <a:cubicBezTo>
                  <a:pt x="3736" y="1385"/>
                  <a:pt x="3747" y="1410"/>
                  <a:pt x="3752" y="1420"/>
                </a:cubicBezTo>
                <a:cubicBezTo>
                  <a:pt x="3755" y="1426"/>
                  <a:pt x="3762" y="1432"/>
                  <a:pt x="3768" y="1438"/>
                </a:cubicBezTo>
                <a:cubicBezTo>
                  <a:pt x="3775" y="1443"/>
                  <a:pt x="3781" y="1449"/>
                  <a:pt x="3784" y="1452"/>
                </a:cubicBezTo>
                <a:cubicBezTo>
                  <a:pt x="3787" y="1454"/>
                  <a:pt x="3790" y="1456"/>
                  <a:pt x="3794" y="1456"/>
                </a:cubicBezTo>
                <a:cubicBezTo>
                  <a:pt x="3802" y="1456"/>
                  <a:pt x="3808" y="1449"/>
                  <a:pt x="3808" y="1441"/>
                </a:cubicBezTo>
                <a:cubicBezTo>
                  <a:pt x="3808" y="1438"/>
                  <a:pt x="3808" y="1436"/>
                  <a:pt x="3806" y="1433"/>
                </a:cubicBezTo>
                <a:cubicBezTo>
                  <a:pt x="3801" y="1425"/>
                  <a:pt x="3793" y="1412"/>
                  <a:pt x="3792" y="1405"/>
                </a:cubicBezTo>
                <a:cubicBezTo>
                  <a:pt x="3791" y="1394"/>
                  <a:pt x="3785" y="1379"/>
                  <a:pt x="3775" y="1362"/>
                </a:cubicBezTo>
                <a:cubicBezTo>
                  <a:pt x="3765" y="1344"/>
                  <a:pt x="3757" y="1339"/>
                  <a:pt x="3752" y="1330"/>
                </a:cubicBezTo>
                <a:cubicBezTo>
                  <a:pt x="3748" y="1323"/>
                  <a:pt x="3740" y="1313"/>
                  <a:pt x="3733" y="1306"/>
                </a:cubicBezTo>
                <a:cubicBezTo>
                  <a:pt x="3735" y="1306"/>
                  <a:pt x="3738" y="1304"/>
                  <a:pt x="3738" y="1302"/>
                </a:cubicBezTo>
                <a:cubicBezTo>
                  <a:pt x="3739" y="1301"/>
                  <a:pt x="3739" y="1300"/>
                  <a:pt x="3739" y="1299"/>
                </a:cubicBezTo>
                <a:cubicBezTo>
                  <a:pt x="3739" y="1296"/>
                  <a:pt x="3741" y="1288"/>
                  <a:pt x="3744" y="1280"/>
                </a:cubicBezTo>
                <a:cubicBezTo>
                  <a:pt x="3746" y="1272"/>
                  <a:pt x="3748" y="1263"/>
                  <a:pt x="3749" y="1256"/>
                </a:cubicBezTo>
                <a:cubicBezTo>
                  <a:pt x="3751" y="1258"/>
                  <a:pt x="3755" y="1261"/>
                  <a:pt x="3759" y="1265"/>
                </a:cubicBezTo>
                <a:cubicBezTo>
                  <a:pt x="3766" y="1270"/>
                  <a:pt x="3772" y="1279"/>
                  <a:pt x="3776" y="1286"/>
                </a:cubicBezTo>
                <a:cubicBezTo>
                  <a:pt x="3780" y="1294"/>
                  <a:pt x="3783" y="1299"/>
                  <a:pt x="3783" y="1299"/>
                </a:cubicBezTo>
                <a:cubicBezTo>
                  <a:pt x="3784" y="1301"/>
                  <a:pt x="3784" y="1301"/>
                  <a:pt x="3784" y="1301"/>
                </a:cubicBezTo>
                <a:cubicBezTo>
                  <a:pt x="3784" y="1301"/>
                  <a:pt x="3788" y="1305"/>
                  <a:pt x="3792" y="1310"/>
                </a:cubicBezTo>
                <a:cubicBezTo>
                  <a:pt x="3795" y="1315"/>
                  <a:pt x="3800" y="1321"/>
                  <a:pt x="3800" y="1322"/>
                </a:cubicBezTo>
                <a:cubicBezTo>
                  <a:pt x="3801" y="1327"/>
                  <a:pt x="3806" y="1329"/>
                  <a:pt x="3809" y="1329"/>
                </a:cubicBezTo>
                <a:cubicBezTo>
                  <a:pt x="3815" y="1329"/>
                  <a:pt x="3819" y="1326"/>
                  <a:pt x="3823" y="1323"/>
                </a:cubicBezTo>
                <a:cubicBezTo>
                  <a:pt x="3827" y="1320"/>
                  <a:pt x="3831" y="1317"/>
                  <a:pt x="3833" y="1312"/>
                </a:cubicBezTo>
                <a:cubicBezTo>
                  <a:pt x="3837" y="1304"/>
                  <a:pt x="3837" y="1303"/>
                  <a:pt x="3844" y="1300"/>
                </a:cubicBezTo>
                <a:cubicBezTo>
                  <a:pt x="3848" y="1299"/>
                  <a:pt x="3854" y="1298"/>
                  <a:pt x="3860" y="1296"/>
                </a:cubicBezTo>
                <a:cubicBezTo>
                  <a:pt x="3865" y="1293"/>
                  <a:pt x="3871" y="1287"/>
                  <a:pt x="3873" y="1278"/>
                </a:cubicBezTo>
                <a:cubicBezTo>
                  <a:pt x="3874" y="1269"/>
                  <a:pt x="3880" y="1258"/>
                  <a:pt x="3880" y="1245"/>
                </a:cubicBezTo>
                <a:cubicBezTo>
                  <a:pt x="3880" y="1237"/>
                  <a:pt x="3878" y="1228"/>
                  <a:pt x="3872" y="1219"/>
                </a:cubicBezTo>
                <a:cubicBezTo>
                  <a:pt x="3858" y="1199"/>
                  <a:pt x="3851" y="1185"/>
                  <a:pt x="3840" y="1174"/>
                </a:cubicBezTo>
                <a:cubicBezTo>
                  <a:pt x="3836" y="1171"/>
                  <a:pt x="3831" y="1162"/>
                  <a:pt x="3828" y="1155"/>
                </a:cubicBezTo>
                <a:cubicBezTo>
                  <a:pt x="3826" y="1151"/>
                  <a:pt x="3825" y="1148"/>
                  <a:pt x="3824" y="1146"/>
                </a:cubicBezTo>
                <a:cubicBezTo>
                  <a:pt x="3830" y="1139"/>
                  <a:pt x="3845" y="1123"/>
                  <a:pt x="3851" y="1116"/>
                </a:cubicBezTo>
                <a:cubicBezTo>
                  <a:pt x="3852" y="1115"/>
                  <a:pt x="3853" y="1114"/>
                  <a:pt x="3854" y="1114"/>
                </a:cubicBezTo>
                <a:cubicBezTo>
                  <a:pt x="3855" y="1114"/>
                  <a:pt x="3858" y="1116"/>
                  <a:pt x="3858" y="1120"/>
                </a:cubicBezTo>
                <a:cubicBezTo>
                  <a:pt x="3858" y="1120"/>
                  <a:pt x="3858" y="1120"/>
                  <a:pt x="3858" y="1121"/>
                </a:cubicBezTo>
                <a:cubicBezTo>
                  <a:pt x="3859" y="1123"/>
                  <a:pt x="3857" y="1127"/>
                  <a:pt x="3854" y="1133"/>
                </a:cubicBezTo>
                <a:cubicBezTo>
                  <a:pt x="3851" y="1138"/>
                  <a:pt x="3847" y="1146"/>
                  <a:pt x="3846" y="1157"/>
                </a:cubicBezTo>
                <a:cubicBezTo>
                  <a:pt x="3846" y="1159"/>
                  <a:pt x="3846" y="1160"/>
                  <a:pt x="3846" y="1162"/>
                </a:cubicBezTo>
                <a:cubicBezTo>
                  <a:pt x="3846" y="1177"/>
                  <a:pt x="3855" y="1187"/>
                  <a:pt x="3865" y="1187"/>
                </a:cubicBezTo>
                <a:cubicBezTo>
                  <a:pt x="3869" y="1187"/>
                  <a:pt x="3873" y="1186"/>
                  <a:pt x="3875" y="1182"/>
                </a:cubicBezTo>
                <a:cubicBezTo>
                  <a:pt x="3877" y="1179"/>
                  <a:pt x="3882" y="1173"/>
                  <a:pt x="3885" y="1167"/>
                </a:cubicBezTo>
                <a:cubicBezTo>
                  <a:pt x="3887" y="1164"/>
                  <a:pt x="3889" y="1161"/>
                  <a:pt x="3890" y="1159"/>
                </a:cubicBezTo>
                <a:cubicBezTo>
                  <a:pt x="3891" y="1156"/>
                  <a:pt x="3892" y="1155"/>
                  <a:pt x="3892" y="1151"/>
                </a:cubicBezTo>
                <a:cubicBezTo>
                  <a:pt x="3892" y="1148"/>
                  <a:pt x="3891" y="1145"/>
                  <a:pt x="3889" y="1144"/>
                </a:cubicBezTo>
                <a:cubicBezTo>
                  <a:pt x="3886" y="1141"/>
                  <a:pt x="3884" y="1143"/>
                  <a:pt x="3884" y="1133"/>
                </a:cubicBezTo>
                <a:cubicBezTo>
                  <a:pt x="3884" y="1132"/>
                  <a:pt x="3884" y="1132"/>
                  <a:pt x="3884" y="1132"/>
                </a:cubicBezTo>
                <a:cubicBezTo>
                  <a:pt x="3884" y="1127"/>
                  <a:pt x="3885" y="1123"/>
                  <a:pt x="3888" y="1120"/>
                </a:cubicBezTo>
                <a:cubicBezTo>
                  <a:pt x="3891" y="1118"/>
                  <a:pt x="3894" y="1116"/>
                  <a:pt x="3895" y="1116"/>
                </a:cubicBezTo>
                <a:cubicBezTo>
                  <a:pt x="3898" y="1118"/>
                  <a:pt x="3900" y="1118"/>
                  <a:pt x="3903" y="1118"/>
                </a:cubicBezTo>
                <a:cubicBezTo>
                  <a:pt x="3917" y="1118"/>
                  <a:pt x="3945" y="1110"/>
                  <a:pt x="3961" y="1100"/>
                </a:cubicBezTo>
                <a:cubicBezTo>
                  <a:pt x="3980" y="1087"/>
                  <a:pt x="3991" y="1063"/>
                  <a:pt x="4000" y="1055"/>
                </a:cubicBezTo>
                <a:cubicBezTo>
                  <a:pt x="4005" y="1050"/>
                  <a:pt x="4016" y="1040"/>
                  <a:pt x="4026" y="1029"/>
                </a:cubicBezTo>
                <a:cubicBezTo>
                  <a:pt x="4036" y="1018"/>
                  <a:pt x="4045" y="1007"/>
                  <a:pt x="4046" y="995"/>
                </a:cubicBezTo>
                <a:cubicBezTo>
                  <a:pt x="4046" y="995"/>
                  <a:pt x="4045" y="994"/>
                  <a:pt x="4045" y="993"/>
                </a:cubicBezTo>
                <a:cubicBezTo>
                  <a:pt x="4043" y="979"/>
                  <a:pt x="4047" y="958"/>
                  <a:pt x="4037" y="936"/>
                </a:cubicBezTo>
                <a:cubicBezTo>
                  <a:pt x="4028" y="918"/>
                  <a:pt x="4017" y="905"/>
                  <a:pt x="4012" y="898"/>
                </a:cubicBezTo>
                <a:cubicBezTo>
                  <a:pt x="4014" y="896"/>
                  <a:pt x="4018" y="895"/>
                  <a:pt x="4022" y="893"/>
                </a:cubicBezTo>
                <a:cubicBezTo>
                  <a:pt x="4028" y="890"/>
                  <a:pt x="4036" y="887"/>
                  <a:pt x="4041" y="881"/>
                </a:cubicBezTo>
                <a:cubicBezTo>
                  <a:pt x="4046" y="876"/>
                  <a:pt x="4048" y="871"/>
                  <a:pt x="4048" y="866"/>
                </a:cubicBezTo>
                <a:cubicBezTo>
                  <a:pt x="4048" y="856"/>
                  <a:pt x="4041" y="849"/>
                  <a:pt x="4032" y="848"/>
                </a:cubicBezTo>
                <a:cubicBezTo>
                  <a:pt x="4032" y="848"/>
                  <a:pt x="4031" y="849"/>
                  <a:pt x="4030" y="849"/>
                </a:cubicBezTo>
                <a:cubicBezTo>
                  <a:pt x="4025" y="850"/>
                  <a:pt x="4013" y="853"/>
                  <a:pt x="4008" y="853"/>
                </a:cubicBezTo>
                <a:cubicBezTo>
                  <a:pt x="4007" y="853"/>
                  <a:pt x="4006" y="853"/>
                  <a:pt x="4006" y="853"/>
                </a:cubicBezTo>
                <a:cubicBezTo>
                  <a:pt x="4005" y="853"/>
                  <a:pt x="4000" y="847"/>
                  <a:pt x="3990" y="838"/>
                </a:cubicBezTo>
                <a:cubicBezTo>
                  <a:pt x="3989" y="836"/>
                  <a:pt x="3989" y="836"/>
                  <a:pt x="3989" y="835"/>
                </a:cubicBezTo>
                <a:cubicBezTo>
                  <a:pt x="3989" y="834"/>
                  <a:pt x="3990" y="832"/>
                  <a:pt x="3991" y="831"/>
                </a:cubicBezTo>
                <a:cubicBezTo>
                  <a:pt x="3992" y="830"/>
                  <a:pt x="3992" y="829"/>
                  <a:pt x="3993" y="829"/>
                </a:cubicBezTo>
                <a:cubicBezTo>
                  <a:pt x="3993" y="829"/>
                  <a:pt x="3993" y="829"/>
                  <a:pt x="3993" y="829"/>
                </a:cubicBezTo>
                <a:cubicBezTo>
                  <a:pt x="3994" y="829"/>
                  <a:pt x="3995" y="829"/>
                  <a:pt x="3995" y="829"/>
                </a:cubicBezTo>
                <a:cubicBezTo>
                  <a:pt x="4002" y="829"/>
                  <a:pt x="4007" y="824"/>
                  <a:pt x="4012" y="820"/>
                </a:cubicBezTo>
                <a:cubicBezTo>
                  <a:pt x="4017" y="815"/>
                  <a:pt x="4022" y="811"/>
                  <a:pt x="4026" y="807"/>
                </a:cubicBezTo>
                <a:cubicBezTo>
                  <a:pt x="4024" y="812"/>
                  <a:pt x="4023" y="817"/>
                  <a:pt x="4023" y="822"/>
                </a:cubicBezTo>
                <a:cubicBezTo>
                  <a:pt x="4023" y="825"/>
                  <a:pt x="4024" y="827"/>
                  <a:pt x="4025" y="830"/>
                </a:cubicBezTo>
                <a:cubicBezTo>
                  <a:pt x="4026" y="833"/>
                  <a:pt x="4029" y="835"/>
                  <a:pt x="4033" y="836"/>
                </a:cubicBezTo>
                <a:cubicBezTo>
                  <a:pt x="4033" y="836"/>
                  <a:pt x="4034" y="836"/>
                  <a:pt x="4034" y="836"/>
                </a:cubicBezTo>
                <a:cubicBezTo>
                  <a:pt x="4043" y="836"/>
                  <a:pt x="4050" y="830"/>
                  <a:pt x="4057" y="825"/>
                </a:cubicBezTo>
                <a:cubicBezTo>
                  <a:pt x="4060" y="823"/>
                  <a:pt x="4063" y="820"/>
                  <a:pt x="4066" y="818"/>
                </a:cubicBezTo>
                <a:cubicBezTo>
                  <a:pt x="4066" y="818"/>
                  <a:pt x="4066" y="818"/>
                  <a:pt x="4066" y="818"/>
                </a:cubicBezTo>
                <a:cubicBezTo>
                  <a:pt x="4067" y="822"/>
                  <a:pt x="4069" y="827"/>
                  <a:pt x="4069" y="832"/>
                </a:cubicBezTo>
                <a:cubicBezTo>
                  <a:pt x="4069" y="834"/>
                  <a:pt x="4069" y="835"/>
                  <a:pt x="4068" y="836"/>
                </a:cubicBezTo>
                <a:cubicBezTo>
                  <a:pt x="4066" y="841"/>
                  <a:pt x="4065" y="846"/>
                  <a:pt x="4065" y="851"/>
                </a:cubicBezTo>
                <a:cubicBezTo>
                  <a:pt x="4065" y="854"/>
                  <a:pt x="4066" y="856"/>
                  <a:pt x="4066" y="859"/>
                </a:cubicBezTo>
                <a:cubicBezTo>
                  <a:pt x="4067" y="861"/>
                  <a:pt x="4069" y="865"/>
                  <a:pt x="4074" y="865"/>
                </a:cubicBezTo>
                <a:cubicBezTo>
                  <a:pt x="4075" y="865"/>
                  <a:pt x="4076" y="865"/>
                  <a:pt x="4077" y="865"/>
                </a:cubicBezTo>
                <a:cubicBezTo>
                  <a:pt x="4081" y="863"/>
                  <a:pt x="4084" y="860"/>
                  <a:pt x="4087" y="858"/>
                </a:cubicBezTo>
                <a:cubicBezTo>
                  <a:pt x="4087" y="857"/>
                  <a:pt x="4088" y="856"/>
                  <a:pt x="4089" y="856"/>
                </a:cubicBezTo>
                <a:cubicBezTo>
                  <a:pt x="4092" y="860"/>
                  <a:pt x="4095" y="863"/>
                  <a:pt x="4095" y="869"/>
                </a:cubicBezTo>
                <a:cubicBezTo>
                  <a:pt x="4095" y="870"/>
                  <a:pt x="4094" y="872"/>
                  <a:pt x="4094" y="875"/>
                </a:cubicBezTo>
                <a:cubicBezTo>
                  <a:pt x="4091" y="883"/>
                  <a:pt x="4084" y="888"/>
                  <a:pt x="4083" y="898"/>
                </a:cubicBezTo>
                <a:cubicBezTo>
                  <a:pt x="4083" y="904"/>
                  <a:pt x="4087" y="908"/>
                  <a:pt x="4092" y="912"/>
                </a:cubicBezTo>
                <a:cubicBezTo>
                  <a:pt x="4097" y="916"/>
                  <a:pt x="4102" y="917"/>
                  <a:pt x="4107" y="917"/>
                </a:cubicBezTo>
                <a:cubicBezTo>
                  <a:pt x="4117" y="917"/>
                  <a:pt x="4122" y="910"/>
                  <a:pt x="4128" y="907"/>
                </a:cubicBezTo>
                <a:cubicBezTo>
                  <a:pt x="4139" y="898"/>
                  <a:pt x="4144" y="880"/>
                  <a:pt x="4144" y="865"/>
                </a:cubicBezTo>
                <a:cubicBezTo>
                  <a:pt x="4144" y="860"/>
                  <a:pt x="4144" y="856"/>
                  <a:pt x="4141" y="852"/>
                </a:cubicBezTo>
                <a:cubicBezTo>
                  <a:pt x="4138" y="846"/>
                  <a:pt x="4133" y="839"/>
                  <a:pt x="4129" y="833"/>
                </a:cubicBezTo>
                <a:cubicBezTo>
                  <a:pt x="4126" y="828"/>
                  <a:pt x="4124" y="822"/>
                  <a:pt x="4123" y="820"/>
                </a:cubicBezTo>
                <a:cubicBezTo>
                  <a:pt x="4125" y="819"/>
                  <a:pt x="4130" y="817"/>
                  <a:pt x="4135" y="815"/>
                </a:cubicBezTo>
                <a:cubicBezTo>
                  <a:pt x="4139" y="813"/>
                  <a:pt x="4145" y="809"/>
                  <a:pt x="4145" y="801"/>
                </a:cubicBezTo>
                <a:cubicBezTo>
                  <a:pt x="4145" y="793"/>
                  <a:pt x="4152" y="786"/>
                  <a:pt x="4158" y="783"/>
                </a:cubicBezTo>
                <a:cubicBezTo>
                  <a:pt x="4164" y="780"/>
                  <a:pt x="4167" y="775"/>
                  <a:pt x="4171" y="771"/>
                </a:cubicBezTo>
                <a:cubicBezTo>
                  <a:pt x="4173" y="770"/>
                  <a:pt x="4174" y="768"/>
                  <a:pt x="4175" y="767"/>
                </a:cubicBezTo>
                <a:cubicBezTo>
                  <a:pt x="4177" y="769"/>
                  <a:pt x="4180" y="771"/>
                  <a:pt x="4183" y="772"/>
                </a:cubicBezTo>
                <a:cubicBezTo>
                  <a:pt x="4188" y="774"/>
                  <a:pt x="4193" y="775"/>
                  <a:pt x="4198" y="775"/>
                </a:cubicBezTo>
                <a:cubicBezTo>
                  <a:pt x="4203" y="775"/>
                  <a:pt x="4209" y="774"/>
                  <a:pt x="4212" y="769"/>
                </a:cubicBezTo>
                <a:cubicBezTo>
                  <a:pt x="4217" y="761"/>
                  <a:pt x="4247" y="731"/>
                  <a:pt x="4265" y="714"/>
                </a:cubicBezTo>
                <a:cubicBezTo>
                  <a:pt x="4285" y="697"/>
                  <a:pt x="4293" y="676"/>
                  <a:pt x="4297" y="656"/>
                </a:cubicBezTo>
                <a:cubicBezTo>
                  <a:pt x="4299" y="651"/>
                  <a:pt x="4300" y="646"/>
                  <a:pt x="4302" y="641"/>
                </a:cubicBezTo>
                <a:cubicBezTo>
                  <a:pt x="4302" y="643"/>
                  <a:pt x="4302" y="645"/>
                  <a:pt x="4302" y="646"/>
                </a:cubicBezTo>
                <a:cubicBezTo>
                  <a:pt x="4302" y="649"/>
                  <a:pt x="4302" y="653"/>
                  <a:pt x="4301" y="656"/>
                </a:cubicBezTo>
                <a:cubicBezTo>
                  <a:pt x="4301" y="660"/>
                  <a:pt x="4301" y="665"/>
                  <a:pt x="4301" y="671"/>
                </a:cubicBezTo>
                <a:cubicBezTo>
                  <a:pt x="4301" y="679"/>
                  <a:pt x="4301" y="687"/>
                  <a:pt x="4302" y="694"/>
                </a:cubicBezTo>
                <a:cubicBezTo>
                  <a:pt x="4302" y="698"/>
                  <a:pt x="4302" y="701"/>
                  <a:pt x="4303" y="703"/>
                </a:cubicBezTo>
                <a:cubicBezTo>
                  <a:pt x="4303" y="706"/>
                  <a:pt x="4303" y="708"/>
                  <a:pt x="4305" y="710"/>
                </a:cubicBezTo>
                <a:cubicBezTo>
                  <a:pt x="4306" y="713"/>
                  <a:pt x="4309" y="716"/>
                  <a:pt x="4312" y="719"/>
                </a:cubicBezTo>
                <a:cubicBezTo>
                  <a:pt x="4315" y="722"/>
                  <a:pt x="4319" y="725"/>
                  <a:pt x="4325" y="725"/>
                </a:cubicBezTo>
                <a:cubicBezTo>
                  <a:pt x="4326" y="725"/>
                  <a:pt x="4328" y="724"/>
                  <a:pt x="4330" y="724"/>
                </a:cubicBezTo>
                <a:cubicBezTo>
                  <a:pt x="4336" y="720"/>
                  <a:pt x="4335" y="715"/>
                  <a:pt x="4335" y="712"/>
                </a:cubicBezTo>
                <a:cubicBezTo>
                  <a:pt x="4335" y="706"/>
                  <a:pt x="4334" y="700"/>
                  <a:pt x="4333" y="694"/>
                </a:cubicBezTo>
                <a:cubicBezTo>
                  <a:pt x="4332" y="688"/>
                  <a:pt x="4331" y="683"/>
                  <a:pt x="4331" y="682"/>
                </a:cubicBezTo>
                <a:cubicBezTo>
                  <a:pt x="4331" y="682"/>
                  <a:pt x="4331" y="682"/>
                  <a:pt x="4331" y="681"/>
                </a:cubicBezTo>
                <a:cubicBezTo>
                  <a:pt x="4333" y="677"/>
                  <a:pt x="4338" y="673"/>
                  <a:pt x="4339" y="673"/>
                </a:cubicBezTo>
                <a:cubicBezTo>
                  <a:pt x="4343" y="672"/>
                  <a:pt x="4344" y="669"/>
                  <a:pt x="4345" y="667"/>
                </a:cubicBezTo>
                <a:cubicBezTo>
                  <a:pt x="4345" y="665"/>
                  <a:pt x="4345" y="663"/>
                  <a:pt x="4345" y="661"/>
                </a:cubicBezTo>
                <a:cubicBezTo>
                  <a:pt x="4345" y="652"/>
                  <a:pt x="4342" y="638"/>
                  <a:pt x="4337" y="630"/>
                </a:cubicBezTo>
                <a:cubicBezTo>
                  <a:pt x="4334" y="625"/>
                  <a:pt x="4331" y="622"/>
                  <a:pt x="4329" y="619"/>
                </a:cubicBezTo>
                <a:cubicBezTo>
                  <a:pt x="4329" y="619"/>
                  <a:pt x="4329" y="619"/>
                  <a:pt x="4329" y="619"/>
                </a:cubicBezTo>
                <a:cubicBezTo>
                  <a:pt x="4331" y="618"/>
                  <a:pt x="4332" y="616"/>
                  <a:pt x="4333" y="614"/>
                </a:cubicBezTo>
                <a:cubicBezTo>
                  <a:pt x="4335" y="611"/>
                  <a:pt x="4336" y="608"/>
                  <a:pt x="4336" y="604"/>
                </a:cubicBezTo>
                <a:cubicBezTo>
                  <a:pt x="4336" y="602"/>
                  <a:pt x="4336" y="599"/>
                  <a:pt x="4333" y="597"/>
                </a:cubicBezTo>
                <a:cubicBezTo>
                  <a:pt x="4333" y="596"/>
                  <a:pt x="4333" y="594"/>
                  <a:pt x="4332" y="592"/>
                </a:cubicBezTo>
                <a:cubicBezTo>
                  <a:pt x="4332" y="590"/>
                  <a:pt x="4328" y="585"/>
                  <a:pt x="4323" y="585"/>
                </a:cubicBezTo>
                <a:cubicBezTo>
                  <a:pt x="4321" y="585"/>
                  <a:pt x="4320" y="585"/>
                  <a:pt x="4318" y="586"/>
                </a:cubicBezTo>
                <a:cubicBezTo>
                  <a:pt x="4318" y="586"/>
                  <a:pt x="4312" y="586"/>
                  <a:pt x="4306" y="587"/>
                </a:cubicBezTo>
                <a:cubicBezTo>
                  <a:pt x="4304" y="587"/>
                  <a:pt x="4302" y="588"/>
                  <a:pt x="4300" y="589"/>
                </a:cubicBezTo>
                <a:cubicBezTo>
                  <a:pt x="4296" y="582"/>
                  <a:pt x="4290" y="577"/>
                  <a:pt x="4282" y="577"/>
                </a:cubicBezTo>
                <a:cubicBezTo>
                  <a:pt x="4281" y="577"/>
                  <a:pt x="4280" y="577"/>
                  <a:pt x="4279" y="577"/>
                </a:cubicBezTo>
                <a:cubicBezTo>
                  <a:pt x="4266" y="579"/>
                  <a:pt x="4261" y="585"/>
                  <a:pt x="4254" y="585"/>
                </a:cubicBezTo>
                <a:cubicBezTo>
                  <a:pt x="4254" y="585"/>
                  <a:pt x="4254" y="584"/>
                  <a:pt x="4254" y="583"/>
                </a:cubicBezTo>
                <a:cubicBezTo>
                  <a:pt x="4254" y="581"/>
                  <a:pt x="4254" y="578"/>
                  <a:pt x="4254" y="576"/>
                </a:cubicBezTo>
                <a:cubicBezTo>
                  <a:pt x="4254" y="574"/>
                  <a:pt x="4254" y="573"/>
                  <a:pt x="4253" y="571"/>
                </a:cubicBezTo>
                <a:cubicBezTo>
                  <a:pt x="4253" y="569"/>
                  <a:pt x="4250" y="566"/>
                  <a:pt x="4246" y="566"/>
                </a:cubicBezTo>
                <a:cubicBezTo>
                  <a:pt x="4242" y="566"/>
                  <a:pt x="4241" y="568"/>
                  <a:pt x="4239" y="569"/>
                </a:cubicBezTo>
                <a:cubicBezTo>
                  <a:pt x="4237" y="571"/>
                  <a:pt x="4235" y="573"/>
                  <a:pt x="4233" y="575"/>
                </a:cubicBezTo>
                <a:cubicBezTo>
                  <a:pt x="4232" y="576"/>
                  <a:pt x="4232" y="576"/>
                  <a:pt x="4231" y="576"/>
                </a:cubicBezTo>
                <a:cubicBezTo>
                  <a:pt x="4231" y="576"/>
                  <a:pt x="4232" y="575"/>
                  <a:pt x="4233" y="574"/>
                </a:cubicBezTo>
                <a:cubicBezTo>
                  <a:pt x="4237" y="569"/>
                  <a:pt x="4250" y="561"/>
                  <a:pt x="4261" y="557"/>
                </a:cubicBezTo>
                <a:cubicBezTo>
                  <a:pt x="4272" y="552"/>
                  <a:pt x="4283" y="540"/>
                  <a:pt x="4294" y="529"/>
                </a:cubicBezTo>
                <a:cubicBezTo>
                  <a:pt x="4300" y="524"/>
                  <a:pt x="4305" y="519"/>
                  <a:pt x="4309" y="515"/>
                </a:cubicBezTo>
                <a:cubicBezTo>
                  <a:pt x="4313" y="511"/>
                  <a:pt x="4317" y="509"/>
                  <a:pt x="4317" y="509"/>
                </a:cubicBezTo>
                <a:cubicBezTo>
                  <a:pt x="4319" y="509"/>
                  <a:pt x="4321" y="509"/>
                  <a:pt x="4323" y="509"/>
                </a:cubicBezTo>
                <a:cubicBezTo>
                  <a:pt x="4334" y="509"/>
                  <a:pt x="4352" y="511"/>
                  <a:pt x="4371" y="511"/>
                </a:cubicBezTo>
                <a:cubicBezTo>
                  <a:pt x="4375" y="511"/>
                  <a:pt x="4379" y="511"/>
                  <a:pt x="4383" y="511"/>
                </a:cubicBezTo>
                <a:cubicBezTo>
                  <a:pt x="4404" y="509"/>
                  <a:pt x="4416" y="501"/>
                  <a:pt x="4418" y="502"/>
                </a:cubicBezTo>
                <a:cubicBezTo>
                  <a:pt x="4419" y="502"/>
                  <a:pt x="4419" y="502"/>
                  <a:pt x="4420" y="502"/>
                </a:cubicBezTo>
                <a:cubicBezTo>
                  <a:pt x="4429" y="510"/>
                  <a:pt x="4444" y="517"/>
                  <a:pt x="4457" y="518"/>
                </a:cubicBezTo>
                <a:cubicBezTo>
                  <a:pt x="4458" y="518"/>
                  <a:pt x="4459" y="518"/>
                  <a:pt x="4460" y="517"/>
                </a:cubicBezTo>
                <a:cubicBezTo>
                  <a:pt x="4465" y="517"/>
                  <a:pt x="4468" y="517"/>
                  <a:pt x="4472" y="514"/>
                </a:cubicBezTo>
                <a:cubicBezTo>
                  <a:pt x="4475" y="512"/>
                  <a:pt x="4477" y="509"/>
                  <a:pt x="4485" y="502"/>
                </a:cubicBezTo>
                <a:cubicBezTo>
                  <a:pt x="4501" y="489"/>
                  <a:pt x="4516" y="482"/>
                  <a:pt x="4525" y="469"/>
                </a:cubicBezTo>
                <a:cubicBezTo>
                  <a:pt x="4529" y="464"/>
                  <a:pt x="4540" y="458"/>
                  <a:pt x="4545" y="459"/>
                </a:cubicBezTo>
                <a:cubicBezTo>
                  <a:pt x="4545" y="459"/>
                  <a:pt x="4544" y="459"/>
                  <a:pt x="4545" y="459"/>
                </a:cubicBezTo>
                <a:cubicBezTo>
                  <a:pt x="4545" y="460"/>
                  <a:pt x="4544" y="462"/>
                  <a:pt x="4544" y="464"/>
                </a:cubicBezTo>
                <a:cubicBezTo>
                  <a:pt x="4544" y="465"/>
                  <a:pt x="4544" y="467"/>
                  <a:pt x="4544" y="468"/>
                </a:cubicBezTo>
                <a:cubicBezTo>
                  <a:pt x="4544" y="472"/>
                  <a:pt x="4545" y="475"/>
                  <a:pt x="4546" y="479"/>
                </a:cubicBezTo>
                <a:cubicBezTo>
                  <a:pt x="4548" y="483"/>
                  <a:pt x="4553" y="486"/>
                  <a:pt x="4558" y="486"/>
                </a:cubicBezTo>
                <a:cubicBezTo>
                  <a:pt x="4559" y="486"/>
                  <a:pt x="4560" y="486"/>
                  <a:pt x="4560" y="486"/>
                </a:cubicBezTo>
                <a:cubicBezTo>
                  <a:pt x="4556" y="489"/>
                  <a:pt x="4553" y="491"/>
                  <a:pt x="4551" y="493"/>
                </a:cubicBezTo>
                <a:cubicBezTo>
                  <a:pt x="4547" y="496"/>
                  <a:pt x="4537" y="500"/>
                  <a:pt x="4527" y="504"/>
                </a:cubicBezTo>
                <a:cubicBezTo>
                  <a:pt x="4517" y="509"/>
                  <a:pt x="4506" y="515"/>
                  <a:pt x="4499" y="525"/>
                </a:cubicBezTo>
                <a:cubicBezTo>
                  <a:pt x="4489" y="539"/>
                  <a:pt x="4481" y="547"/>
                  <a:pt x="4481" y="564"/>
                </a:cubicBezTo>
                <a:cubicBezTo>
                  <a:pt x="4481" y="566"/>
                  <a:pt x="4481" y="567"/>
                  <a:pt x="4481" y="568"/>
                </a:cubicBezTo>
                <a:cubicBezTo>
                  <a:pt x="4482" y="586"/>
                  <a:pt x="4495" y="604"/>
                  <a:pt x="4495" y="616"/>
                </a:cubicBezTo>
                <a:cubicBezTo>
                  <a:pt x="4495" y="619"/>
                  <a:pt x="4494" y="621"/>
                  <a:pt x="4493" y="623"/>
                </a:cubicBezTo>
                <a:cubicBezTo>
                  <a:pt x="4483" y="641"/>
                  <a:pt x="4480" y="665"/>
                  <a:pt x="4480" y="665"/>
                </a:cubicBezTo>
                <a:cubicBezTo>
                  <a:pt x="4479" y="668"/>
                  <a:pt x="4481" y="671"/>
                  <a:pt x="4484" y="671"/>
                </a:cubicBezTo>
                <a:cubicBezTo>
                  <a:pt x="4487" y="673"/>
                  <a:pt x="4490" y="671"/>
                  <a:pt x="4491" y="669"/>
                </a:cubicBezTo>
                <a:cubicBezTo>
                  <a:pt x="4491" y="669"/>
                  <a:pt x="4494" y="663"/>
                  <a:pt x="4500" y="656"/>
                </a:cubicBezTo>
                <a:cubicBezTo>
                  <a:pt x="4506" y="648"/>
                  <a:pt x="4514" y="639"/>
                  <a:pt x="4523" y="632"/>
                </a:cubicBezTo>
                <a:cubicBezTo>
                  <a:pt x="4544" y="616"/>
                  <a:pt x="4556" y="594"/>
                  <a:pt x="4562" y="587"/>
                </a:cubicBezTo>
                <a:cubicBezTo>
                  <a:pt x="4563" y="585"/>
                  <a:pt x="4570" y="582"/>
                  <a:pt x="4576" y="579"/>
                </a:cubicBezTo>
                <a:cubicBezTo>
                  <a:pt x="4579" y="578"/>
                  <a:pt x="4582" y="577"/>
                  <a:pt x="4585" y="575"/>
                </a:cubicBezTo>
                <a:cubicBezTo>
                  <a:pt x="4588" y="572"/>
                  <a:pt x="4591" y="569"/>
                  <a:pt x="4591" y="564"/>
                </a:cubicBezTo>
                <a:cubicBezTo>
                  <a:pt x="4591" y="556"/>
                  <a:pt x="4596" y="544"/>
                  <a:pt x="4600" y="532"/>
                </a:cubicBezTo>
                <a:cubicBezTo>
                  <a:pt x="4600" y="530"/>
                  <a:pt x="4601" y="528"/>
                  <a:pt x="4601" y="527"/>
                </a:cubicBezTo>
                <a:cubicBezTo>
                  <a:pt x="4601" y="523"/>
                  <a:pt x="4599" y="520"/>
                  <a:pt x="4598" y="518"/>
                </a:cubicBezTo>
                <a:cubicBezTo>
                  <a:pt x="4598" y="517"/>
                  <a:pt x="4598" y="517"/>
                  <a:pt x="4598" y="517"/>
                </a:cubicBezTo>
                <a:close/>
                <a:moveTo>
                  <a:pt x="2891" y="398"/>
                </a:moveTo>
                <a:cubicBezTo>
                  <a:pt x="2900" y="398"/>
                  <a:pt x="2910" y="397"/>
                  <a:pt x="2921" y="393"/>
                </a:cubicBezTo>
                <a:cubicBezTo>
                  <a:pt x="2919" y="397"/>
                  <a:pt x="2919" y="401"/>
                  <a:pt x="2919" y="405"/>
                </a:cubicBezTo>
                <a:cubicBezTo>
                  <a:pt x="2919" y="406"/>
                  <a:pt x="2919" y="407"/>
                  <a:pt x="2919" y="408"/>
                </a:cubicBezTo>
                <a:cubicBezTo>
                  <a:pt x="2919" y="410"/>
                  <a:pt x="2919" y="411"/>
                  <a:pt x="2919" y="412"/>
                </a:cubicBezTo>
                <a:cubicBezTo>
                  <a:pt x="2915" y="413"/>
                  <a:pt x="2914" y="415"/>
                  <a:pt x="2912" y="414"/>
                </a:cubicBezTo>
                <a:cubicBezTo>
                  <a:pt x="2910" y="414"/>
                  <a:pt x="2908" y="414"/>
                  <a:pt x="2903" y="410"/>
                </a:cubicBezTo>
                <a:cubicBezTo>
                  <a:pt x="2897" y="406"/>
                  <a:pt x="2893" y="404"/>
                  <a:pt x="2888" y="403"/>
                </a:cubicBezTo>
                <a:cubicBezTo>
                  <a:pt x="2885" y="403"/>
                  <a:pt x="2882" y="405"/>
                  <a:pt x="2881" y="407"/>
                </a:cubicBezTo>
                <a:cubicBezTo>
                  <a:pt x="2880" y="408"/>
                  <a:pt x="2879" y="409"/>
                  <a:pt x="2879" y="409"/>
                </a:cubicBezTo>
                <a:cubicBezTo>
                  <a:pt x="2878" y="410"/>
                  <a:pt x="2871" y="414"/>
                  <a:pt x="2868" y="415"/>
                </a:cubicBezTo>
                <a:cubicBezTo>
                  <a:pt x="2868" y="415"/>
                  <a:pt x="2868" y="414"/>
                  <a:pt x="2868" y="414"/>
                </a:cubicBezTo>
                <a:cubicBezTo>
                  <a:pt x="2868" y="412"/>
                  <a:pt x="2868" y="410"/>
                  <a:pt x="2868" y="408"/>
                </a:cubicBezTo>
                <a:cubicBezTo>
                  <a:pt x="2868" y="406"/>
                  <a:pt x="2868" y="406"/>
                  <a:pt x="2868" y="406"/>
                </a:cubicBezTo>
                <a:cubicBezTo>
                  <a:pt x="2868" y="403"/>
                  <a:pt x="2868" y="398"/>
                  <a:pt x="2865" y="394"/>
                </a:cubicBezTo>
                <a:cubicBezTo>
                  <a:pt x="2873" y="396"/>
                  <a:pt x="2881" y="398"/>
                  <a:pt x="2891" y="398"/>
                </a:cubicBezTo>
                <a:close/>
                <a:moveTo>
                  <a:pt x="2805" y="472"/>
                </a:moveTo>
                <a:cubicBezTo>
                  <a:pt x="2806" y="469"/>
                  <a:pt x="2806" y="469"/>
                  <a:pt x="2808" y="469"/>
                </a:cubicBezTo>
                <a:cubicBezTo>
                  <a:pt x="2811" y="469"/>
                  <a:pt x="2816" y="471"/>
                  <a:pt x="2820" y="474"/>
                </a:cubicBezTo>
                <a:cubicBezTo>
                  <a:pt x="2822" y="475"/>
                  <a:pt x="2823" y="477"/>
                  <a:pt x="2824" y="479"/>
                </a:cubicBezTo>
                <a:cubicBezTo>
                  <a:pt x="2825" y="480"/>
                  <a:pt x="2825" y="480"/>
                  <a:pt x="2826" y="481"/>
                </a:cubicBezTo>
                <a:cubicBezTo>
                  <a:pt x="2826" y="481"/>
                  <a:pt x="2825" y="481"/>
                  <a:pt x="2825" y="481"/>
                </a:cubicBezTo>
                <a:cubicBezTo>
                  <a:pt x="2825" y="481"/>
                  <a:pt x="2824" y="482"/>
                  <a:pt x="2822" y="482"/>
                </a:cubicBezTo>
                <a:cubicBezTo>
                  <a:pt x="2819" y="482"/>
                  <a:pt x="2813" y="480"/>
                  <a:pt x="2809" y="478"/>
                </a:cubicBezTo>
                <a:cubicBezTo>
                  <a:pt x="2806" y="476"/>
                  <a:pt x="2804" y="473"/>
                  <a:pt x="2804" y="472"/>
                </a:cubicBezTo>
                <a:cubicBezTo>
                  <a:pt x="2804" y="472"/>
                  <a:pt x="2804" y="472"/>
                  <a:pt x="2804" y="472"/>
                </a:cubicBezTo>
                <a:cubicBezTo>
                  <a:pt x="2799" y="470"/>
                  <a:pt x="2799" y="470"/>
                  <a:pt x="2799" y="470"/>
                </a:cubicBezTo>
                <a:lnTo>
                  <a:pt x="2805" y="472"/>
                </a:lnTo>
                <a:close/>
                <a:moveTo>
                  <a:pt x="2773" y="756"/>
                </a:moveTo>
                <a:cubicBezTo>
                  <a:pt x="2781" y="749"/>
                  <a:pt x="2789" y="735"/>
                  <a:pt x="2796" y="721"/>
                </a:cubicBezTo>
                <a:cubicBezTo>
                  <a:pt x="2801" y="711"/>
                  <a:pt x="2806" y="710"/>
                  <a:pt x="2809" y="710"/>
                </a:cubicBezTo>
                <a:cubicBezTo>
                  <a:pt x="2810" y="710"/>
                  <a:pt x="2810" y="710"/>
                  <a:pt x="2811" y="710"/>
                </a:cubicBezTo>
                <a:cubicBezTo>
                  <a:pt x="2812" y="711"/>
                  <a:pt x="2817" y="717"/>
                  <a:pt x="2820" y="723"/>
                </a:cubicBezTo>
                <a:cubicBezTo>
                  <a:pt x="2824" y="730"/>
                  <a:pt x="2828" y="738"/>
                  <a:pt x="2829" y="741"/>
                </a:cubicBezTo>
                <a:cubicBezTo>
                  <a:pt x="2830" y="745"/>
                  <a:pt x="2835" y="748"/>
                  <a:pt x="2839" y="748"/>
                </a:cubicBezTo>
                <a:cubicBezTo>
                  <a:pt x="2844" y="748"/>
                  <a:pt x="2847" y="745"/>
                  <a:pt x="2850" y="743"/>
                </a:cubicBezTo>
                <a:cubicBezTo>
                  <a:pt x="2853" y="741"/>
                  <a:pt x="2856" y="739"/>
                  <a:pt x="2857" y="739"/>
                </a:cubicBezTo>
                <a:cubicBezTo>
                  <a:pt x="2864" y="734"/>
                  <a:pt x="2871" y="726"/>
                  <a:pt x="2873" y="716"/>
                </a:cubicBezTo>
                <a:cubicBezTo>
                  <a:pt x="2873" y="716"/>
                  <a:pt x="2874" y="714"/>
                  <a:pt x="2877" y="713"/>
                </a:cubicBezTo>
                <a:cubicBezTo>
                  <a:pt x="2879" y="712"/>
                  <a:pt x="2881" y="711"/>
                  <a:pt x="2884" y="711"/>
                </a:cubicBezTo>
                <a:cubicBezTo>
                  <a:pt x="2883" y="712"/>
                  <a:pt x="2882" y="712"/>
                  <a:pt x="2881" y="712"/>
                </a:cubicBezTo>
                <a:cubicBezTo>
                  <a:pt x="2879" y="713"/>
                  <a:pt x="2877" y="714"/>
                  <a:pt x="2876" y="715"/>
                </a:cubicBezTo>
                <a:cubicBezTo>
                  <a:pt x="2874" y="717"/>
                  <a:pt x="2873" y="719"/>
                  <a:pt x="2873" y="722"/>
                </a:cubicBezTo>
                <a:cubicBezTo>
                  <a:pt x="2873" y="727"/>
                  <a:pt x="2876" y="729"/>
                  <a:pt x="2879" y="731"/>
                </a:cubicBezTo>
                <a:cubicBezTo>
                  <a:pt x="2882" y="734"/>
                  <a:pt x="2886" y="736"/>
                  <a:pt x="2891" y="738"/>
                </a:cubicBezTo>
                <a:cubicBezTo>
                  <a:pt x="2903" y="742"/>
                  <a:pt x="2915" y="757"/>
                  <a:pt x="2931" y="767"/>
                </a:cubicBezTo>
                <a:cubicBezTo>
                  <a:pt x="2939" y="772"/>
                  <a:pt x="2942" y="780"/>
                  <a:pt x="2942" y="785"/>
                </a:cubicBezTo>
                <a:cubicBezTo>
                  <a:pt x="2942" y="788"/>
                  <a:pt x="2941" y="788"/>
                  <a:pt x="2941" y="788"/>
                </a:cubicBezTo>
                <a:cubicBezTo>
                  <a:pt x="2941" y="788"/>
                  <a:pt x="2941" y="788"/>
                  <a:pt x="2941" y="788"/>
                </a:cubicBezTo>
                <a:cubicBezTo>
                  <a:pt x="2935" y="790"/>
                  <a:pt x="2915" y="793"/>
                  <a:pt x="2903" y="792"/>
                </a:cubicBezTo>
                <a:cubicBezTo>
                  <a:pt x="2900" y="792"/>
                  <a:pt x="2898" y="792"/>
                  <a:pt x="2896" y="792"/>
                </a:cubicBezTo>
                <a:cubicBezTo>
                  <a:pt x="2889" y="792"/>
                  <a:pt x="2876" y="779"/>
                  <a:pt x="2859" y="776"/>
                </a:cubicBezTo>
                <a:cubicBezTo>
                  <a:pt x="2854" y="775"/>
                  <a:pt x="2849" y="774"/>
                  <a:pt x="2844" y="774"/>
                </a:cubicBezTo>
                <a:cubicBezTo>
                  <a:pt x="2832" y="774"/>
                  <a:pt x="2820" y="777"/>
                  <a:pt x="2813" y="787"/>
                </a:cubicBezTo>
                <a:cubicBezTo>
                  <a:pt x="2813" y="788"/>
                  <a:pt x="2808" y="790"/>
                  <a:pt x="2800" y="790"/>
                </a:cubicBezTo>
                <a:cubicBezTo>
                  <a:pt x="2794" y="790"/>
                  <a:pt x="2788" y="789"/>
                  <a:pt x="2783" y="789"/>
                </a:cubicBezTo>
                <a:cubicBezTo>
                  <a:pt x="2776" y="789"/>
                  <a:pt x="2772" y="793"/>
                  <a:pt x="2768" y="795"/>
                </a:cubicBezTo>
                <a:cubicBezTo>
                  <a:pt x="2768" y="792"/>
                  <a:pt x="2769" y="788"/>
                  <a:pt x="2769" y="785"/>
                </a:cubicBezTo>
                <a:cubicBezTo>
                  <a:pt x="2769" y="780"/>
                  <a:pt x="2769" y="775"/>
                  <a:pt x="2763" y="771"/>
                </a:cubicBezTo>
                <a:cubicBezTo>
                  <a:pt x="2764" y="768"/>
                  <a:pt x="2769" y="758"/>
                  <a:pt x="2773" y="756"/>
                </a:cubicBezTo>
                <a:close/>
                <a:moveTo>
                  <a:pt x="2673" y="431"/>
                </a:moveTo>
                <a:cubicBezTo>
                  <a:pt x="2681" y="422"/>
                  <a:pt x="2684" y="414"/>
                  <a:pt x="2684" y="407"/>
                </a:cubicBezTo>
                <a:cubicBezTo>
                  <a:pt x="2684" y="405"/>
                  <a:pt x="2683" y="402"/>
                  <a:pt x="2683" y="401"/>
                </a:cubicBezTo>
                <a:cubicBezTo>
                  <a:pt x="2684" y="400"/>
                  <a:pt x="2685" y="400"/>
                  <a:pt x="2686" y="400"/>
                </a:cubicBezTo>
                <a:cubicBezTo>
                  <a:pt x="2695" y="400"/>
                  <a:pt x="2703" y="399"/>
                  <a:pt x="2710" y="399"/>
                </a:cubicBezTo>
                <a:cubicBezTo>
                  <a:pt x="2713" y="399"/>
                  <a:pt x="2716" y="399"/>
                  <a:pt x="2719" y="400"/>
                </a:cubicBezTo>
                <a:cubicBezTo>
                  <a:pt x="2716" y="403"/>
                  <a:pt x="2710" y="408"/>
                  <a:pt x="2704" y="412"/>
                </a:cubicBezTo>
                <a:cubicBezTo>
                  <a:pt x="2695" y="418"/>
                  <a:pt x="2685" y="425"/>
                  <a:pt x="2677" y="429"/>
                </a:cubicBezTo>
                <a:cubicBezTo>
                  <a:pt x="2676" y="430"/>
                  <a:pt x="2674" y="431"/>
                  <a:pt x="2673" y="432"/>
                </a:cubicBezTo>
                <a:cubicBezTo>
                  <a:pt x="2673" y="432"/>
                  <a:pt x="2673" y="431"/>
                  <a:pt x="2673" y="431"/>
                </a:cubicBezTo>
                <a:close/>
                <a:moveTo>
                  <a:pt x="2518" y="522"/>
                </a:moveTo>
                <a:cubicBezTo>
                  <a:pt x="2518" y="521"/>
                  <a:pt x="2520" y="517"/>
                  <a:pt x="2523" y="514"/>
                </a:cubicBezTo>
                <a:cubicBezTo>
                  <a:pt x="2524" y="513"/>
                  <a:pt x="2525" y="512"/>
                  <a:pt x="2526" y="511"/>
                </a:cubicBezTo>
                <a:cubicBezTo>
                  <a:pt x="2527" y="517"/>
                  <a:pt x="2530" y="523"/>
                  <a:pt x="2532" y="529"/>
                </a:cubicBezTo>
                <a:cubicBezTo>
                  <a:pt x="2534" y="536"/>
                  <a:pt x="2537" y="542"/>
                  <a:pt x="2536" y="545"/>
                </a:cubicBezTo>
                <a:cubicBezTo>
                  <a:pt x="2536" y="545"/>
                  <a:pt x="2536" y="546"/>
                  <a:pt x="2536" y="546"/>
                </a:cubicBezTo>
                <a:cubicBezTo>
                  <a:pt x="2536" y="548"/>
                  <a:pt x="2535" y="551"/>
                  <a:pt x="2535" y="553"/>
                </a:cubicBezTo>
                <a:cubicBezTo>
                  <a:pt x="2535" y="557"/>
                  <a:pt x="2536" y="560"/>
                  <a:pt x="2538" y="563"/>
                </a:cubicBezTo>
                <a:cubicBezTo>
                  <a:pt x="2540" y="566"/>
                  <a:pt x="2544" y="569"/>
                  <a:pt x="2549" y="569"/>
                </a:cubicBezTo>
                <a:cubicBezTo>
                  <a:pt x="2549" y="569"/>
                  <a:pt x="2550" y="569"/>
                  <a:pt x="2551" y="568"/>
                </a:cubicBezTo>
                <a:cubicBezTo>
                  <a:pt x="2560" y="567"/>
                  <a:pt x="2602" y="556"/>
                  <a:pt x="2602" y="556"/>
                </a:cubicBezTo>
                <a:cubicBezTo>
                  <a:pt x="2604" y="555"/>
                  <a:pt x="2604" y="555"/>
                  <a:pt x="2604" y="555"/>
                </a:cubicBezTo>
                <a:cubicBezTo>
                  <a:pt x="2604" y="555"/>
                  <a:pt x="2618" y="549"/>
                  <a:pt x="2619" y="534"/>
                </a:cubicBezTo>
                <a:cubicBezTo>
                  <a:pt x="2619" y="533"/>
                  <a:pt x="2619" y="532"/>
                  <a:pt x="2618" y="531"/>
                </a:cubicBezTo>
                <a:cubicBezTo>
                  <a:pt x="2618" y="531"/>
                  <a:pt x="2618" y="530"/>
                  <a:pt x="2618" y="530"/>
                </a:cubicBezTo>
                <a:cubicBezTo>
                  <a:pt x="2618" y="527"/>
                  <a:pt x="2621" y="522"/>
                  <a:pt x="2625" y="517"/>
                </a:cubicBezTo>
                <a:cubicBezTo>
                  <a:pt x="2629" y="512"/>
                  <a:pt x="2633" y="508"/>
                  <a:pt x="2635" y="506"/>
                </a:cubicBezTo>
                <a:cubicBezTo>
                  <a:pt x="2638" y="502"/>
                  <a:pt x="2645" y="495"/>
                  <a:pt x="2645" y="485"/>
                </a:cubicBezTo>
                <a:cubicBezTo>
                  <a:pt x="2645" y="479"/>
                  <a:pt x="2641" y="472"/>
                  <a:pt x="2634" y="470"/>
                </a:cubicBezTo>
                <a:cubicBezTo>
                  <a:pt x="2629" y="468"/>
                  <a:pt x="2624" y="467"/>
                  <a:pt x="2622" y="465"/>
                </a:cubicBezTo>
                <a:cubicBezTo>
                  <a:pt x="2621" y="465"/>
                  <a:pt x="2620" y="464"/>
                  <a:pt x="2620" y="464"/>
                </a:cubicBezTo>
                <a:cubicBezTo>
                  <a:pt x="2620" y="464"/>
                  <a:pt x="2620" y="463"/>
                  <a:pt x="2621" y="463"/>
                </a:cubicBezTo>
                <a:cubicBezTo>
                  <a:pt x="2622" y="461"/>
                  <a:pt x="2623" y="459"/>
                  <a:pt x="2626" y="456"/>
                </a:cubicBezTo>
                <a:cubicBezTo>
                  <a:pt x="2633" y="449"/>
                  <a:pt x="2636" y="450"/>
                  <a:pt x="2644" y="449"/>
                </a:cubicBezTo>
                <a:cubicBezTo>
                  <a:pt x="2651" y="448"/>
                  <a:pt x="2659" y="446"/>
                  <a:pt x="2667" y="438"/>
                </a:cubicBezTo>
                <a:cubicBezTo>
                  <a:pt x="2664" y="442"/>
                  <a:pt x="2663" y="447"/>
                  <a:pt x="2663" y="452"/>
                </a:cubicBezTo>
                <a:cubicBezTo>
                  <a:pt x="2663" y="459"/>
                  <a:pt x="2665" y="465"/>
                  <a:pt x="2669" y="469"/>
                </a:cubicBezTo>
                <a:cubicBezTo>
                  <a:pt x="2670" y="472"/>
                  <a:pt x="2672" y="478"/>
                  <a:pt x="2675" y="484"/>
                </a:cubicBezTo>
                <a:cubicBezTo>
                  <a:pt x="2676" y="487"/>
                  <a:pt x="2678" y="490"/>
                  <a:pt x="2680" y="492"/>
                </a:cubicBezTo>
                <a:cubicBezTo>
                  <a:pt x="2682" y="495"/>
                  <a:pt x="2686" y="497"/>
                  <a:pt x="2690" y="497"/>
                </a:cubicBezTo>
                <a:cubicBezTo>
                  <a:pt x="2691" y="497"/>
                  <a:pt x="2692" y="497"/>
                  <a:pt x="2693" y="497"/>
                </a:cubicBezTo>
                <a:cubicBezTo>
                  <a:pt x="2705" y="493"/>
                  <a:pt x="2716" y="485"/>
                  <a:pt x="2724" y="486"/>
                </a:cubicBezTo>
                <a:cubicBezTo>
                  <a:pt x="2725" y="486"/>
                  <a:pt x="2725" y="486"/>
                  <a:pt x="2726" y="486"/>
                </a:cubicBezTo>
                <a:cubicBezTo>
                  <a:pt x="2728" y="486"/>
                  <a:pt x="2731" y="486"/>
                  <a:pt x="2734" y="486"/>
                </a:cubicBezTo>
                <a:cubicBezTo>
                  <a:pt x="2745" y="486"/>
                  <a:pt x="2759" y="485"/>
                  <a:pt x="2763" y="484"/>
                </a:cubicBezTo>
                <a:cubicBezTo>
                  <a:pt x="2764" y="485"/>
                  <a:pt x="2766" y="488"/>
                  <a:pt x="2768" y="490"/>
                </a:cubicBezTo>
                <a:cubicBezTo>
                  <a:pt x="2769" y="492"/>
                  <a:pt x="2770" y="494"/>
                  <a:pt x="2771" y="495"/>
                </a:cubicBezTo>
                <a:cubicBezTo>
                  <a:pt x="2764" y="497"/>
                  <a:pt x="2752" y="496"/>
                  <a:pt x="2734" y="497"/>
                </a:cubicBezTo>
                <a:cubicBezTo>
                  <a:pt x="2724" y="498"/>
                  <a:pt x="2714" y="498"/>
                  <a:pt x="2706" y="499"/>
                </a:cubicBezTo>
                <a:cubicBezTo>
                  <a:pt x="2702" y="499"/>
                  <a:pt x="2698" y="500"/>
                  <a:pt x="2695" y="500"/>
                </a:cubicBezTo>
                <a:cubicBezTo>
                  <a:pt x="2694" y="501"/>
                  <a:pt x="2692" y="501"/>
                  <a:pt x="2691" y="502"/>
                </a:cubicBezTo>
                <a:cubicBezTo>
                  <a:pt x="2689" y="503"/>
                  <a:pt x="2687" y="505"/>
                  <a:pt x="2687" y="509"/>
                </a:cubicBezTo>
                <a:cubicBezTo>
                  <a:pt x="2687" y="512"/>
                  <a:pt x="2689" y="513"/>
                  <a:pt x="2689" y="514"/>
                </a:cubicBezTo>
                <a:cubicBezTo>
                  <a:pt x="2693" y="518"/>
                  <a:pt x="2697" y="520"/>
                  <a:pt x="2701" y="523"/>
                </a:cubicBezTo>
                <a:cubicBezTo>
                  <a:pt x="2703" y="524"/>
                  <a:pt x="2704" y="525"/>
                  <a:pt x="2705" y="525"/>
                </a:cubicBezTo>
                <a:cubicBezTo>
                  <a:pt x="2704" y="526"/>
                  <a:pt x="2703" y="526"/>
                  <a:pt x="2702" y="526"/>
                </a:cubicBezTo>
                <a:cubicBezTo>
                  <a:pt x="2698" y="526"/>
                  <a:pt x="2691" y="522"/>
                  <a:pt x="2681" y="521"/>
                </a:cubicBezTo>
                <a:cubicBezTo>
                  <a:pt x="2680" y="520"/>
                  <a:pt x="2680" y="520"/>
                  <a:pt x="2679" y="520"/>
                </a:cubicBezTo>
                <a:cubicBezTo>
                  <a:pt x="2670" y="521"/>
                  <a:pt x="2665" y="528"/>
                  <a:pt x="2661" y="534"/>
                </a:cubicBezTo>
                <a:cubicBezTo>
                  <a:pt x="2657" y="541"/>
                  <a:pt x="2654" y="548"/>
                  <a:pt x="2653" y="554"/>
                </a:cubicBezTo>
                <a:cubicBezTo>
                  <a:pt x="2652" y="557"/>
                  <a:pt x="2652" y="560"/>
                  <a:pt x="2652" y="563"/>
                </a:cubicBezTo>
                <a:cubicBezTo>
                  <a:pt x="2652" y="566"/>
                  <a:pt x="2652" y="570"/>
                  <a:pt x="2652" y="572"/>
                </a:cubicBezTo>
                <a:cubicBezTo>
                  <a:pt x="2652" y="573"/>
                  <a:pt x="2652" y="574"/>
                  <a:pt x="2652" y="574"/>
                </a:cubicBezTo>
                <a:cubicBezTo>
                  <a:pt x="2651" y="574"/>
                  <a:pt x="2650" y="574"/>
                  <a:pt x="2649" y="573"/>
                </a:cubicBezTo>
                <a:cubicBezTo>
                  <a:pt x="2638" y="569"/>
                  <a:pt x="2629" y="567"/>
                  <a:pt x="2621" y="567"/>
                </a:cubicBezTo>
                <a:cubicBezTo>
                  <a:pt x="2617" y="567"/>
                  <a:pt x="2613" y="568"/>
                  <a:pt x="2609" y="570"/>
                </a:cubicBezTo>
                <a:cubicBezTo>
                  <a:pt x="2606" y="572"/>
                  <a:pt x="2592" y="577"/>
                  <a:pt x="2580" y="581"/>
                </a:cubicBezTo>
                <a:cubicBezTo>
                  <a:pt x="2579" y="582"/>
                  <a:pt x="2578" y="582"/>
                  <a:pt x="2578" y="582"/>
                </a:cubicBezTo>
                <a:cubicBezTo>
                  <a:pt x="2577" y="581"/>
                  <a:pt x="2572" y="574"/>
                  <a:pt x="2562" y="574"/>
                </a:cubicBezTo>
                <a:cubicBezTo>
                  <a:pt x="2561" y="574"/>
                  <a:pt x="2561" y="574"/>
                  <a:pt x="2561" y="574"/>
                </a:cubicBezTo>
                <a:cubicBezTo>
                  <a:pt x="2546" y="574"/>
                  <a:pt x="2546" y="574"/>
                  <a:pt x="2546" y="574"/>
                </a:cubicBezTo>
                <a:cubicBezTo>
                  <a:pt x="2545" y="574"/>
                  <a:pt x="2545" y="574"/>
                  <a:pt x="2545" y="574"/>
                </a:cubicBezTo>
                <a:cubicBezTo>
                  <a:pt x="2538" y="575"/>
                  <a:pt x="2538" y="575"/>
                  <a:pt x="2538" y="575"/>
                </a:cubicBezTo>
                <a:cubicBezTo>
                  <a:pt x="2536" y="573"/>
                  <a:pt x="2533" y="568"/>
                  <a:pt x="2532" y="563"/>
                </a:cubicBezTo>
                <a:cubicBezTo>
                  <a:pt x="2532" y="562"/>
                  <a:pt x="2532" y="562"/>
                  <a:pt x="2532" y="561"/>
                </a:cubicBezTo>
                <a:cubicBezTo>
                  <a:pt x="2532" y="555"/>
                  <a:pt x="2534" y="549"/>
                  <a:pt x="2534" y="543"/>
                </a:cubicBezTo>
                <a:cubicBezTo>
                  <a:pt x="2534" y="540"/>
                  <a:pt x="2533" y="535"/>
                  <a:pt x="2528" y="532"/>
                </a:cubicBezTo>
                <a:cubicBezTo>
                  <a:pt x="2525" y="531"/>
                  <a:pt x="2522" y="531"/>
                  <a:pt x="2520" y="531"/>
                </a:cubicBezTo>
                <a:cubicBezTo>
                  <a:pt x="2516" y="531"/>
                  <a:pt x="2513" y="531"/>
                  <a:pt x="2510" y="532"/>
                </a:cubicBezTo>
                <a:cubicBezTo>
                  <a:pt x="2513" y="530"/>
                  <a:pt x="2517" y="527"/>
                  <a:pt x="2518" y="522"/>
                </a:cubicBezTo>
                <a:close/>
                <a:moveTo>
                  <a:pt x="2636" y="804"/>
                </a:moveTo>
                <a:cubicBezTo>
                  <a:pt x="2635" y="803"/>
                  <a:pt x="2614" y="787"/>
                  <a:pt x="2605" y="782"/>
                </a:cubicBezTo>
                <a:cubicBezTo>
                  <a:pt x="2597" y="778"/>
                  <a:pt x="2583" y="770"/>
                  <a:pt x="2578" y="758"/>
                </a:cubicBezTo>
                <a:cubicBezTo>
                  <a:pt x="2573" y="750"/>
                  <a:pt x="2567" y="745"/>
                  <a:pt x="2562" y="741"/>
                </a:cubicBezTo>
                <a:cubicBezTo>
                  <a:pt x="2557" y="737"/>
                  <a:pt x="2555" y="735"/>
                  <a:pt x="2555" y="732"/>
                </a:cubicBezTo>
                <a:cubicBezTo>
                  <a:pt x="2555" y="732"/>
                  <a:pt x="2555" y="731"/>
                  <a:pt x="2555" y="731"/>
                </a:cubicBezTo>
                <a:cubicBezTo>
                  <a:pt x="2555" y="730"/>
                  <a:pt x="2555" y="730"/>
                  <a:pt x="2555" y="729"/>
                </a:cubicBezTo>
                <a:cubicBezTo>
                  <a:pt x="2555" y="729"/>
                  <a:pt x="2555" y="729"/>
                  <a:pt x="2555" y="729"/>
                </a:cubicBezTo>
                <a:cubicBezTo>
                  <a:pt x="2556" y="729"/>
                  <a:pt x="2556" y="729"/>
                  <a:pt x="2556" y="729"/>
                </a:cubicBezTo>
                <a:cubicBezTo>
                  <a:pt x="2558" y="729"/>
                  <a:pt x="2566" y="734"/>
                  <a:pt x="2571" y="740"/>
                </a:cubicBezTo>
                <a:cubicBezTo>
                  <a:pt x="2581" y="752"/>
                  <a:pt x="2604" y="767"/>
                  <a:pt x="2611" y="776"/>
                </a:cubicBezTo>
                <a:cubicBezTo>
                  <a:pt x="2621" y="787"/>
                  <a:pt x="2632" y="791"/>
                  <a:pt x="2634" y="800"/>
                </a:cubicBezTo>
                <a:cubicBezTo>
                  <a:pt x="2635" y="801"/>
                  <a:pt x="2635" y="803"/>
                  <a:pt x="2636" y="804"/>
                </a:cubicBezTo>
                <a:close/>
                <a:moveTo>
                  <a:pt x="2400" y="645"/>
                </a:moveTo>
                <a:cubicBezTo>
                  <a:pt x="2399" y="645"/>
                  <a:pt x="2399" y="645"/>
                  <a:pt x="2399" y="645"/>
                </a:cubicBezTo>
                <a:cubicBezTo>
                  <a:pt x="2398" y="648"/>
                  <a:pt x="2398" y="648"/>
                  <a:pt x="2395" y="649"/>
                </a:cubicBezTo>
                <a:cubicBezTo>
                  <a:pt x="2395" y="649"/>
                  <a:pt x="2394" y="649"/>
                  <a:pt x="2393" y="649"/>
                </a:cubicBezTo>
                <a:cubicBezTo>
                  <a:pt x="2395" y="648"/>
                  <a:pt x="2397" y="647"/>
                  <a:pt x="2400" y="645"/>
                </a:cubicBezTo>
                <a:close/>
                <a:moveTo>
                  <a:pt x="2831" y="1487"/>
                </a:moveTo>
                <a:cubicBezTo>
                  <a:pt x="2829" y="1490"/>
                  <a:pt x="2827" y="1494"/>
                  <a:pt x="2825" y="1496"/>
                </a:cubicBezTo>
                <a:cubicBezTo>
                  <a:pt x="2824" y="1497"/>
                  <a:pt x="2823" y="1497"/>
                  <a:pt x="2822" y="1498"/>
                </a:cubicBezTo>
                <a:cubicBezTo>
                  <a:pt x="2822" y="1498"/>
                  <a:pt x="2822" y="1498"/>
                  <a:pt x="2822" y="1498"/>
                </a:cubicBezTo>
                <a:cubicBezTo>
                  <a:pt x="2822" y="1497"/>
                  <a:pt x="2821" y="1496"/>
                  <a:pt x="2821" y="1494"/>
                </a:cubicBezTo>
                <a:cubicBezTo>
                  <a:pt x="2820" y="1492"/>
                  <a:pt x="2820" y="1488"/>
                  <a:pt x="2820" y="1485"/>
                </a:cubicBezTo>
                <a:cubicBezTo>
                  <a:pt x="2820" y="1477"/>
                  <a:pt x="2822" y="1467"/>
                  <a:pt x="2823" y="1465"/>
                </a:cubicBezTo>
                <a:cubicBezTo>
                  <a:pt x="2823" y="1465"/>
                  <a:pt x="2823" y="1466"/>
                  <a:pt x="2823" y="1466"/>
                </a:cubicBezTo>
                <a:cubicBezTo>
                  <a:pt x="2825" y="1464"/>
                  <a:pt x="2829" y="1464"/>
                  <a:pt x="2833" y="1464"/>
                </a:cubicBezTo>
                <a:cubicBezTo>
                  <a:pt x="2833" y="1464"/>
                  <a:pt x="2834" y="1464"/>
                  <a:pt x="2834" y="1464"/>
                </a:cubicBezTo>
                <a:cubicBezTo>
                  <a:pt x="2836" y="1464"/>
                  <a:pt x="2837" y="1463"/>
                  <a:pt x="2838" y="1464"/>
                </a:cubicBezTo>
                <a:cubicBezTo>
                  <a:pt x="2838" y="1464"/>
                  <a:pt x="2838" y="1463"/>
                  <a:pt x="2839" y="1464"/>
                </a:cubicBezTo>
                <a:cubicBezTo>
                  <a:pt x="2839" y="1464"/>
                  <a:pt x="2839" y="1464"/>
                  <a:pt x="2839" y="1465"/>
                </a:cubicBezTo>
                <a:cubicBezTo>
                  <a:pt x="2839" y="1470"/>
                  <a:pt x="2836" y="1480"/>
                  <a:pt x="2831" y="1487"/>
                </a:cubicBezTo>
                <a:close/>
                <a:moveTo>
                  <a:pt x="2836" y="953"/>
                </a:moveTo>
                <a:cubicBezTo>
                  <a:pt x="2835" y="954"/>
                  <a:pt x="2835" y="954"/>
                  <a:pt x="2835" y="954"/>
                </a:cubicBezTo>
                <a:cubicBezTo>
                  <a:pt x="2835" y="954"/>
                  <a:pt x="2835" y="955"/>
                  <a:pt x="2832" y="955"/>
                </a:cubicBezTo>
                <a:cubicBezTo>
                  <a:pt x="2829" y="955"/>
                  <a:pt x="2825" y="955"/>
                  <a:pt x="2821" y="956"/>
                </a:cubicBezTo>
                <a:cubicBezTo>
                  <a:pt x="2817" y="951"/>
                  <a:pt x="2813" y="946"/>
                  <a:pt x="2805" y="946"/>
                </a:cubicBezTo>
                <a:cubicBezTo>
                  <a:pt x="2804" y="946"/>
                  <a:pt x="2802" y="946"/>
                  <a:pt x="2801" y="947"/>
                </a:cubicBezTo>
                <a:cubicBezTo>
                  <a:pt x="2794" y="949"/>
                  <a:pt x="2785" y="950"/>
                  <a:pt x="2776" y="953"/>
                </a:cubicBezTo>
                <a:cubicBezTo>
                  <a:pt x="2776" y="953"/>
                  <a:pt x="2776" y="952"/>
                  <a:pt x="2776" y="951"/>
                </a:cubicBezTo>
                <a:cubicBezTo>
                  <a:pt x="2776" y="950"/>
                  <a:pt x="2776" y="948"/>
                  <a:pt x="2775" y="947"/>
                </a:cubicBezTo>
                <a:cubicBezTo>
                  <a:pt x="2772" y="942"/>
                  <a:pt x="2767" y="941"/>
                  <a:pt x="2763" y="940"/>
                </a:cubicBezTo>
                <a:cubicBezTo>
                  <a:pt x="2758" y="939"/>
                  <a:pt x="2753" y="939"/>
                  <a:pt x="2747" y="939"/>
                </a:cubicBezTo>
                <a:cubicBezTo>
                  <a:pt x="2738" y="939"/>
                  <a:pt x="2729" y="940"/>
                  <a:pt x="2723" y="940"/>
                </a:cubicBezTo>
                <a:cubicBezTo>
                  <a:pt x="2711" y="940"/>
                  <a:pt x="2699" y="930"/>
                  <a:pt x="2685" y="926"/>
                </a:cubicBezTo>
                <a:cubicBezTo>
                  <a:pt x="2684" y="926"/>
                  <a:pt x="2682" y="925"/>
                  <a:pt x="2681" y="925"/>
                </a:cubicBezTo>
                <a:cubicBezTo>
                  <a:pt x="2673" y="926"/>
                  <a:pt x="2666" y="930"/>
                  <a:pt x="2659" y="936"/>
                </a:cubicBezTo>
                <a:cubicBezTo>
                  <a:pt x="2653" y="942"/>
                  <a:pt x="2647" y="949"/>
                  <a:pt x="2641" y="956"/>
                </a:cubicBezTo>
                <a:cubicBezTo>
                  <a:pt x="2637" y="960"/>
                  <a:pt x="2635" y="961"/>
                  <a:pt x="2633" y="961"/>
                </a:cubicBezTo>
                <a:cubicBezTo>
                  <a:pt x="2630" y="961"/>
                  <a:pt x="2624" y="958"/>
                  <a:pt x="2616" y="957"/>
                </a:cubicBezTo>
                <a:cubicBezTo>
                  <a:pt x="2614" y="958"/>
                  <a:pt x="2606" y="954"/>
                  <a:pt x="2601" y="950"/>
                </a:cubicBezTo>
                <a:cubicBezTo>
                  <a:pt x="2595" y="945"/>
                  <a:pt x="2590" y="941"/>
                  <a:pt x="2590" y="941"/>
                </a:cubicBezTo>
                <a:cubicBezTo>
                  <a:pt x="2589" y="940"/>
                  <a:pt x="2589" y="940"/>
                  <a:pt x="2589" y="940"/>
                </a:cubicBezTo>
                <a:cubicBezTo>
                  <a:pt x="2589" y="940"/>
                  <a:pt x="2584" y="938"/>
                  <a:pt x="2577" y="935"/>
                </a:cubicBezTo>
                <a:cubicBezTo>
                  <a:pt x="2571" y="933"/>
                  <a:pt x="2564" y="930"/>
                  <a:pt x="2558" y="930"/>
                </a:cubicBezTo>
                <a:cubicBezTo>
                  <a:pt x="2558" y="930"/>
                  <a:pt x="2557" y="929"/>
                  <a:pt x="2554" y="928"/>
                </a:cubicBezTo>
                <a:cubicBezTo>
                  <a:pt x="2551" y="926"/>
                  <a:pt x="2546" y="922"/>
                  <a:pt x="2542" y="919"/>
                </a:cubicBezTo>
                <a:cubicBezTo>
                  <a:pt x="2540" y="917"/>
                  <a:pt x="2538" y="916"/>
                  <a:pt x="2537" y="915"/>
                </a:cubicBezTo>
                <a:cubicBezTo>
                  <a:pt x="2535" y="914"/>
                  <a:pt x="2533" y="912"/>
                  <a:pt x="2530" y="912"/>
                </a:cubicBezTo>
                <a:cubicBezTo>
                  <a:pt x="2530" y="912"/>
                  <a:pt x="2528" y="910"/>
                  <a:pt x="2526" y="909"/>
                </a:cubicBezTo>
                <a:cubicBezTo>
                  <a:pt x="2525" y="908"/>
                  <a:pt x="2524" y="906"/>
                  <a:pt x="2524" y="906"/>
                </a:cubicBezTo>
                <a:cubicBezTo>
                  <a:pt x="2524" y="906"/>
                  <a:pt x="2524" y="905"/>
                  <a:pt x="2525" y="905"/>
                </a:cubicBezTo>
                <a:cubicBezTo>
                  <a:pt x="2526" y="904"/>
                  <a:pt x="2528" y="904"/>
                  <a:pt x="2531" y="904"/>
                </a:cubicBezTo>
                <a:cubicBezTo>
                  <a:pt x="2533" y="904"/>
                  <a:pt x="2536" y="903"/>
                  <a:pt x="2538" y="901"/>
                </a:cubicBezTo>
                <a:cubicBezTo>
                  <a:pt x="2540" y="898"/>
                  <a:pt x="2541" y="895"/>
                  <a:pt x="2541" y="893"/>
                </a:cubicBezTo>
                <a:cubicBezTo>
                  <a:pt x="2540" y="888"/>
                  <a:pt x="2539" y="883"/>
                  <a:pt x="2537" y="874"/>
                </a:cubicBezTo>
                <a:cubicBezTo>
                  <a:pt x="2531" y="854"/>
                  <a:pt x="2518" y="846"/>
                  <a:pt x="2507" y="846"/>
                </a:cubicBezTo>
                <a:cubicBezTo>
                  <a:pt x="2500" y="846"/>
                  <a:pt x="2494" y="849"/>
                  <a:pt x="2490" y="851"/>
                </a:cubicBezTo>
                <a:cubicBezTo>
                  <a:pt x="2490" y="851"/>
                  <a:pt x="2490" y="851"/>
                  <a:pt x="2489" y="851"/>
                </a:cubicBezTo>
                <a:cubicBezTo>
                  <a:pt x="2482" y="852"/>
                  <a:pt x="2463" y="853"/>
                  <a:pt x="2447" y="853"/>
                </a:cubicBezTo>
                <a:cubicBezTo>
                  <a:pt x="2435" y="853"/>
                  <a:pt x="2425" y="853"/>
                  <a:pt x="2423" y="853"/>
                </a:cubicBezTo>
                <a:cubicBezTo>
                  <a:pt x="2419" y="853"/>
                  <a:pt x="2417" y="854"/>
                  <a:pt x="2413" y="855"/>
                </a:cubicBezTo>
                <a:cubicBezTo>
                  <a:pt x="2400" y="860"/>
                  <a:pt x="2380" y="868"/>
                  <a:pt x="2371" y="873"/>
                </a:cubicBezTo>
                <a:cubicBezTo>
                  <a:pt x="2362" y="878"/>
                  <a:pt x="2345" y="884"/>
                  <a:pt x="2338" y="888"/>
                </a:cubicBezTo>
                <a:cubicBezTo>
                  <a:pt x="2338" y="888"/>
                  <a:pt x="2338" y="888"/>
                  <a:pt x="2337" y="888"/>
                </a:cubicBezTo>
                <a:cubicBezTo>
                  <a:pt x="2334" y="888"/>
                  <a:pt x="2324" y="886"/>
                  <a:pt x="2315" y="886"/>
                </a:cubicBezTo>
                <a:cubicBezTo>
                  <a:pt x="2316" y="883"/>
                  <a:pt x="2317" y="881"/>
                  <a:pt x="2318" y="878"/>
                </a:cubicBezTo>
                <a:cubicBezTo>
                  <a:pt x="2319" y="877"/>
                  <a:pt x="2320" y="876"/>
                  <a:pt x="2320" y="875"/>
                </a:cubicBezTo>
                <a:cubicBezTo>
                  <a:pt x="2323" y="876"/>
                  <a:pt x="2325" y="876"/>
                  <a:pt x="2327" y="876"/>
                </a:cubicBezTo>
                <a:cubicBezTo>
                  <a:pt x="2336" y="876"/>
                  <a:pt x="2345" y="873"/>
                  <a:pt x="2352" y="872"/>
                </a:cubicBezTo>
                <a:cubicBezTo>
                  <a:pt x="2360" y="871"/>
                  <a:pt x="2365" y="865"/>
                  <a:pt x="2369" y="861"/>
                </a:cubicBezTo>
                <a:cubicBezTo>
                  <a:pt x="2373" y="856"/>
                  <a:pt x="2377" y="851"/>
                  <a:pt x="2381" y="849"/>
                </a:cubicBezTo>
                <a:cubicBezTo>
                  <a:pt x="2383" y="847"/>
                  <a:pt x="2385" y="846"/>
                  <a:pt x="2387" y="844"/>
                </a:cubicBezTo>
                <a:cubicBezTo>
                  <a:pt x="2388" y="843"/>
                  <a:pt x="2390" y="840"/>
                  <a:pt x="2390" y="837"/>
                </a:cubicBezTo>
                <a:cubicBezTo>
                  <a:pt x="2390" y="834"/>
                  <a:pt x="2388" y="832"/>
                  <a:pt x="2387" y="831"/>
                </a:cubicBezTo>
                <a:cubicBezTo>
                  <a:pt x="2386" y="829"/>
                  <a:pt x="2385" y="828"/>
                  <a:pt x="2384" y="826"/>
                </a:cubicBezTo>
                <a:cubicBezTo>
                  <a:pt x="2384" y="826"/>
                  <a:pt x="2384" y="826"/>
                  <a:pt x="2384" y="826"/>
                </a:cubicBezTo>
                <a:cubicBezTo>
                  <a:pt x="2384" y="825"/>
                  <a:pt x="2386" y="822"/>
                  <a:pt x="2390" y="818"/>
                </a:cubicBezTo>
                <a:cubicBezTo>
                  <a:pt x="2393" y="814"/>
                  <a:pt x="2398" y="809"/>
                  <a:pt x="2402" y="805"/>
                </a:cubicBezTo>
                <a:cubicBezTo>
                  <a:pt x="2404" y="802"/>
                  <a:pt x="2407" y="802"/>
                  <a:pt x="2413" y="801"/>
                </a:cubicBezTo>
                <a:cubicBezTo>
                  <a:pt x="2416" y="801"/>
                  <a:pt x="2419" y="801"/>
                  <a:pt x="2422" y="799"/>
                </a:cubicBezTo>
                <a:cubicBezTo>
                  <a:pt x="2425" y="798"/>
                  <a:pt x="2428" y="794"/>
                  <a:pt x="2429" y="790"/>
                </a:cubicBezTo>
                <a:cubicBezTo>
                  <a:pt x="2431" y="784"/>
                  <a:pt x="2432" y="777"/>
                  <a:pt x="2434" y="772"/>
                </a:cubicBezTo>
                <a:cubicBezTo>
                  <a:pt x="2435" y="769"/>
                  <a:pt x="2436" y="767"/>
                  <a:pt x="2436" y="766"/>
                </a:cubicBezTo>
                <a:cubicBezTo>
                  <a:pt x="2437" y="766"/>
                  <a:pt x="2437" y="766"/>
                  <a:pt x="2437" y="766"/>
                </a:cubicBezTo>
                <a:cubicBezTo>
                  <a:pt x="2445" y="767"/>
                  <a:pt x="2457" y="774"/>
                  <a:pt x="2467" y="774"/>
                </a:cubicBezTo>
                <a:cubicBezTo>
                  <a:pt x="2475" y="773"/>
                  <a:pt x="2481" y="769"/>
                  <a:pt x="2487" y="765"/>
                </a:cubicBezTo>
                <a:cubicBezTo>
                  <a:pt x="2493" y="761"/>
                  <a:pt x="2500" y="756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0" y="755"/>
                  <a:pt x="2500" y="755"/>
                  <a:pt x="2500" y="755"/>
                </a:cubicBezTo>
                <a:cubicBezTo>
                  <a:pt x="2501" y="755"/>
                  <a:pt x="2502" y="755"/>
                  <a:pt x="2503" y="755"/>
                </a:cubicBezTo>
                <a:cubicBezTo>
                  <a:pt x="2506" y="755"/>
                  <a:pt x="2509" y="755"/>
                  <a:pt x="2511" y="757"/>
                </a:cubicBezTo>
                <a:cubicBezTo>
                  <a:pt x="2514" y="758"/>
                  <a:pt x="2515" y="760"/>
                  <a:pt x="2516" y="762"/>
                </a:cubicBezTo>
                <a:cubicBezTo>
                  <a:pt x="2517" y="771"/>
                  <a:pt x="2524" y="778"/>
                  <a:pt x="2530" y="784"/>
                </a:cubicBezTo>
                <a:cubicBezTo>
                  <a:pt x="2536" y="790"/>
                  <a:pt x="2542" y="795"/>
                  <a:pt x="2545" y="796"/>
                </a:cubicBezTo>
                <a:cubicBezTo>
                  <a:pt x="2548" y="798"/>
                  <a:pt x="2556" y="802"/>
                  <a:pt x="2565" y="805"/>
                </a:cubicBezTo>
                <a:cubicBezTo>
                  <a:pt x="2570" y="807"/>
                  <a:pt x="2574" y="809"/>
                  <a:pt x="2577" y="810"/>
                </a:cubicBezTo>
                <a:cubicBezTo>
                  <a:pt x="2580" y="812"/>
                  <a:pt x="2583" y="814"/>
                  <a:pt x="2583" y="814"/>
                </a:cubicBezTo>
                <a:cubicBezTo>
                  <a:pt x="2586" y="816"/>
                  <a:pt x="2593" y="828"/>
                  <a:pt x="2595" y="838"/>
                </a:cubicBezTo>
                <a:cubicBezTo>
                  <a:pt x="2597" y="845"/>
                  <a:pt x="2600" y="851"/>
                  <a:pt x="2607" y="851"/>
                </a:cubicBezTo>
                <a:cubicBezTo>
                  <a:pt x="2614" y="851"/>
                  <a:pt x="2618" y="845"/>
                  <a:pt x="2618" y="839"/>
                </a:cubicBezTo>
                <a:cubicBezTo>
                  <a:pt x="2619" y="838"/>
                  <a:pt x="2619" y="837"/>
                  <a:pt x="2619" y="836"/>
                </a:cubicBezTo>
                <a:cubicBezTo>
                  <a:pt x="2619" y="829"/>
                  <a:pt x="2617" y="822"/>
                  <a:pt x="2617" y="818"/>
                </a:cubicBezTo>
                <a:cubicBezTo>
                  <a:pt x="2617" y="818"/>
                  <a:pt x="2618" y="818"/>
                  <a:pt x="2618" y="818"/>
                </a:cubicBezTo>
                <a:cubicBezTo>
                  <a:pt x="2627" y="818"/>
                  <a:pt x="2635" y="815"/>
                  <a:pt x="2636" y="815"/>
                </a:cubicBezTo>
                <a:cubicBezTo>
                  <a:pt x="2637" y="814"/>
                  <a:pt x="2636" y="812"/>
                  <a:pt x="2640" y="810"/>
                </a:cubicBezTo>
                <a:cubicBezTo>
                  <a:pt x="2640" y="810"/>
                  <a:pt x="2640" y="810"/>
                  <a:pt x="2640" y="810"/>
                </a:cubicBezTo>
                <a:cubicBezTo>
                  <a:pt x="2644" y="820"/>
                  <a:pt x="2651" y="829"/>
                  <a:pt x="2653" y="833"/>
                </a:cubicBezTo>
                <a:cubicBezTo>
                  <a:pt x="2654" y="835"/>
                  <a:pt x="2658" y="844"/>
                  <a:pt x="2661" y="853"/>
                </a:cubicBezTo>
                <a:cubicBezTo>
                  <a:pt x="2665" y="862"/>
                  <a:pt x="2669" y="871"/>
                  <a:pt x="2671" y="875"/>
                </a:cubicBezTo>
                <a:cubicBezTo>
                  <a:pt x="2672" y="879"/>
                  <a:pt x="2677" y="881"/>
                  <a:pt x="2680" y="881"/>
                </a:cubicBezTo>
                <a:cubicBezTo>
                  <a:pt x="2689" y="881"/>
                  <a:pt x="2696" y="874"/>
                  <a:pt x="2701" y="870"/>
                </a:cubicBezTo>
                <a:cubicBezTo>
                  <a:pt x="2703" y="868"/>
                  <a:pt x="2706" y="866"/>
                  <a:pt x="2711" y="863"/>
                </a:cubicBezTo>
                <a:cubicBezTo>
                  <a:pt x="2715" y="860"/>
                  <a:pt x="2719" y="854"/>
                  <a:pt x="2720" y="847"/>
                </a:cubicBezTo>
                <a:cubicBezTo>
                  <a:pt x="2720" y="846"/>
                  <a:pt x="2720" y="846"/>
                  <a:pt x="2720" y="845"/>
                </a:cubicBezTo>
                <a:cubicBezTo>
                  <a:pt x="2720" y="837"/>
                  <a:pt x="2715" y="831"/>
                  <a:pt x="2710" y="827"/>
                </a:cubicBezTo>
                <a:cubicBezTo>
                  <a:pt x="2708" y="825"/>
                  <a:pt x="2705" y="823"/>
                  <a:pt x="2703" y="822"/>
                </a:cubicBezTo>
                <a:cubicBezTo>
                  <a:pt x="2704" y="821"/>
                  <a:pt x="2705" y="821"/>
                  <a:pt x="2707" y="820"/>
                </a:cubicBezTo>
                <a:cubicBezTo>
                  <a:pt x="2710" y="818"/>
                  <a:pt x="2714" y="816"/>
                  <a:pt x="2717" y="814"/>
                </a:cubicBezTo>
                <a:cubicBezTo>
                  <a:pt x="2720" y="810"/>
                  <a:pt x="2726" y="806"/>
                  <a:pt x="2728" y="805"/>
                </a:cubicBezTo>
                <a:cubicBezTo>
                  <a:pt x="2728" y="805"/>
                  <a:pt x="2728" y="805"/>
                  <a:pt x="2728" y="805"/>
                </a:cubicBezTo>
                <a:cubicBezTo>
                  <a:pt x="2729" y="806"/>
                  <a:pt x="2730" y="817"/>
                  <a:pt x="2730" y="827"/>
                </a:cubicBezTo>
                <a:cubicBezTo>
                  <a:pt x="2731" y="832"/>
                  <a:pt x="2731" y="837"/>
                  <a:pt x="2731" y="841"/>
                </a:cubicBezTo>
                <a:cubicBezTo>
                  <a:pt x="2731" y="845"/>
                  <a:pt x="2731" y="848"/>
                  <a:pt x="2732" y="851"/>
                </a:cubicBezTo>
                <a:cubicBezTo>
                  <a:pt x="2734" y="855"/>
                  <a:pt x="2737" y="857"/>
                  <a:pt x="2740" y="859"/>
                </a:cubicBezTo>
                <a:cubicBezTo>
                  <a:pt x="2744" y="862"/>
                  <a:pt x="2749" y="864"/>
                  <a:pt x="2754" y="867"/>
                </a:cubicBezTo>
                <a:cubicBezTo>
                  <a:pt x="2759" y="869"/>
                  <a:pt x="2763" y="873"/>
                  <a:pt x="2763" y="873"/>
                </a:cubicBezTo>
                <a:cubicBezTo>
                  <a:pt x="2769" y="881"/>
                  <a:pt x="2779" y="883"/>
                  <a:pt x="2788" y="883"/>
                </a:cubicBezTo>
                <a:cubicBezTo>
                  <a:pt x="2792" y="883"/>
                  <a:pt x="2795" y="884"/>
                  <a:pt x="2799" y="880"/>
                </a:cubicBezTo>
                <a:cubicBezTo>
                  <a:pt x="2799" y="880"/>
                  <a:pt x="2799" y="880"/>
                  <a:pt x="2800" y="880"/>
                </a:cubicBezTo>
                <a:cubicBezTo>
                  <a:pt x="2804" y="880"/>
                  <a:pt x="2816" y="884"/>
                  <a:pt x="2820" y="885"/>
                </a:cubicBezTo>
                <a:cubicBezTo>
                  <a:pt x="2822" y="886"/>
                  <a:pt x="2823" y="886"/>
                  <a:pt x="2824" y="886"/>
                </a:cubicBezTo>
                <a:cubicBezTo>
                  <a:pt x="2832" y="886"/>
                  <a:pt x="2843" y="882"/>
                  <a:pt x="2851" y="880"/>
                </a:cubicBezTo>
                <a:cubicBezTo>
                  <a:pt x="2855" y="878"/>
                  <a:pt x="2859" y="877"/>
                  <a:pt x="2861" y="876"/>
                </a:cubicBezTo>
                <a:cubicBezTo>
                  <a:pt x="2861" y="877"/>
                  <a:pt x="2861" y="877"/>
                  <a:pt x="2861" y="878"/>
                </a:cubicBezTo>
                <a:cubicBezTo>
                  <a:pt x="2861" y="879"/>
                  <a:pt x="2861" y="880"/>
                  <a:pt x="2861" y="881"/>
                </a:cubicBezTo>
                <a:cubicBezTo>
                  <a:pt x="2860" y="898"/>
                  <a:pt x="2856" y="925"/>
                  <a:pt x="2846" y="936"/>
                </a:cubicBezTo>
                <a:cubicBezTo>
                  <a:pt x="2840" y="944"/>
                  <a:pt x="2837" y="950"/>
                  <a:pt x="2836" y="953"/>
                </a:cubicBezTo>
                <a:close/>
                <a:moveTo>
                  <a:pt x="2953" y="1233"/>
                </a:moveTo>
                <a:cubicBezTo>
                  <a:pt x="2950" y="1230"/>
                  <a:pt x="2948" y="1227"/>
                  <a:pt x="2944" y="1225"/>
                </a:cubicBezTo>
                <a:cubicBezTo>
                  <a:pt x="2944" y="1225"/>
                  <a:pt x="2944" y="1225"/>
                  <a:pt x="2944" y="1225"/>
                </a:cubicBezTo>
                <a:cubicBezTo>
                  <a:pt x="2944" y="1225"/>
                  <a:pt x="2939" y="1220"/>
                  <a:pt x="2935" y="1215"/>
                </a:cubicBezTo>
                <a:cubicBezTo>
                  <a:pt x="2931" y="1209"/>
                  <a:pt x="2926" y="1202"/>
                  <a:pt x="2924" y="1195"/>
                </a:cubicBezTo>
                <a:cubicBezTo>
                  <a:pt x="2918" y="1178"/>
                  <a:pt x="2910" y="1157"/>
                  <a:pt x="2900" y="1143"/>
                </a:cubicBezTo>
                <a:cubicBezTo>
                  <a:pt x="2892" y="1133"/>
                  <a:pt x="2886" y="1104"/>
                  <a:pt x="2877" y="1084"/>
                </a:cubicBezTo>
                <a:cubicBezTo>
                  <a:pt x="2868" y="1065"/>
                  <a:pt x="2860" y="1040"/>
                  <a:pt x="2852" y="1022"/>
                </a:cubicBezTo>
                <a:cubicBezTo>
                  <a:pt x="2851" y="1019"/>
                  <a:pt x="2850" y="1017"/>
                  <a:pt x="2848" y="1015"/>
                </a:cubicBezTo>
                <a:cubicBezTo>
                  <a:pt x="2853" y="1014"/>
                  <a:pt x="2858" y="1012"/>
                  <a:pt x="2861" y="1013"/>
                </a:cubicBezTo>
                <a:cubicBezTo>
                  <a:pt x="2862" y="1013"/>
                  <a:pt x="2862" y="1013"/>
                  <a:pt x="2862" y="1013"/>
                </a:cubicBezTo>
                <a:cubicBezTo>
                  <a:pt x="2866" y="1024"/>
                  <a:pt x="2877" y="1044"/>
                  <a:pt x="2879" y="1057"/>
                </a:cubicBezTo>
                <a:cubicBezTo>
                  <a:pt x="2880" y="1066"/>
                  <a:pt x="2887" y="1071"/>
                  <a:pt x="2890" y="1073"/>
                </a:cubicBezTo>
                <a:cubicBezTo>
                  <a:pt x="2894" y="1076"/>
                  <a:pt x="2894" y="1075"/>
                  <a:pt x="2895" y="1080"/>
                </a:cubicBezTo>
                <a:cubicBezTo>
                  <a:pt x="2896" y="1088"/>
                  <a:pt x="2899" y="1100"/>
                  <a:pt x="2903" y="1110"/>
                </a:cubicBezTo>
                <a:cubicBezTo>
                  <a:pt x="2905" y="1116"/>
                  <a:pt x="2907" y="1121"/>
                  <a:pt x="2909" y="1125"/>
                </a:cubicBezTo>
                <a:cubicBezTo>
                  <a:pt x="2911" y="1129"/>
                  <a:pt x="2912" y="1132"/>
                  <a:pt x="2915" y="1135"/>
                </a:cubicBezTo>
                <a:cubicBezTo>
                  <a:pt x="2916" y="1137"/>
                  <a:pt x="2923" y="1143"/>
                  <a:pt x="2929" y="1150"/>
                </a:cubicBezTo>
                <a:cubicBezTo>
                  <a:pt x="2935" y="1157"/>
                  <a:pt x="2941" y="1165"/>
                  <a:pt x="2942" y="1167"/>
                </a:cubicBezTo>
                <a:cubicBezTo>
                  <a:pt x="2945" y="1175"/>
                  <a:pt x="2949" y="1186"/>
                  <a:pt x="2953" y="1206"/>
                </a:cubicBezTo>
                <a:cubicBezTo>
                  <a:pt x="2955" y="1216"/>
                  <a:pt x="2956" y="1228"/>
                  <a:pt x="2959" y="1239"/>
                </a:cubicBezTo>
                <a:cubicBezTo>
                  <a:pt x="2959" y="1240"/>
                  <a:pt x="2959" y="1242"/>
                  <a:pt x="2960" y="1243"/>
                </a:cubicBezTo>
                <a:cubicBezTo>
                  <a:pt x="2958" y="1239"/>
                  <a:pt x="2955" y="1236"/>
                  <a:pt x="2953" y="1233"/>
                </a:cubicBezTo>
                <a:close/>
                <a:moveTo>
                  <a:pt x="3061" y="753"/>
                </a:moveTo>
                <a:cubicBezTo>
                  <a:pt x="3062" y="756"/>
                  <a:pt x="3066" y="758"/>
                  <a:pt x="3068" y="758"/>
                </a:cubicBezTo>
                <a:cubicBezTo>
                  <a:pt x="3071" y="757"/>
                  <a:pt x="3072" y="757"/>
                  <a:pt x="3073" y="757"/>
                </a:cubicBezTo>
                <a:cubicBezTo>
                  <a:pt x="3073" y="757"/>
                  <a:pt x="3073" y="757"/>
                  <a:pt x="3074" y="757"/>
                </a:cubicBezTo>
                <a:cubicBezTo>
                  <a:pt x="3079" y="761"/>
                  <a:pt x="3081" y="768"/>
                  <a:pt x="3086" y="778"/>
                </a:cubicBezTo>
                <a:cubicBezTo>
                  <a:pt x="3089" y="784"/>
                  <a:pt x="3094" y="786"/>
                  <a:pt x="3098" y="787"/>
                </a:cubicBezTo>
                <a:cubicBezTo>
                  <a:pt x="3101" y="788"/>
                  <a:pt x="3103" y="789"/>
                  <a:pt x="3104" y="790"/>
                </a:cubicBezTo>
                <a:cubicBezTo>
                  <a:pt x="3103" y="791"/>
                  <a:pt x="3102" y="793"/>
                  <a:pt x="3100" y="795"/>
                </a:cubicBezTo>
                <a:cubicBezTo>
                  <a:pt x="3098" y="797"/>
                  <a:pt x="3095" y="800"/>
                  <a:pt x="3094" y="806"/>
                </a:cubicBezTo>
                <a:cubicBezTo>
                  <a:pt x="3094" y="809"/>
                  <a:pt x="3096" y="813"/>
                  <a:pt x="3099" y="815"/>
                </a:cubicBezTo>
                <a:cubicBezTo>
                  <a:pt x="3101" y="817"/>
                  <a:pt x="3105" y="827"/>
                  <a:pt x="3107" y="837"/>
                </a:cubicBezTo>
                <a:cubicBezTo>
                  <a:pt x="3109" y="846"/>
                  <a:pt x="3111" y="855"/>
                  <a:pt x="3111" y="860"/>
                </a:cubicBezTo>
                <a:cubicBezTo>
                  <a:pt x="3110" y="861"/>
                  <a:pt x="3107" y="863"/>
                  <a:pt x="3103" y="863"/>
                </a:cubicBezTo>
                <a:cubicBezTo>
                  <a:pt x="3098" y="865"/>
                  <a:pt x="3092" y="865"/>
                  <a:pt x="3088" y="865"/>
                </a:cubicBezTo>
                <a:cubicBezTo>
                  <a:pt x="3087" y="865"/>
                  <a:pt x="3086" y="865"/>
                  <a:pt x="3085" y="865"/>
                </a:cubicBezTo>
                <a:cubicBezTo>
                  <a:pt x="3079" y="864"/>
                  <a:pt x="3055" y="855"/>
                  <a:pt x="3046" y="852"/>
                </a:cubicBezTo>
                <a:cubicBezTo>
                  <a:pt x="3045" y="851"/>
                  <a:pt x="3041" y="840"/>
                  <a:pt x="3042" y="833"/>
                </a:cubicBezTo>
                <a:cubicBezTo>
                  <a:pt x="3042" y="831"/>
                  <a:pt x="3042" y="829"/>
                  <a:pt x="3042" y="828"/>
                </a:cubicBezTo>
                <a:cubicBezTo>
                  <a:pt x="3043" y="828"/>
                  <a:pt x="3044" y="828"/>
                  <a:pt x="3045" y="828"/>
                </a:cubicBezTo>
                <a:cubicBezTo>
                  <a:pt x="3050" y="828"/>
                  <a:pt x="3055" y="826"/>
                  <a:pt x="3058" y="823"/>
                </a:cubicBezTo>
                <a:cubicBezTo>
                  <a:pt x="3062" y="820"/>
                  <a:pt x="3065" y="816"/>
                  <a:pt x="3070" y="811"/>
                </a:cubicBezTo>
                <a:cubicBezTo>
                  <a:pt x="3073" y="808"/>
                  <a:pt x="3075" y="805"/>
                  <a:pt x="3075" y="801"/>
                </a:cubicBezTo>
                <a:cubicBezTo>
                  <a:pt x="3074" y="796"/>
                  <a:pt x="3072" y="793"/>
                  <a:pt x="3069" y="790"/>
                </a:cubicBezTo>
                <a:cubicBezTo>
                  <a:pt x="3060" y="784"/>
                  <a:pt x="3047" y="782"/>
                  <a:pt x="3042" y="780"/>
                </a:cubicBezTo>
                <a:cubicBezTo>
                  <a:pt x="3042" y="780"/>
                  <a:pt x="3042" y="780"/>
                  <a:pt x="3042" y="780"/>
                </a:cubicBezTo>
                <a:cubicBezTo>
                  <a:pt x="3040" y="779"/>
                  <a:pt x="3034" y="770"/>
                  <a:pt x="3029" y="762"/>
                </a:cubicBezTo>
                <a:cubicBezTo>
                  <a:pt x="3023" y="754"/>
                  <a:pt x="3019" y="745"/>
                  <a:pt x="3016" y="740"/>
                </a:cubicBezTo>
                <a:cubicBezTo>
                  <a:pt x="3015" y="738"/>
                  <a:pt x="3014" y="736"/>
                  <a:pt x="3014" y="734"/>
                </a:cubicBezTo>
                <a:cubicBezTo>
                  <a:pt x="3014" y="728"/>
                  <a:pt x="3018" y="719"/>
                  <a:pt x="3027" y="712"/>
                </a:cubicBezTo>
                <a:cubicBezTo>
                  <a:pt x="3027" y="712"/>
                  <a:pt x="3027" y="712"/>
                  <a:pt x="3027" y="712"/>
                </a:cubicBezTo>
                <a:cubicBezTo>
                  <a:pt x="3027" y="712"/>
                  <a:pt x="3028" y="712"/>
                  <a:pt x="3028" y="712"/>
                </a:cubicBezTo>
                <a:cubicBezTo>
                  <a:pt x="3032" y="712"/>
                  <a:pt x="3041" y="715"/>
                  <a:pt x="3050" y="715"/>
                </a:cubicBezTo>
                <a:cubicBezTo>
                  <a:pt x="3054" y="715"/>
                  <a:pt x="3058" y="715"/>
                  <a:pt x="3061" y="712"/>
                </a:cubicBezTo>
                <a:cubicBezTo>
                  <a:pt x="3070" y="705"/>
                  <a:pt x="3079" y="698"/>
                  <a:pt x="3083" y="695"/>
                </a:cubicBezTo>
                <a:cubicBezTo>
                  <a:pt x="3085" y="695"/>
                  <a:pt x="3090" y="696"/>
                  <a:pt x="3095" y="698"/>
                </a:cubicBezTo>
                <a:cubicBezTo>
                  <a:pt x="3100" y="700"/>
                  <a:pt x="3104" y="703"/>
                  <a:pt x="3104" y="704"/>
                </a:cubicBezTo>
                <a:cubicBezTo>
                  <a:pt x="3106" y="709"/>
                  <a:pt x="3110" y="713"/>
                  <a:pt x="3113" y="717"/>
                </a:cubicBezTo>
                <a:cubicBezTo>
                  <a:pt x="3114" y="719"/>
                  <a:pt x="3115" y="721"/>
                  <a:pt x="3116" y="722"/>
                </a:cubicBezTo>
                <a:cubicBezTo>
                  <a:pt x="3116" y="723"/>
                  <a:pt x="3116" y="723"/>
                  <a:pt x="3116" y="723"/>
                </a:cubicBezTo>
                <a:cubicBezTo>
                  <a:pt x="3114" y="724"/>
                  <a:pt x="3108" y="725"/>
                  <a:pt x="3104" y="725"/>
                </a:cubicBezTo>
                <a:cubicBezTo>
                  <a:pt x="3099" y="725"/>
                  <a:pt x="3095" y="724"/>
                  <a:pt x="3095" y="723"/>
                </a:cubicBezTo>
                <a:cubicBezTo>
                  <a:pt x="3092" y="719"/>
                  <a:pt x="3087" y="717"/>
                  <a:pt x="3083" y="717"/>
                </a:cubicBezTo>
                <a:cubicBezTo>
                  <a:pt x="3072" y="718"/>
                  <a:pt x="3061" y="728"/>
                  <a:pt x="3060" y="743"/>
                </a:cubicBezTo>
                <a:cubicBezTo>
                  <a:pt x="3060" y="744"/>
                  <a:pt x="3060" y="745"/>
                  <a:pt x="3060" y="746"/>
                </a:cubicBezTo>
                <a:cubicBezTo>
                  <a:pt x="3060" y="749"/>
                  <a:pt x="3060" y="751"/>
                  <a:pt x="3061" y="753"/>
                </a:cubicBezTo>
                <a:close/>
                <a:moveTo>
                  <a:pt x="3441" y="353"/>
                </a:moveTo>
                <a:cubicBezTo>
                  <a:pt x="3437" y="354"/>
                  <a:pt x="3434" y="355"/>
                  <a:pt x="3431" y="355"/>
                </a:cubicBezTo>
                <a:cubicBezTo>
                  <a:pt x="3426" y="355"/>
                  <a:pt x="3423" y="353"/>
                  <a:pt x="3423" y="351"/>
                </a:cubicBezTo>
                <a:cubicBezTo>
                  <a:pt x="3421" y="346"/>
                  <a:pt x="3416" y="341"/>
                  <a:pt x="3411" y="340"/>
                </a:cubicBezTo>
                <a:cubicBezTo>
                  <a:pt x="3412" y="340"/>
                  <a:pt x="3413" y="340"/>
                  <a:pt x="3414" y="339"/>
                </a:cubicBezTo>
                <a:cubicBezTo>
                  <a:pt x="3420" y="338"/>
                  <a:pt x="3428" y="335"/>
                  <a:pt x="3433" y="335"/>
                </a:cubicBezTo>
                <a:cubicBezTo>
                  <a:pt x="3435" y="335"/>
                  <a:pt x="3436" y="336"/>
                  <a:pt x="3436" y="336"/>
                </a:cubicBezTo>
                <a:cubicBezTo>
                  <a:pt x="3436" y="336"/>
                  <a:pt x="3436" y="335"/>
                  <a:pt x="3436" y="337"/>
                </a:cubicBezTo>
                <a:cubicBezTo>
                  <a:pt x="3437" y="342"/>
                  <a:pt x="3439" y="346"/>
                  <a:pt x="3440" y="349"/>
                </a:cubicBezTo>
                <a:cubicBezTo>
                  <a:pt x="3441" y="350"/>
                  <a:pt x="3441" y="352"/>
                  <a:pt x="3442" y="352"/>
                </a:cubicBezTo>
                <a:cubicBezTo>
                  <a:pt x="3441" y="353"/>
                  <a:pt x="3441" y="353"/>
                  <a:pt x="3441" y="353"/>
                </a:cubicBezTo>
                <a:close/>
                <a:moveTo>
                  <a:pt x="3513" y="323"/>
                </a:moveTo>
                <a:cubicBezTo>
                  <a:pt x="3513" y="323"/>
                  <a:pt x="3513" y="323"/>
                  <a:pt x="3513" y="323"/>
                </a:cubicBezTo>
                <a:cubicBezTo>
                  <a:pt x="3512" y="324"/>
                  <a:pt x="3511" y="324"/>
                  <a:pt x="3511" y="324"/>
                </a:cubicBezTo>
                <a:cubicBezTo>
                  <a:pt x="3509" y="324"/>
                  <a:pt x="3508" y="324"/>
                  <a:pt x="3507" y="318"/>
                </a:cubicBezTo>
                <a:cubicBezTo>
                  <a:pt x="3506" y="312"/>
                  <a:pt x="3506" y="307"/>
                  <a:pt x="3502" y="302"/>
                </a:cubicBezTo>
                <a:cubicBezTo>
                  <a:pt x="3500" y="300"/>
                  <a:pt x="3498" y="299"/>
                  <a:pt x="3496" y="297"/>
                </a:cubicBezTo>
                <a:cubicBezTo>
                  <a:pt x="3499" y="299"/>
                  <a:pt x="3503" y="301"/>
                  <a:pt x="3505" y="302"/>
                </a:cubicBezTo>
                <a:cubicBezTo>
                  <a:pt x="3507" y="303"/>
                  <a:pt x="3507" y="304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08" y="305"/>
                  <a:pt x="3508" y="305"/>
                  <a:pt x="3508" y="305"/>
                </a:cubicBezTo>
                <a:cubicBezTo>
                  <a:pt x="3512" y="307"/>
                  <a:pt x="3513" y="316"/>
                  <a:pt x="3513" y="320"/>
                </a:cubicBezTo>
                <a:cubicBezTo>
                  <a:pt x="3513" y="322"/>
                  <a:pt x="3513" y="323"/>
                  <a:pt x="3513" y="323"/>
                </a:cubicBezTo>
                <a:close/>
                <a:moveTo>
                  <a:pt x="2502" y="789"/>
                </a:moveTo>
                <a:cubicBezTo>
                  <a:pt x="2495" y="789"/>
                  <a:pt x="2491" y="794"/>
                  <a:pt x="2488" y="798"/>
                </a:cubicBezTo>
                <a:cubicBezTo>
                  <a:pt x="2485" y="803"/>
                  <a:pt x="2484" y="808"/>
                  <a:pt x="2484" y="814"/>
                </a:cubicBezTo>
                <a:cubicBezTo>
                  <a:pt x="2484" y="818"/>
                  <a:pt x="2485" y="823"/>
                  <a:pt x="2488" y="827"/>
                </a:cubicBezTo>
                <a:cubicBezTo>
                  <a:pt x="2492" y="831"/>
                  <a:pt x="2496" y="833"/>
                  <a:pt x="2501" y="833"/>
                </a:cubicBezTo>
                <a:cubicBezTo>
                  <a:pt x="2508" y="833"/>
                  <a:pt x="2514" y="828"/>
                  <a:pt x="2517" y="822"/>
                </a:cubicBezTo>
                <a:cubicBezTo>
                  <a:pt x="2512" y="819"/>
                  <a:pt x="2512" y="819"/>
                  <a:pt x="2512" y="819"/>
                </a:cubicBezTo>
                <a:cubicBezTo>
                  <a:pt x="2517" y="822"/>
                  <a:pt x="2517" y="822"/>
                  <a:pt x="2517" y="822"/>
                </a:cubicBezTo>
                <a:cubicBezTo>
                  <a:pt x="2519" y="819"/>
                  <a:pt x="2520" y="816"/>
                  <a:pt x="2520" y="812"/>
                </a:cubicBezTo>
                <a:cubicBezTo>
                  <a:pt x="2520" y="806"/>
                  <a:pt x="2518" y="801"/>
                  <a:pt x="2515" y="797"/>
                </a:cubicBezTo>
                <a:cubicBezTo>
                  <a:pt x="2511" y="793"/>
                  <a:pt x="2508" y="790"/>
                  <a:pt x="2502" y="789"/>
                </a:cubicBezTo>
                <a:close/>
                <a:moveTo>
                  <a:pt x="2028" y="279"/>
                </a:moveTo>
                <a:cubicBezTo>
                  <a:pt x="2029" y="279"/>
                  <a:pt x="2030" y="279"/>
                  <a:pt x="2031" y="279"/>
                </a:cubicBezTo>
                <a:cubicBezTo>
                  <a:pt x="2037" y="279"/>
                  <a:pt x="2045" y="280"/>
                  <a:pt x="2051" y="280"/>
                </a:cubicBezTo>
                <a:cubicBezTo>
                  <a:pt x="2055" y="280"/>
                  <a:pt x="2058" y="280"/>
                  <a:pt x="2062" y="278"/>
                </a:cubicBezTo>
                <a:cubicBezTo>
                  <a:pt x="2065" y="275"/>
                  <a:pt x="2067" y="271"/>
                  <a:pt x="2067" y="266"/>
                </a:cubicBezTo>
                <a:cubicBezTo>
                  <a:pt x="2067" y="266"/>
                  <a:pt x="2067" y="266"/>
                  <a:pt x="2067" y="265"/>
                </a:cubicBezTo>
                <a:cubicBezTo>
                  <a:pt x="2061" y="266"/>
                  <a:pt x="2061" y="266"/>
                  <a:pt x="2061" y="266"/>
                </a:cubicBezTo>
                <a:cubicBezTo>
                  <a:pt x="2067" y="265"/>
                  <a:pt x="2067" y="265"/>
                  <a:pt x="2067" y="265"/>
                </a:cubicBezTo>
                <a:cubicBezTo>
                  <a:pt x="2067" y="262"/>
                  <a:pt x="2067" y="259"/>
                  <a:pt x="2067" y="256"/>
                </a:cubicBezTo>
                <a:cubicBezTo>
                  <a:pt x="2067" y="245"/>
                  <a:pt x="2068" y="234"/>
                  <a:pt x="2071" y="230"/>
                </a:cubicBezTo>
                <a:cubicBezTo>
                  <a:pt x="2072" y="227"/>
                  <a:pt x="2074" y="225"/>
                  <a:pt x="2076" y="222"/>
                </a:cubicBezTo>
                <a:cubicBezTo>
                  <a:pt x="2078" y="220"/>
                  <a:pt x="2081" y="218"/>
                  <a:pt x="2081" y="212"/>
                </a:cubicBezTo>
                <a:cubicBezTo>
                  <a:pt x="2082" y="209"/>
                  <a:pt x="2079" y="206"/>
                  <a:pt x="2077" y="205"/>
                </a:cubicBezTo>
                <a:cubicBezTo>
                  <a:pt x="2074" y="204"/>
                  <a:pt x="2072" y="204"/>
                  <a:pt x="2070" y="204"/>
                </a:cubicBezTo>
                <a:cubicBezTo>
                  <a:pt x="2069" y="204"/>
                  <a:pt x="2068" y="204"/>
                  <a:pt x="2068" y="204"/>
                </a:cubicBezTo>
                <a:cubicBezTo>
                  <a:pt x="2066" y="204"/>
                  <a:pt x="2067" y="204"/>
                  <a:pt x="2066" y="204"/>
                </a:cubicBezTo>
                <a:cubicBezTo>
                  <a:pt x="2066" y="203"/>
                  <a:pt x="2065" y="202"/>
                  <a:pt x="2063" y="198"/>
                </a:cubicBezTo>
                <a:cubicBezTo>
                  <a:pt x="2063" y="196"/>
                  <a:pt x="2062" y="194"/>
                  <a:pt x="2062" y="193"/>
                </a:cubicBezTo>
                <a:cubicBezTo>
                  <a:pt x="2062" y="186"/>
                  <a:pt x="2067" y="179"/>
                  <a:pt x="2072" y="175"/>
                </a:cubicBezTo>
                <a:cubicBezTo>
                  <a:pt x="2075" y="172"/>
                  <a:pt x="2084" y="162"/>
                  <a:pt x="2094" y="152"/>
                </a:cubicBezTo>
                <a:cubicBezTo>
                  <a:pt x="2103" y="142"/>
                  <a:pt x="2115" y="132"/>
                  <a:pt x="2121" y="130"/>
                </a:cubicBezTo>
                <a:cubicBezTo>
                  <a:pt x="2135" y="125"/>
                  <a:pt x="2145" y="112"/>
                  <a:pt x="2146" y="100"/>
                </a:cubicBezTo>
                <a:cubicBezTo>
                  <a:pt x="2146" y="95"/>
                  <a:pt x="2143" y="89"/>
                  <a:pt x="2137" y="87"/>
                </a:cubicBezTo>
                <a:cubicBezTo>
                  <a:pt x="2131" y="84"/>
                  <a:pt x="2120" y="80"/>
                  <a:pt x="2108" y="80"/>
                </a:cubicBezTo>
                <a:cubicBezTo>
                  <a:pt x="2099" y="80"/>
                  <a:pt x="2090" y="83"/>
                  <a:pt x="2082" y="90"/>
                </a:cubicBezTo>
                <a:cubicBezTo>
                  <a:pt x="2076" y="97"/>
                  <a:pt x="2070" y="103"/>
                  <a:pt x="2066" y="107"/>
                </a:cubicBezTo>
                <a:cubicBezTo>
                  <a:pt x="2061" y="111"/>
                  <a:pt x="2057" y="113"/>
                  <a:pt x="2053" y="113"/>
                </a:cubicBezTo>
                <a:cubicBezTo>
                  <a:pt x="2051" y="113"/>
                  <a:pt x="2050" y="113"/>
                  <a:pt x="2048" y="113"/>
                </a:cubicBezTo>
                <a:cubicBezTo>
                  <a:pt x="2042" y="111"/>
                  <a:pt x="2039" y="106"/>
                  <a:pt x="2035" y="98"/>
                </a:cubicBezTo>
                <a:cubicBezTo>
                  <a:pt x="2031" y="90"/>
                  <a:pt x="2028" y="81"/>
                  <a:pt x="2022" y="73"/>
                </a:cubicBezTo>
                <a:cubicBezTo>
                  <a:pt x="2017" y="67"/>
                  <a:pt x="2015" y="55"/>
                  <a:pt x="2014" y="44"/>
                </a:cubicBezTo>
                <a:cubicBezTo>
                  <a:pt x="2013" y="39"/>
                  <a:pt x="2013" y="33"/>
                  <a:pt x="2011" y="29"/>
                </a:cubicBezTo>
                <a:cubicBezTo>
                  <a:pt x="2010" y="25"/>
                  <a:pt x="2005" y="19"/>
                  <a:pt x="1999" y="19"/>
                </a:cubicBezTo>
                <a:cubicBezTo>
                  <a:pt x="1998" y="19"/>
                  <a:pt x="1997" y="20"/>
                  <a:pt x="1996" y="20"/>
                </a:cubicBezTo>
                <a:cubicBezTo>
                  <a:pt x="1988" y="21"/>
                  <a:pt x="1984" y="22"/>
                  <a:pt x="1983" y="22"/>
                </a:cubicBezTo>
                <a:cubicBezTo>
                  <a:pt x="1980" y="22"/>
                  <a:pt x="1972" y="20"/>
                  <a:pt x="1964" y="20"/>
                </a:cubicBezTo>
                <a:cubicBezTo>
                  <a:pt x="1961" y="20"/>
                  <a:pt x="1957" y="21"/>
                  <a:pt x="1953" y="22"/>
                </a:cubicBezTo>
                <a:cubicBezTo>
                  <a:pt x="1948" y="23"/>
                  <a:pt x="1943" y="25"/>
                  <a:pt x="1940" y="27"/>
                </a:cubicBezTo>
                <a:cubicBezTo>
                  <a:pt x="1940" y="26"/>
                  <a:pt x="1940" y="26"/>
                  <a:pt x="1940" y="25"/>
                </a:cubicBezTo>
                <a:cubicBezTo>
                  <a:pt x="1939" y="19"/>
                  <a:pt x="1936" y="18"/>
                  <a:pt x="1934" y="16"/>
                </a:cubicBezTo>
                <a:cubicBezTo>
                  <a:pt x="1931" y="14"/>
                  <a:pt x="1928" y="13"/>
                  <a:pt x="1926" y="13"/>
                </a:cubicBezTo>
                <a:cubicBezTo>
                  <a:pt x="1909" y="11"/>
                  <a:pt x="1882" y="2"/>
                  <a:pt x="1859" y="1"/>
                </a:cubicBezTo>
                <a:cubicBezTo>
                  <a:pt x="1858" y="0"/>
                  <a:pt x="1857" y="0"/>
                  <a:pt x="1855" y="0"/>
                </a:cubicBezTo>
                <a:cubicBezTo>
                  <a:pt x="1839" y="1"/>
                  <a:pt x="1829" y="6"/>
                  <a:pt x="1815" y="6"/>
                </a:cubicBezTo>
                <a:cubicBezTo>
                  <a:pt x="1794" y="7"/>
                  <a:pt x="1767" y="5"/>
                  <a:pt x="1748" y="19"/>
                </a:cubicBezTo>
                <a:cubicBezTo>
                  <a:pt x="1741" y="24"/>
                  <a:pt x="1734" y="26"/>
                  <a:pt x="1727" y="28"/>
                </a:cubicBezTo>
                <a:cubicBezTo>
                  <a:pt x="1724" y="29"/>
                  <a:pt x="1721" y="30"/>
                  <a:pt x="1719" y="30"/>
                </a:cubicBezTo>
                <a:cubicBezTo>
                  <a:pt x="1718" y="31"/>
                  <a:pt x="1717" y="31"/>
                  <a:pt x="1715" y="31"/>
                </a:cubicBezTo>
                <a:cubicBezTo>
                  <a:pt x="1714" y="32"/>
                  <a:pt x="1713" y="32"/>
                  <a:pt x="1711" y="34"/>
                </a:cubicBezTo>
                <a:cubicBezTo>
                  <a:pt x="1707" y="40"/>
                  <a:pt x="1703" y="48"/>
                  <a:pt x="1700" y="55"/>
                </a:cubicBezTo>
                <a:cubicBezTo>
                  <a:pt x="1698" y="58"/>
                  <a:pt x="1697" y="61"/>
                  <a:pt x="1695" y="63"/>
                </a:cubicBezTo>
                <a:cubicBezTo>
                  <a:pt x="1695" y="63"/>
                  <a:pt x="1695" y="63"/>
                  <a:pt x="1695" y="63"/>
                </a:cubicBezTo>
                <a:cubicBezTo>
                  <a:pt x="1694" y="61"/>
                  <a:pt x="1692" y="57"/>
                  <a:pt x="1690" y="54"/>
                </a:cubicBezTo>
                <a:cubicBezTo>
                  <a:pt x="1689" y="52"/>
                  <a:pt x="1688" y="49"/>
                  <a:pt x="1686" y="47"/>
                </a:cubicBezTo>
                <a:cubicBezTo>
                  <a:pt x="1685" y="45"/>
                  <a:pt x="1682" y="43"/>
                  <a:pt x="1678" y="43"/>
                </a:cubicBezTo>
                <a:cubicBezTo>
                  <a:pt x="1675" y="43"/>
                  <a:pt x="1673" y="44"/>
                  <a:pt x="1671" y="46"/>
                </a:cubicBezTo>
                <a:cubicBezTo>
                  <a:pt x="1663" y="52"/>
                  <a:pt x="1664" y="61"/>
                  <a:pt x="1664" y="68"/>
                </a:cubicBezTo>
                <a:cubicBezTo>
                  <a:pt x="1664" y="69"/>
                  <a:pt x="1664" y="69"/>
                  <a:pt x="1664" y="69"/>
                </a:cubicBezTo>
                <a:cubicBezTo>
                  <a:pt x="1664" y="76"/>
                  <a:pt x="1663" y="82"/>
                  <a:pt x="1660" y="86"/>
                </a:cubicBezTo>
                <a:cubicBezTo>
                  <a:pt x="1657" y="90"/>
                  <a:pt x="1649" y="93"/>
                  <a:pt x="1641" y="93"/>
                </a:cubicBezTo>
                <a:cubicBezTo>
                  <a:pt x="1635" y="93"/>
                  <a:pt x="1630" y="91"/>
                  <a:pt x="1629" y="90"/>
                </a:cubicBezTo>
                <a:cubicBezTo>
                  <a:pt x="1622" y="86"/>
                  <a:pt x="1614" y="82"/>
                  <a:pt x="1596" y="83"/>
                </a:cubicBezTo>
                <a:cubicBezTo>
                  <a:pt x="1592" y="83"/>
                  <a:pt x="1588" y="83"/>
                  <a:pt x="1583" y="83"/>
                </a:cubicBezTo>
                <a:cubicBezTo>
                  <a:pt x="1569" y="84"/>
                  <a:pt x="1555" y="87"/>
                  <a:pt x="1545" y="91"/>
                </a:cubicBezTo>
                <a:cubicBezTo>
                  <a:pt x="1539" y="93"/>
                  <a:pt x="1534" y="95"/>
                  <a:pt x="1531" y="98"/>
                </a:cubicBezTo>
                <a:cubicBezTo>
                  <a:pt x="1527" y="101"/>
                  <a:pt x="1523" y="105"/>
                  <a:pt x="1523" y="110"/>
                </a:cubicBezTo>
                <a:cubicBezTo>
                  <a:pt x="1523" y="112"/>
                  <a:pt x="1524" y="114"/>
                  <a:pt x="1525" y="116"/>
                </a:cubicBezTo>
                <a:cubicBezTo>
                  <a:pt x="1525" y="117"/>
                  <a:pt x="1525" y="117"/>
                  <a:pt x="1525" y="117"/>
                </a:cubicBezTo>
                <a:cubicBezTo>
                  <a:pt x="1525" y="118"/>
                  <a:pt x="1525" y="118"/>
                  <a:pt x="1524" y="119"/>
                </a:cubicBezTo>
                <a:cubicBezTo>
                  <a:pt x="1522" y="120"/>
                  <a:pt x="1520" y="121"/>
                  <a:pt x="1518" y="121"/>
                </a:cubicBezTo>
                <a:cubicBezTo>
                  <a:pt x="1518" y="121"/>
                  <a:pt x="1517" y="121"/>
                  <a:pt x="1517" y="121"/>
                </a:cubicBezTo>
                <a:cubicBezTo>
                  <a:pt x="1517" y="121"/>
                  <a:pt x="1517" y="121"/>
                  <a:pt x="1517" y="121"/>
                </a:cubicBezTo>
                <a:cubicBezTo>
                  <a:pt x="1515" y="118"/>
                  <a:pt x="1511" y="118"/>
                  <a:pt x="1509" y="118"/>
                </a:cubicBezTo>
                <a:cubicBezTo>
                  <a:pt x="1503" y="118"/>
                  <a:pt x="1497" y="120"/>
                  <a:pt x="1491" y="124"/>
                </a:cubicBezTo>
                <a:cubicBezTo>
                  <a:pt x="1486" y="128"/>
                  <a:pt x="1481" y="134"/>
                  <a:pt x="1481" y="141"/>
                </a:cubicBezTo>
                <a:cubicBezTo>
                  <a:pt x="1481" y="142"/>
                  <a:pt x="1481" y="143"/>
                  <a:pt x="1481" y="143"/>
                </a:cubicBezTo>
                <a:cubicBezTo>
                  <a:pt x="1481" y="144"/>
                  <a:pt x="1481" y="145"/>
                  <a:pt x="1481" y="146"/>
                </a:cubicBezTo>
                <a:cubicBezTo>
                  <a:pt x="1481" y="150"/>
                  <a:pt x="1480" y="153"/>
                  <a:pt x="1479" y="155"/>
                </a:cubicBezTo>
                <a:cubicBezTo>
                  <a:pt x="1477" y="157"/>
                  <a:pt x="1476" y="158"/>
                  <a:pt x="1475" y="158"/>
                </a:cubicBezTo>
                <a:cubicBezTo>
                  <a:pt x="1474" y="158"/>
                  <a:pt x="1473" y="158"/>
                  <a:pt x="1473" y="158"/>
                </a:cubicBezTo>
                <a:cubicBezTo>
                  <a:pt x="1471" y="157"/>
                  <a:pt x="1469" y="157"/>
                  <a:pt x="1467" y="157"/>
                </a:cubicBezTo>
                <a:cubicBezTo>
                  <a:pt x="1454" y="157"/>
                  <a:pt x="1445" y="168"/>
                  <a:pt x="1444" y="179"/>
                </a:cubicBezTo>
                <a:cubicBezTo>
                  <a:pt x="1444" y="180"/>
                  <a:pt x="1438" y="183"/>
                  <a:pt x="1433" y="185"/>
                </a:cubicBezTo>
                <a:cubicBezTo>
                  <a:pt x="1430" y="186"/>
                  <a:pt x="1427" y="187"/>
                  <a:pt x="1424" y="188"/>
                </a:cubicBezTo>
                <a:cubicBezTo>
                  <a:pt x="1423" y="188"/>
                  <a:pt x="1422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1" y="188"/>
                  <a:pt x="1421" y="188"/>
                  <a:pt x="1421" y="188"/>
                </a:cubicBezTo>
                <a:cubicBezTo>
                  <a:pt x="1420" y="188"/>
                  <a:pt x="1419" y="188"/>
                  <a:pt x="1418" y="188"/>
                </a:cubicBezTo>
                <a:cubicBezTo>
                  <a:pt x="1415" y="188"/>
                  <a:pt x="1409" y="188"/>
                  <a:pt x="1403" y="189"/>
                </a:cubicBezTo>
                <a:cubicBezTo>
                  <a:pt x="1400" y="190"/>
                  <a:pt x="1397" y="191"/>
                  <a:pt x="1394" y="192"/>
                </a:cubicBezTo>
                <a:cubicBezTo>
                  <a:pt x="1392" y="193"/>
                  <a:pt x="1388" y="195"/>
                  <a:pt x="1388" y="201"/>
                </a:cubicBezTo>
                <a:cubicBezTo>
                  <a:pt x="1388" y="205"/>
                  <a:pt x="1391" y="207"/>
                  <a:pt x="1393" y="209"/>
                </a:cubicBezTo>
                <a:cubicBezTo>
                  <a:pt x="1399" y="215"/>
                  <a:pt x="1405" y="216"/>
                  <a:pt x="1410" y="215"/>
                </a:cubicBezTo>
                <a:cubicBezTo>
                  <a:pt x="1411" y="215"/>
                  <a:pt x="1411" y="215"/>
                  <a:pt x="1412" y="215"/>
                </a:cubicBezTo>
                <a:cubicBezTo>
                  <a:pt x="1414" y="215"/>
                  <a:pt x="1416" y="216"/>
                  <a:pt x="1419" y="216"/>
                </a:cubicBezTo>
                <a:cubicBezTo>
                  <a:pt x="1421" y="217"/>
                  <a:pt x="1426" y="221"/>
                  <a:pt x="1430" y="227"/>
                </a:cubicBezTo>
                <a:cubicBezTo>
                  <a:pt x="1434" y="232"/>
                  <a:pt x="1437" y="238"/>
                  <a:pt x="1443" y="242"/>
                </a:cubicBezTo>
                <a:cubicBezTo>
                  <a:pt x="1445" y="243"/>
                  <a:pt x="1448" y="243"/>
                  <a:pt x="1450" y="243"/>
                </a:cubicBezTo>
                <a:cubicBezTo>
                  <a:pt x="1457" y="243"/>
                  <a:pt x="1464" y="240"/>
                  <a:pt x="1467" y="234"/>
                </a:cubicBezTo>
                <a:cubicBezTo>
                  <a:pt x="1468" y="232"/>
                  <a:pt x="1469" y="230"/>
                  <a:pt x="1470" y="228"/>
                </a:cubicBezTo>
                <a:cubicBezTo>
                  <a:pt x="1472" y="230"/>
                  <a:pt x="1474" y="232"/>
                  <a:pt x="1477" y="233"/>
                </a:cubicBezTo>
                <a:cubicBezTo>
                  <a:pt x="1480" y="235"/>
                  <a:pt x="1483" y="235"/>
                  <a:pt x="1486" y="235"/>
                </a:cubicBezTo>
                <a:cubicBezTo>
                  <a:pt x="1496" y="235"/>
                  <a:pt x="1509" y="232"/>
                  <a:pt x="1513" y="232"/>
                </a:cubicBezTo>
                <a:cubicBezTo>
                  <a:pt x="1513" y="232"/>
                  <a:pt x="1513" y="232"/>
                  <a:pt x="1513" y="232"/>
                </a:cubicBezTo>
                <a:cubicBezTo>
                  <a:pt x="1516" y="232"/>
                  <a:pt x="1525" y="234"/>
                  <a:pt x="1535" y="236"/>
                </a:cubicBezTo>
                <a:cubicBezTo>
                  <a:pt x="1545" y="238"/>
                  <a:pt x="1556" y="241"/>
                  <a:pt x="1559" y="243"/>
                </a:cubicBezTo>
                <a:cubicBezTo>
                  <a:pt x="1565" y="247"/>
                  <a:pt x="1572" y="249"/>
                  <a:pt x="1580" y="252"/>
                </a:cubicBezTo>
                <a:cubicBezTo>
                  <a:pt x="1587" y="255"/>
                  <a:pt x="1593" y="258"/>
                  <a:pt x="1594" y="262"/>
                </a:cubicBezTo>
                <a:cubicBezTo>
                  <a:pt x="1597" y="266"/>
                  <a:pt x="1599" y="279"/>
                  <a:pt x="1600" y="292"/>
                </a:cubicBezTo>
                <a:cubicBezTo>
                  <a:pt x="1601" y="298"/>
                  <a:pt x="1601" y="304"/>
                  <a:pt x="1602" y="309"/>
                </a:cubicBezTo>
                <a:cubicBezTo>
                  <a:pt x="1603" y="314"/>
                  <a:pt x="1603" y="317"/>
                  <a:pt x="1605" y="321"/>
                </a:cubicBezTo>
                <a:cubicBezTo>
                  <a:pt x="1607" y="322"/>
                  <a:pt x="1609" y="324"/>
                  <a:pt x="1612" y="324"/>
                </a:cubicBezTo>
                <a:cubicBezTo>
                  <a:pt x="1612" y="324"/>
                  <a:pt x="1613" y="324"/>
                  <a:pt x="1614" y="323"/>
                </a:cubicBezTo>
                <a:cubicBezTo>
                  <a:pt x="1613" y="327"/>
                  <a:pt x="1612" y="331"/>
                  <a:pt x="1612" y="334"/>
                </a:cubicBezTo>
                <a:cubicBezTo>
                  <a:pt x="1612" y="339"/>
                  <a:pt x="1613" y="343"/>
                  <a:pt x="1615" y="347"/>
                </a:cubicBezTo>
                <a:cubicBezTo>
                  <a:pt x="1617" y="350"/>
                  <a:pt x="1619" y="354"/>
                  <a:pt x="1625" y="354"/>
                </a:cubicBezTo>
                <a:cubicBezTo>
                  <a:pt x="1627" y="354"/>
                  <a:pt x="1630" y="354"/>
                  <a:pt x="1633" y="355"/>
                </a:cubicBezTo>
                <a:cubicBezTo>
                  <a:pt x="1632" y="356"/>
                  <a:pt x="1630" y="358"/>
                  <a:pt x="1629" y="360"/>
                </a:cubicBezTo>
                <a:cubicBezTo>
                  <a:pt x="1627" y="364"/>
                  <a:pt x="1624" y="367"/>
                  <a:pt x="1624" y="373"/>
                </a:cubicBezTo>
                <a:cubicBezTo>
                  <a:pt x="1624" y="373"/>
                  <a:pt x="1624" y="373"/>
                  <a:pt x="1624" y="374"/>
                </a:cubicBezTo>
                <a:cubicBezTo>
                  <a:pt x="1625" y="383"/>
                  <a:pt x="1634" y="403"/>
                  <a:pt x="1637" y="409"/>
                </a:cubicBezTo>
                <a:cubicBezTo>
                  <a:pt x="1641" y="414"/>
                  <a:pt x="1646" y="416"/>
                  <a:pt x="1651" y="418"/>
                </a:cubicBezTo>
                <a:cubicBezTo>
                  <a:pt x="1651" y="418"/>
                  <a:pt x="1652" y="419"/>
                  <a:pt x="1652" y="419"/>
                </a:cubicBezTo>
                <a:cubicBezTo>
                  <a:pt x="1652" y="420"/>
                  <a:pt x="1651" y="421"/>
                  <a:pt x="1651" y="423"/>
                </a:cubicBezTo>
                <a:cubicBezTo>
                  <a:pt x="1651" y="424"/>
                  <a:pt x="1652" y="426"/>
                  <a:pt x="1653" y="427"/>
                </a:cubicBezTo>
                <a:cubicBezTo>
                  <a:pt x="1654" y="430"/>
                  <a:pt x="1657" y="436"/>
                  <a:pt x="1659" y="441"/>
                </a:cubicBezTo>
                <a:cubicBezTo>
                  <a:pt x="1663" y="447"/>
                  <a:pt x="1666" y="453"/>
                  <a:pt x="1672" y="456"/>
                </a:cubicBezTo>
                <a:cubicBezTo>
                  <a:pt x="1675" y="457"/>
                  <a:pt x="1682" y="462"/>
                  <a:pt x="1689" y="467"/>
                </a:cubicBezTo>
                <a:cubicBezTo>
                  <a:pt x="1695" y="472"/>
                  <a:pt x="1701" y="479"/>
                  <a:pt x="1701" y="480"/>
                </a:cubicBezTo>
                <a:cubicBezTo>
                  <a:pt x="1703" y="484"/>
                  <a:pt x="1708" y="486"/>
                  <a:pt x="1711" y="486"/>
                </a:cubicBezTo>
                <a:cubicBezTo>
                  <a:pt x="1716" y="486"/>
                  <a:pt x="1720" y="483"/>
                  <a:pt x="1724" y="481"/>
                </a:cubicBezTo>
                <a:cubicBezTo>
                  <a:pt x="1726" y="481"/>
                  <a:pt x="1727" y="480"/>
                  <a:pt x="1727" y="480"/>
                </a:cubicBezTo>
                <a:cubicBezTo>
                  <a:pt x="1728" y="482"/>
                  <a:pt x="1729" y="484"/>
                  <a:pt x="1729" y="486"/>
                </a:cubicBezTo>
                <a:cubicBezTo>
                  <a:pt x="1731" y="490"/>
                  <a:pt x="1734" y="496"/>
                  <a:pt x="1742" y="497"/>
                </a:cubicBezTo>
                <a:cubicBezTo>
                  <a:pt x="1744" y="497"/>
                  <a:pt x="1745" y="496"/>
                  <a:pt x="1746" y="496"/>
                </a:cubicBezTo>
                <a:cubicBezTo>
                  <a:pt x="1746" y="496"/>
                  <a:pt x="1746" y="496"/>
                  <a:pt x="1747" y="496"/>
                </a:cubicBezTo>
                <a:cubicBezTo>
                  <a:pt x="1756" y="496"/>
                  <a:pt x="1762" y="492"/>
                  <a:pt x="1769" y="485"/>
                </a:cubicBezTo>
                <a:cubicBezTo>
                  <a:pt x="1780" y="474"/>
                  <a:pt x="1777" y="461"/>
                  <a:pt x="1778" y="454"/>
                </a:cubicBezTo>
                <a:cubicBezTo>
                  <a:pt x="1778" y="451"/>
                  <a:pt x="1778" y="449"/>
                  <a:pt x="1778" y="447"/>
                </a:cubicBezTo>
                <a:cubicBezTo>
                  <a:pt x="1778" y="447"/>
                  <a:pt x="1779" y="448"/>
                  <a:pt x="1779" y="448"/>
                </a:cubicBezTo>
                <a:cubicBezTo>
                  <a:pt x="1781" y="448"/>
                  <a:pt x="1783" y="449"/>
                  <a:pt x="1786" y="449"/>
                </a:cubicBezTo>
                <a:cubicBezTo>
                  <a:pt x="1790" y="449"/>
                  <a:pt x="1794" y="447"/>
                  <a:pt x="1797" y="444"/>
                </a:cubicBezTo>
                <a:cubicBezTo>
                  <a:pt x="1799" y="441"/>
                  <a:pt x="1800" y="437"/>
                  <a:pt x="1800" y="433"/>
                </a:cubicBezTo>
                <a:cubicBezTo>
                  <a:pt x="1800" y="432"/>
                  <a:pt x="1800" y="431"/>
                  <a:pt x="1800" y="431"/>
                </a:cubicBezTo>
                <a:cubicBezTo>
                  <a:pt x="1799" y="424"/>
                  <a:pt x="1797" y="419"/>
                  <a:pt x="1797" y="416"/>
                </a:cubicBezTo>
                <a:cubicBezTo>
                  <a:pt x="1797" y="415"/>
                  <a:pt x="1798" y="415"/>
                  <a:pt x="1798" y="415"/>
                </a:cubicBezTo>
                <a:cubicBezTo>
                  <a:pt x="1798" y="415"/>
                  <a:pt x="1799" y="414"/>
                  <a:pt x="1801" y="414"/>
                </a:cubicBezTo>
                <a:cubicBezTo>
                  <a:pt x="1810" y="412"/>
                  <a:pt x="1817" y="408"/>
                  <a:pt x="1822" y="405"/>
                </a:cubicBezTo>
                <a:cubicBezTo>
                  <a:pt x="1827" y="401"/>
                  <a:pt x="1830" y="399"/>
                  <a:pt x="1832" y="399"/>
                </a:cubicBezTo>
                <a:cubicBezTo>
                  <a:pt x="1837" y="399"/>
                  <a:pt x="1850" y="401"/>
                  <a:pt x="1860" y="401"/>
                </a:cubicBezTo>
                <a:cubicBezTo>
                  <a:pt x="1863" y="401"/>
                  <a:pt x="1865" y="401"/>
                  <a:pt x="1867" y="401"/>
                </a:cubicBezTo>
                <a:cubicBezTo>
                  <a:pt x="1869" y="400"/>
                  <a:pt x="1872" y="400"/>
                  <a:pt x="1874" y="397"/>
                </a:cubicBezTo>
                <a:cubicBezTo>
                  <a:pt x="1876" y="394"/>
                  <a:pt x="1879" y="388"/>
                  <a:pt x="1883" y="382"/>
                </a:cubicBezTo>
                <a:cubicBezTo>
                  <a:pt x="1885" y="379"/>
                  <a:pt x="1888" y="377"/>
                  <a:pt x="1889" y="375"/>
                </a:cubicBezTo>
                <a:cubicBezTo>
                  <a:pt x="1890" y="374"/>
                  <a:pt x="1891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892" y="373"/>
                  <a:pt x="1892" y="373"/>
                  <a:pt x="1892" y="373"/>
                </a:cubicBezTo>
                <a:cubicBezTo>
                  <a:pt x="1900" y="372"/>
                  <a:pt x="1920" y="370"/>
                  <a:pt x="1939" y="366"/>
                </a:cubicBezTo>
                <a:cubicBezTo>
                  <a:pt x="1949" y="364"/>
                  <a:pt x="1958" y="359"/>
                  <a:pt x="1966" y="355"/>
                </a:cubicBezTo>
                <a:cubicBezTo>
                  <a:pt x="1973" y="352"/>
                  <a:pt x="1980" y="348"/>
                  <a:pt x="1981" y="348"/>
                </a:cubicBezTo>
                <a:cubicBezTo>
                  <a:pt x="1981" y="348"/>
                  <a:pt x="1981" y="348"/>
                  <a:pt x="1981" y="348"/>
                </a:cubicBezTo>
                <a:cubicBezTo>
                  <a:pt x="1984" y="348"/>
                  <a:pt x="1986" y="349"/>
                  <a:pt x="1989" y="349"/>
                </a:cubicBezTo>
                <a:cubicBezTo>
                  <a:pt x="1992" y="349"/>
                  <a:pt x="1995" y="350"/>
                  <a:pt x="1998" y="349"/>
                </a:cubicBezTo>
                <a:cubicBezTo>
                  <a:pt x="1999" y="349"/>
                  <a:pt x="2001" y="348"/>
                  <a:pt x="2002" y="347"/>
                </a:cubicBezTo>
                <a:cubicBezTo>
                  <a:pt x="2004" y="346"/>
                  <a:pt x="2006" y="344"/>
                  <a:pt x="2006" y="341"/>
                </a:cubicBezTo>
                <a:cubicBezTo>
                  <a:pt x="2006" y="339"/>
                  <a:pt x="2005" y="337"/>
                  <a:pt x="2004" y="336"/>
                </a:cubicBezTo>
                <a:cubicBezTo>
                  <a:pt x="2006" y="336"/>
                  <a:pt x="2007" y="337"/>
                  <a:pt x="2008" y="337"/>
                </a:cubicBezTo>
                <a:cubicBezTo>
                  <a:pt x="2010" y="337"/>
                  <a:pt x="2012" y="336"/>
                  <a:pt x="2014" y="336"/>
                </a:cubicBezTo>
                <a:cubicBezTo>
                  <a:pt x="2026" y="333"/>
                  <a:pt x="2030" y="323"/>
                  <a:pt x="2030" y="316"/>
                </a:cubicBezTo>
                <a:cubicBezTo>
                  <a:pt x="2030" y="312"/>
                  <a:pt x="2029" y="308"/>
                  <a:pt x="2027" y="305"/>
                </a:cubicBezTo>
                <a:cubicBezTo>
                  <a:pt x="2025" y="304"/>
                  <a:pt x="2023" y="294"/>
                  <a:pt x="2020" y="287"/>
                </a:cubicBezTo>
                <a:cubicBezTo>
                  <a:pt x="2019" y="286"/>
                  <a:pt x="2019" y="285"/>
                  <a:pt x="2019" y="284"/>
                </a:cubicBezTo>
                <a:cubicBezTo>
                  <a:pt x="2019" y="283"/>
                  <a:pt x="2019" y="282"/>
                  <a:pt x="2020" y="281"/>
                </a:cubicBezTo>
                <a:cubicBezTo>
                  <a:pt x="2021" y="281"/>
                  <a:pt x="2023" y="279"/>
                  <a:pt x="2028" y="279"/>
                </a:cubicBezTo>
                <a:close/>
                <a:moveTo>
                  <a:pt x="1640" y="304"/>
                </a:moveTo>
                <a:cubicBezTo>
                  <a:pt x="1639" y="304"/>
                  <a:pt x="1637" y="304"/>
                  <a:pt x="1636" y="304"/>
                </a:cubicBezTo>
                <a:cubicBezTo>
                  <a:pt x="1634" y="304"/>
                  <a:pt x="1633" y="304"/>
                  <a:pt x="1631" y="304"/>
                </a:cubicBezTo>
                <a:cubicBezTo>
                  <a:pt x="1632" y="303"/>
                  <a:pt x="1633" y="302"/>
                  <a:pt x="1633" y="302"/>
                </a:cubicBezTo>
                <a:cubicBezTo>
                  <a:pt x="1633" y="301"/>
                  <a:pt x="1634" y="301"/>
                  <a:pt x="1635" y="301"/>
                </a:cubicBezTo>
                <a:cubicBezTo>
                  <a:pt x="1637" y="301"/>
                  <a:pt x="1642" y="304"/>
                  <a:pt x="1645" y="304"/>
                </a:cubicBezTo>
                <a:cubicBezTo>
                  <a:pt x="1642" y="304"/>
                  <a:pt x="1641" y="304"/>
                  <a:pt x="1640" y="304"/>
                </a:cubicBezTo>
                <a:close/>
                <a:moveTo>
                  <a:pt x="1660" y="330"/>
                </a:moveTo>
                <a:cubicBezTo>
                  <a:pt x="1660" y="332"/>
                  <a:pt x="1660" y="335"/>
                  <a:pt x="1659" y="336"/>
                </a:cubicBezTo>
                <a:cubicBezTo>
                  <a:pt x="1658" y="336"/>
                  <a:pt x="1657" y="336"/>
                  <a:pt x="1657" y="335"/>
                </a:cubicBezTo>
                <a:cubicBezTo>
                  <a:pt x="1658" y="333"/>
                  <a:pt x="1658" y="329"/>
                  <a:pt x="1659" y="326"/>
                </a:cubicBezTo>
                <a:cubicBezTo>
                  <a:pt x="1660" y="328"/>
                  <a:pt x="1660" y="330"/>
                  <a:pt x="1660" y="330"/>
                </a:cubicBezTo>
                <a:close/>
                <a:moveTo>
                  <a:pt x="1978" y="315"/>
                </a:moveTo>
                <a:cubicBezTo>
                  <a:pt x="1978" y="313"/>
                  <a:pt x="1979" y="310"/>
                  <a:pt x="1980" y="308"/>
                </a:cubicBezTo>
                <a:cubicBezTo>
                  <a:pt x="1980" y="308"/>
                  <a:pt x="1980" y="307"/>
                  <a:pt x="1981" y="307"/>
                </a:cubicBezTo>
                <a:cubicBezTo>
                  <a:pt x="1982" y="307"/>
                  <a:pt x="1984" y="308"/>
                  <a:pt x="1985" y="308"/>
                </a:cubicBezTo>
                <a:cubicBezTo>
                  <a:pt x="1988" y="310"/>
                  <a:pt x="1989" y="311"/>
                  <a:pt x="1989" y="312"/>
                </a:cubicBezTo>
                <a:cubicBezTo>
                  <a:pt x="1989" y="312"/>
                  <a:pt x="1989" y="312"/>
                  <a:pt x="1989" y="312"/>
                </a:cubicBezTo>
                <a:cubicBezTo>
                  <a:pt x="1989" y="313"/>
                  <a:pt x="1989" y="313"/>
                  <a:pt x="1989" y="314"/>
                </a:cubicBezTo>
                <a:cubicBezTo>
                  <a:pt x="1989" y="316"/>
                  <a:pt x="1989" y="317"/>
                  <a:pt x="1989" y="319"/>
                </a:cubicBezTo>
                <a:cubicBezTo>
                  <a:pt x="1986" y="317"/>
                  <a:pt x="1982" y="315"/>
                  <a:pt x="1978" y="315"/>
                </a:cubicBezTo>
                <a:close/>
                <a:moveTo>
                  <a:pt x="2143" y="431"/>
                </a:moveTo>
                <a:cubicBezTo>
                  <a:pt x="2144" y="430"/>
                  <a:pt x="2149" y="428"/>
                  <a:pt x="2153" y="428"/>
                </a:cubicBezTo>
                <a:cubicBezTo>
                  <a:pt x="2158" y="427"/>
                  <a:pt x="2162" y="427"/>
                  <a:pt x="2162" y="427"/>
                </a:cubicBezTo>
                <a:cubicBezTo>
                  <a:pt x="2164" y="427"/>
                  <a:pt x="2165" y="426"/>
                  <a:pt x="2166" y="425"/>
                </a:cubicBezTo>
                <a:cubicBezTo>
                  <a:pt x="2166" y="425"/>
                  <a:pt x="2169" y="422"/>
                  <a:pt x="2173" y="418"/>
                </a:cubicBezTo>
                <a:cubicBezTo>
                  <a:pt x="2176" y="414"/>
                  <a:pt x="2180" y="409"/>
                  <a:pt x="2180" y="402"/>
                </a:cubicBezTo>
                <a:cubicBezTo>
                  <a:pt x="2180" y="400"/>
                  <a:pt x="2179" y="397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77" y="395"/>
                  <a:pt x="2177" y="395"/>
                  <a:pt x="2177" y="395"/>
                </a:cubicBezTo>
                <a:cubicBezTo>
                  <a:pt x="2169" y="386"/>
                  <a:pt x="2154" y="382"/>
                  <a:pt x="2146" y="381"/>
                </a:cubicBezTo>
                <a:cubicBezTo>
                  <a:pt x="2145" y="381"/>
                  <a:pt x="2144" y="381"/>
                  <a:pt x="2144" y="381"/>
                </a:cubicBezTo>
                <a:cubicBezTo>
                  <a:pt x="2133" y="381"/>
                  <a:pt x="2129" y="387"/>
                  <a:pt x="2116" y="387"/>
                </a:cubicBezTo>
                <a:cubicBezTo>
                  <a:pt x="2104" y="387"/>
                  <a:pt x="2096" y="391"/>
                  <a:pt x="2092" y="391"/>
                </a:cubicBezTo>
                <a:cubicBezTo>
                  <a:pt x="2090" y="390"/>
                  <a:pt x="2090" y="390"/>
                  <a:pt x="2089" y="389"/>
                </a:cubicBezTo>
                <a:cubicBezTo>
                  <a:pt x="2082" y="381"/>
                  <a:pt x="2068" y="379"/>
                  <a:pt x="2058" y="379"/>
                </a:cubicBezTo>
                <a:cubicBezTo>
                  <a:pt x="2056" y="379"/>
                  <a:pt x="2054" y="379"/>
                  <a:pt x="2052" y="379"/>
                </a:cubicBezTo>
                <a:cubicBezTo>
                  <a:pt x="2050" y="380"/>
                  <a:pt x="2047" y="381"/>
                  <a:pt x="2045" y="384"/>
                </a:cubicBezTo>
                <a:cubicBezTo>
                  <a:pt x="2045" y="385"/>
                  <a:pt x="2044" y="386"/>
                  <a:pt x="2042" y="388"/>
                </a:cubicBezTo>
                <a:cubicBezTo>
                  <a:pt x="2041" y="390"/>
                  <a:pt x="2039" y="393"/>
                  <a:pt x="2039" y="397"/>
                </a:cubicBezTo>
                <a:cubicBezTo>
                  <a:pt x="2039" y="401"/>
                  <a:pt x="2040" y="404"/>
                  <a:pt x="2042" y="409"/>
                </a:cubicBezTo>
                <a:cubicBezTo>
                  <a:pt x="2045" y="415"/>
                  <a:pt x="2048" y="420"/>
                  <a:pt x="2051" y="424"/>
                </a:cubicBezTo>
                <a:cubicBezTo>
                  <a:pt x="2054" y="428"/>
                  <a:pt x="2057" y="431"/>
                  <a:pt x="2063" y="432"/>
                </a:cubicBezTo>
                <a:cubicBezTo>
                  <a:pt x="2063" y="432"/>
                  <a:pt x="2064" y="432"/>
                  <a:pt x="2065" y="431"/>
                </a:cubicBezTo>
                <a:cubicBezTo>
                  <a:pt x="2066" y="431"/>
                  <a:pt x="2069" y="431"/>
                  <a:pt x="2072" y="431"/>
                </a:cubicBezTo>
                <a:cubicBezTo>
                  <a:pt x="2076" y="431"/>
                  <a:pt x="2079" y="431"/>
                  <a:pt x="2082" y="432"/>
                </a:cubicBezTo>
                <a:cubicBezTo>
                  <a:pt x="2083" y="432"/>
                  <a:pt x="2084" y="433"/>
                  <a:pt x="2084" y="433"/>
                </a:cubicBezTo>
                <a:cubicBezTo>
                  <a:pt x="2084" y="433"/>
                  <a:pt x="2084" y="433"/>
                  <a:pt x="2084" y="433"/>
                </a:cubicBezTo>
                <a:cubicBezTo>
                  <a:pt x="2086" y="440"/>
                  <a:pt x="2092" y="448"/>
                  <a:pt x="2103" y="448"/>
                </a:cubicBezTo>
                <a:cubicBezTo>
                  <a:pt x="2103" y="448"/>
                  <a:pt x="2103" y="448"/>
                  <a:pt x="2103" y="448"/>
                </a:cubicBezTo>
                <a:cubicBezTo>
                  <a:pt x="2106" y="448"/>
                  <a:pt x="2110" y="447"/>
                  <a:pt x="2113" y="446"/>
                </a:cubicBezTo>
                <a:cubicBezTo>
                  <a:pt x="2120" y="444"/>
                  <a:pt x="2126" y="442"/>
                  <a:pt x="2131" y="440"/>
                </a:cubicBezTo>
                <a:cubicBezTo>
                  <a:pt x="2136" y="438"/>
                  <a:pt x="2140" y="435"/>
                  <a:pt x="2143" y="431"/>
                </a:cubicBezTo>
                <a:close/>
                <a:moveTo>
                  <a:pt x="3068" y="1676"/>
                </a:moveTo>
                <a:cubicBezTo>
                  <a:pt x="3066" y="1668"/>
                  <a:pt x="3063" y="1661"/>
                  <a:pt x="3055" y="1658"/>
                </a:cubicBezTo>
                <a:cubicBezTo>
                  <a:pt x="3053" y="1664"/>
                  <a:pt x="3053" y="1664"/>
                  <a:pt x="3053" y="1664"/>
                </a:cubicBezTo>
                <a:cubicBezTo>
                  <a:pt x="3055" y="1658"/>
                  <a:pt x="3055" y="1658"/>
                  <a:pt x="3055" y="1658"/>
                </a:cubicBezTo>
                <a:cubicBezTo>
                  <a:pt x="3053" y="1657"/>
                  <a:pt x="3051" y="1657"/>
                  <a:pt x="3049" y="1657"/>
                </a:cubicBezTo>
                <a:cubicBezTo>
                  <a:pt x="3045" y="1657"/>
                  <a:pt x="3041" y="1659"/>
                  <a:pt x="3038" y="1662"/>
                </a:cubicBezTo>
                <a:cubicBezTo>
                  <a:pt x="3031" y="1671"/>
                  <a:pt x="3028" y="1684"/>
                  <a:pt x="3021" y="1693"/>
                </a:cubicBezTo>
                <a:cubicBezTo>
                  <a:pt x="3015" y="1700"/>
                  <a:pt x="3010" y="1707"/>
                  <a:pt x="3005" y="1711"/>
                </a:cubicBezTo>
                <a:cubicBezTo>
                  <a:pt x="3003" y="1713"/>
                  <a:pt x="3001" y="1715"/>
                  <a:pt x="2999" y="1716"/>
                </a:cubicBezTo>
                <a:cubicBezTo>
                  <a:pt x="2998" y="1717"/>
                  <a:pt x="2998" y="1717"/>
                  <a:pt x="2997" y="1717"/>
                </a:cubicBezTo>
                <a:cubicBezTo>
                  <a:pt x="2997" y="1717"/>
                  <a:pt x="2996" y="1717"/>
                  <a:pt x="2996" y="1717"/>
                </a:cubicBezTo>
                <a:cubicBezTo>
                  <a:pt x="2991" y="1717"/>
                  <a:pt x="2985" y="1720"/>
                  <a:pt x="2979" y="1724"/>
                </a:cubicBezTo>
                <a:cubicBezTo>
                  <a:pt x="2973" y="1728"/>
                  <a:pt x="2967" y="1736"/>
                  <a:pt x="2967" y="1746"/>
                </a:cubicBezTo>
                <a:cubicBezTo>
                  <a:pt x="2967" y="1749"/>
                  <a:pt x="2968" y="1752"/>
                  <a:pt x="2969" y="1756"/>
                </a:cubicBezTo>
                <a:cubicBezTo>
                  <a:pt x="2973" y="1765"/>
                  <a:pt x="2974" y="1773"/>
                  <a:pt x="2974" y="1781"/>
                </a:cubicBezTo>
                <a:cubicBezTo>
                  <a:pt x="2974" y="1790"/>
                  <a:pt x="2972" y="1797"/>
                  <a:pt x="2969" y="1801"/>
                </a:cubicBezTo>
                <a:cubicBezTo>
                  <a:pt x="2966" y="1804"/>
                  <a:pt x="2965" y="1809"/>
                  <a:pt x="2965" y="1813"/>
                </a:cubicBezTo>
                <a:cubicBezTo>
                  <a:pt x="2966" y="1826"/>
                  <a:pt x="2973" y="1843"/>
                  <a:pt x="2973" y="1853"/>
                </a:cubicBezTo>
                <a:cubicBezTo>
                  <a:pt x="2973" y="1854"/>
                  <a:pt x="2972" y="1855"/>
                  <a:pt x="2972" y="1856"/>
                </a:cubicBezTo>
                <a:cubicBezTo>
                  <a:pt x="2972" y="1858"/>
                  <a:pt x="2972" y="1861"/>
                  <a:pt x="2972" y="1863"/>
                </a:cubicBezTo>
                <a:cubicBezTo>
                  <a:pt x="2972" y="1870"/>
                  <a:pt x="2974" y="1876"/>
                  <a:pt x="2978" y="1881"/>
                </a:cubicBezTo>
                <a:cubicBezTo>
                  <a:pt x="2983" y="1886"/>
                  <a:pt x="2990" y="1888"/>
                  <a:pt x="2998" y="1888"/>
                </a:cubicBezTo>
                <a:cubicBezTo>
                  <a:pt x="2998" y="1888"/>
                  <a:pt x="2998" y="1888"/>
                  <a:pt x="2998" y="1888"/>
                </a:cubicBezTo>
                <a:cubicBezTo>
                  <a:pt x="3007" y="1888"/>
                  <a:pt x="3014" y="1886"/>
                  <a:pt x="3020" y="1881"/>
                </a:cubicBezTo>
                <a:cubicBezTo>
                  <a:pt x="3025" y="1875"/>
                  <a:pt x="3029" y="1868"/>
                  <a:pt x="3032" y="1859"/>
                </a:cubicBezTo>
                <a:cubicBezTo>
                  <a:pt x="3040" y="1840"/>
                  <a:pt x="3041" y="1822"/>
                  <a:pt x="3047" y="1808"/>
                </a:cubicBezTo>
                <a:cubicBezTo>
                  <a:pt x="3051" y="1800"/>
                  <a:pt x="3054" y="1788"/>
                  <a:pt x="3057" y="1777"/>
                </a:cubicBezTo>
                <a:cubicBezTo>
                  <a:pt x="3060" y="1766"/>
                  <a:pt x="3062" y="1756"/>
                  <a:pt x="3063" y="1753"/>
                </a:cubicBezTo>
                <a:cubicBezTo>
                  <a:pt x="3067" y="1744"/>
                  <a:pt x="3073" y="1722"/>
                  <a:pt x="3073" y="1705"/>
                </a:cubicBezTo>
                <a:cubicBezTo>
                  <a:pt x="3073" y="1703"/>
                  <a:pt x="3073" y="1702"/>
                  <a:pt x="3073" y="1701"/>
                </a:cubicBezTo>
                <a:cubicBezTo>
                  <a:pt x="3072" y="1693"/>
                  <a:pt x="3071" y="1684"/>
                  <a:pt x="3068" y="1676"/>
                </a:cubicBezTo>
                <a:close/>
                <a:moveTo>
                  <a:pt x="4007" y="1637"/>
                </a:moveTo>
                <a:cubicBezTo>
                  <a:pt x="4007" y="1637"/>
                  <a:pt x="4008" y="1637"/>
                  <a:pt x="4008" y="1637"/>
                </a:cubicBezTo>
                <a:cubicBezTo>
                  <a:pt x="4014" y="1637"/>
                  <a:pt x="4021" y="1631"/>
                  <a:pt x="4021" y="1623"/>
                </a:cubicBezTo>
                <a:cubicBezTo>
                  <a:pt x="4021" y="1622"/>
                  <a:pt x="4021" y="1622"/>
                  <a:pt x="4021" y="1621"/>
                </a:cubicBezTo>
                <a:cubicBezTo>
                  <a:pt x="4021" y="1616"/>
                  <a:pt x="4019" y="1612"/>
                  <a:pt x="4016" y="1609"/>
                </a:cubicBezTo>
                <a:cubicBezTo>
                  <a:pt x="4013" y="1606"/>
                  <a:pt x="4010" y="1605"/>
                  <a:pt x="4006" y="1605"/>
                </a:cubicBezTo>
                <a:cubicBezTo>
                  <a:pt x="3999" y="1605"/>
                  <a:pt x="3992" y="1609"/>
                  <a:pt x="3991" y="1617"/>
                </a:cubicBezTo>
                <a:cubicBezTo>
                  <a:pt x="3991" y="1617"/>
                  <a:pt x="3991" y="1617"/>
                  <a:pt x="3991" y="1617"/>
                </a:cubicBezTo>
                <a:cubicBezTo>
                  <a:pt x="3991" y="1618"/>
                  <a:pt x="3990" y="1619"/>
                  <a:pt x="3990" y="1621"/>
                </a:cubicBezTo>
                <a:cubicBezTo>
                  <a:pt x="3991" y="1631"/>
                  <a:pt x="3999" y="1637"/>
                  <a:pt x="4007" y="1637"/>
                </a:cubicBezTo>
                <a:close/>
                <a:moveTo>
                  <a:pt x="1369" y="1135"/>
                </a:moveTo>
                <a:cubicBezTo>
                  <a:pt x="1368" y="1129"/>
                  <a:pt x="1365" y="1124"/>
                  <a:pt x="1360" y="1119"/>
                </a:cubicBezTo>
                <a:cubicBezTo>
                  <a:pt x="1355" y="1115"/>
                  <a:pt x="1350" y="1111"/>
                  <a:pt x="1343" y="1111"/>
                </a:cubicBezTo>
                <a:cubicBezTo>
                  <a:pt x="1342" y="1111"/>
                  <a:pt x="1342" y="1112"/>
                  <a:pt x="1341" y="1112"/>
                </a:cubicBezTo>
                <a:cubicBezTo>
                  <a:pt x="1341" y="1112"/>
                  <a:pt x="1341" y="1112"/>
                  <a:pt x="1341" y="1112"/>
                </a:cubicBezTo>
                <a:cubicBezTo>
                  <a:pt x="1339" y="1112"/>
                  <a:pt x="1333" y="1109"/>
                  <a:pt x="1327" y="1106"/>
                </a:cubicBezTo>
                <a:cubicBezTo>
                  <a:pt x="1322" y="1102"/>
                  <a:pt x="1316" y="1097"/>
                  <a:pt x="1312" y="1093"/>
                </a:cubicBezTo>
                <a:cubicBezTo>
                  <a:pt x="1300" y="1081"/>
                  <a:pt x="1281" y="1082"/>
                  <a:pt x="1274" y="1082"/>
                </a:cubicBezTo>
                <a:cubicBezTo>
                  <a:pt x="1269" y="1082"/>
                  <a:pt x="1261" y="1084"/>
                  <a:pt x="1253" y="1087"/>
                </a:cubicBezTo>
                <a:cubicBezTo>
                  <a:pt x="1245" y="1089"/>
                  <a:pt x="1238" y="1092"/>
                  <a:pt x="1238" y="1092"/>
                </a:cubicBezTo>
                <a:cubicBezTo>
                  <a:pt x="1235" y="1092"/>
                  <a:pt x="1234" y="1094"/>
                  <a:pt x="1234" y="1097"/>
                </a:cubicBezTo>
                <a:cubicBezTo>
                  <a:pt x="1233" y="1098"/>
                  <a:pt x="1233" y="1098"/>
                  <a:pt x="1233" y="1099"/>
                </a:cubicBezTo>
                <a:cubicBezTo>
                  <a:pt x="1233" y="1104"/>
                  <a:pt x="1235" y="1108"/>
                  <a:pt x="1239" y="1111"/>
                </a:cubicBezTo>
                <a:cubicBezTo>
                  <a:pt x="1243" y="1113"/>
                  <a:pt x="1246" y="1113"/>
                  <a:pt x="1250" y="1114"/>
                </a:cubicBezTo>
                <a:cubicBezTo>
                  <a:pt x="1254" y="1114"/>
                  <a:pt x="1259" y="1113"/>
                  <a:pt x="1264" y="1113"/>
                </a:cubicBezTo>
                <a:cubicBezTo>
                  <a:pt x="1270" y="1113"/>
                  <a:pt x="1278" y="1112"/>
                  <a:pt x="1286" y="1112"/>
                </a:cubicBezTo>
                <a:cubicBezTo>
                  <a:pt x="1290" y="1112"/>
                  <a:pt x="1294" y="1113"/>
                  <a:pt x="1298" y="1113"/>
                </a:cubicBezTo>
                <a:cubicBezTo>
                  <a:pt x="1299" y="1113"/>
                  <a:pt x="1300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1" y="1114"/>
                  <a:pt x="1301" y="1114"/>
                  <a:pt x="1301" y="1114"/>
                </a:cubicBezTo>
                <a:cubicBezTo>
                  <a:pt x="1305" y="1120"/>
                  <a:pt x="1312" y="1124"/>
                  <a:pt x="1318" y="1128"/>
                </a:cubicBezTo>
                <a:cubicBezTo>
                  <a:pt x="1325" y="1133"/>
                  <a:pt x="1331" y="1137"/>
                  <a:pt x="1333" y="1139"/>
                </a:cubicBezTo>
                <a:cubicBezTo>
                  <a:pt x="1339" y="1144"/>
                  <a:pt x="1347" y="1145"/>
                  <a:pt x="1354" y="1145"/>
                </a:cubicBezTo>
                <a:cubicBezTo>
                  <a:pt x="1357" y="1145"/>
                  <a:pt x="1359" y="1145"/>
                  <a:pt x="1362" y="1144"/>
                </a:cubicBezTo>
                <a:cubicBezTo>
                  <a:pt x="1364" y="1143"/>
                  <a:pt x="1368" y="1141"/>
                  <a:pt x="1369" y="1137"/>
                </a:cubicBezTo>
                <a:cubicBezTo>
                  <a:pt x="1363" y="1136"/>
                  <a:pt x="1363" y="1136"/>
                  <a:pt x="1363" y="1136"/>
                </a:cubicBezTo>
                <a:cubicBezTo>
                  <a:pt x="1369" y="1137"/>
                  <a:pt x="1369" y="1137"/>
                  <a:pt x="1369" y="1137"/>
                </a:cubicBezTo>
                <a:cubicBezTo>
                  <a:pt x="1369" y="1136"/>
                  <a:pt x="1369" y="1136"/>
                  <a:pt x="1369" y="1135"/>
                </a:cubicBezTo>
                <a:close/>
                <a:moveTo>
                  <a:pt x="1328" y="1167"/>
                </a:moveTo>
                <a:cubicBezTo>
                  <a:pt x="1328" y="1167"/>
                  <a:pt x="1328" y="1167"/>
                  <a:pt x="1328" y="1167"/>
                </a:cubicBezTo>
                <a:cubicBezTo>
                  <a:pt x="1319" y="1169"/>
                  <a:pt x="1317" y="1178"/>
                  <a:pt x="1317" y="1184"/>
                </a:cubicBezTo>
                <a:cubicBezTo>
                  <a:pt x="1317" y="1188"/>
                  <a:pt x="1318" y="1191"/>
                  <a:pt x="1320" y="1194"/>
                </a:cubicBezTo>
                <a:cubicBezTo>
                  <a:pt x="1322" y="1198"/>
                  <a:pt x="1326" y="1200"/>
                  <a:pt x="1331" y="1200"/>
                </a:cubicBezTo>
                <a:cubicBezTo>
                  <a:pt x="1331" y="1200"/>
                  <a:pt x="1331" y="1200"/>
                  <a:pt x="1331" y="1200"/>
                </a:cubicBezTo>
                <a:cubicBezTo>
                  <a:pt x="1333" y="1200"/>
                  <a:pt x="1334" y="1201"/>
                  <a:pt x="1336" y="1200"/>
                </a:cubicBezTo>
                <a:cubicBezTo>
                  <a:pt x="1343" y="1198"/>
                  <a:pt x="1347" y="1191"/>
                  <a:pt x="1347" y="1185"/>
                </a:cubicBezTo>
                <a:cubicBezTo>
                  <a:pt x="1347" y="1176"/>
                  <a:pt x="1342" y="1167"/>
                  <a:pt x="1331" y="1166"/>
                </a:cubicBezTo>
                <a:cubicBezTo>
                  <a:pt x="1330" y="1166"/>
                  <a:pt x="1329" y="1167"/>
                  <a:pt x="1328" y="1167"/>
                </a:cubicBezTo>
                <a:close/>
                <a:moveTo>
                  <a:pt x="1341" y="1066"/>
                </a:moveTo>
                <a:cubicBezTo>
                  <a:pt x="1341" y="1058"/>
                  <a:pt x="1334" y="1053"/>
                  <a:pt x="1325" y="1053"/>
                </a:cubicBezTo>
                <a:cubicBezTo>
                  <a:pt x="1324" y="1053"/>
                  <a:pt x="1324" y="1053"/>
                  <a:pt x="1323" y="1053"/>
                </a:cubicBezTo>
                <a:cubicBezTo>
                  <a:pt x="1316" y="1053"/>
                  <a:pt x="1311" y="1060"/>
                  <a:pt x="1311" y="1065"/>
                </a:cubicBezTo>
                <a:cubicBezTo>
                  <a:pt x="1311" y="1069"/>
                  <a:pt x="1312" y="1073"/>
                  <a:pt x="1315" y="1075"/>
                </a:cubicBezTo>
                <a:cubicBezTo>
                  <a:pt x="1317" y="1078"/>
                  <a:pt x="1321" y="1080"/>
                  <a:pt x="1325" y="1080"/>
                </a:cubicBezTo>
                <a:cubicBezTo>
                  <a:pt x="1325" y="1080"/>
                  <a:pt x="1325" y="1080"/>
                  <a:pt x="1325" y="1080"/>
                </a:cubicBezTo>
                <a:cubicBezTo>
                  <a:pt x="1327" y="1080"/>
                  <a:pt x="1328" y="1079"/>
                  <a:pt x="1329" y="1079"/>
                </a:cubicBezTo>
                <a:cubicBezTo>
                  <a:pt x="1328" y="1073"/>
                  <a:pt x="1328" y="1073"/>
                  <a:pt x="1328" y="1073"/>
                </a:cubicBezTo>
                <a:cubicBezTo>
                  <a:pt x="1329" y="1079"/>
                  <a:pt x="1329" y="1079"/>
                  <a:pt x="1329" y="1079"/>
                </a:cubicBezTo>
                <a:cubicBezTo>
                  <a:pt x="1336" y="1077"/>
                  <a:pt x="1341" y="1072"/>
                  <a:pt x="1341" y="1066"/>
                </a:cubicBezTo>
                <a:close/>
                <a:moveTo>
                  <a:pt x="3938" y="1610"/>
                </a:moveTo>
                <a:cubicBezTo>
                  <a:pt x="3940" y="1609"/>
                  <a:pt x="3943" y="1606"/>
                  <a:pt x="3943" y="1603"/>
                </a:cubicBezTo>
                <a:cubicBezTo>
                  <a:pt x="3937" y="1602"/>
                  <a:pt x="3937" y="1602"/>
                  <a:pt x="3937" y="1602"/>
                </a:cubicBezTo>
                <a:cubicBezTo>
                  <a:pt x="3943" y="1603"/>
                  <a:pt x="3943" y="1603"/>
                  <a:pt x="3943" y="1603"/>
                </a:cubicBezTo>
                <a:cubicBezTo>
                  <a:pt x="3943" y="1602"/>
                  <a:pt x="3943" y="1601"/>
                  <a:pt x="3943" y="1601"/>
                </a:cubicBezTo>
                <a:cubicBezTo>
                  <a:pt x="3943" y="1594"/>
                  <a:pt x="3938" y="1588"/>
                  <a:pt x="3934" y="1584"/>
                </a:cubicBezTo>
                <a:cubicBezTo>
                  <a:pt x="3929" y="1579"/>
                  <a:pt x="3925" y="1575"/>
                  <a:pt x="3919" y="1575"/>
                </a:cubicBezTo>
                <a:cubicBezTo>
                  <a:pt x="3917" y="1575"/>
                  <a:pt x="3908" y="1573"/>
                  <a:pt x="3901" y="1571"/>
                </a:cubicBezTo>
                <a:cubicBezTo>
                  <a:pt x="3893" y="1569"/>
                  <a:pt x="3886" y="1567"/>
                  <a:pt x="3886" y="1567"/>
                </a:cubicBezTo>
                <a:cubicBezTo>
                  <a:pt x="3884" y="1567"/>
                  <a:pt x="3883" y="1567"/>
                  <a:pt x="3881" y="1567"/>
                </a:cubicBezTo>
                <a:cubicBezTo>
                  <a:pt x="3878" y="1569"/>
                  <a:pt x="3874" y="1570"/>
                  <a:pt x="3870" y="1573"/>
                </a:cubicBezTo>
                <a:cubicBezTo>
                  <a:pt x="3870" y="1573"/>
                  <a:pt x="3869" y="1572"/>
                  <a:pt x="3869" y="1572"/>
                </a:cubicBezTo>
                <a:cubicBezTo>
                  <a:pt x="3861" y="1567"/>
                  <a:pt x="3852" y="1567"/>
                  <a:pt x="3847" y="1566"/>
                </a:cubicBezTo>
                <a:cubicBezTo>
                  <a:pt x="3844" y="1566"/>
                  <a:pt x="3842" y="1566"/>
                  <a:pt x="3841" y="1566"/>
                </a:cubicBezTo>
                <a:cubicBezTo>
                  <a:pt x="3840" y="1565"/>
                  <a:pt x="3840" y="1565"/>
                  <a:pt x="3839" y="1564"/>
                </a:cubicBezTo>
                <a:cubicBezTo>
                  <a:pt x="3836" y="1557"/>
                  <a:pt x="3831" y="1551"/>
                  <a:pt x="3824" y="1551"/>
                </a:cubicBezTo>
                <a:cubicBezTo>
                  <a:pt x="3823" y="1551"/>
                  <a:pt x="3822" y="1551"/>
                  <a:pt x="3821" y="1552"/>
                </a:cubicBezTo>
                <a:cubicBezTo>
                  <a:pt x="3821" y="1538"/>
                  <a:pt x="3824" y="1522"/>
                  <a:pt x="3828" y="1517"/>
                </a:cubicBezTo>
                <a:cubicBezTo>
                  <a:pt x="3828" y="1517"/>
                  <a:pt x="3828" y="1517"/>
                  <a:pt x="3828" y="1517"/>
                </a:cubicBezTo>
                <a:cubicBezTo>
                  <a:pt x="3831" y="1513"/>
                  <a:pt x="3832" y="1508"/>
                  <a:pt x="3832" y="1504"/>
                </a:cubicBezTo>
                <a:cubicBezTo>
                  <a:pt x="3832" y="1500"/>
                  <a:pt x="3831" y="1496"/>
                  <a:pt x="3829" y="1493"/>
                </a:cubicBezTo>
                <a:cubicBezTo>
                  <a:pt x="3827" y="1490"/>
                  <a:pt x="3823" y="1488"/>
                  <a:pt x="3819" y="1488"/>
                </a:cubicBezTo>
                <a:cubicBezTo>
                  <a:pt x="3818" y="1488"/>
                  <a:pt x="3817" y="1488"/>
                  <a:pt x="3816" y="1488"/>
                </a:cubicBezTo>
                <a:cubicBezTo>
                  <a:pt x="3816" y="1488"/>
                  <a:pt x="3816" y="1488"/>
                  <a:pt x="3816" y="1488"/>
                </a:cubicBezTo>
                <a:cubicBezTo>
                  <a:pt x="3816" y="1488"/>
                  <a:pt x="3815" y="1488"/>
                  <a:pt x="3814" y="1487"/>
                </a:cubicBezTo>
                <a:cubicBezTo>
                  <a:pt x="3808" y="1482"/>
                  <a:pt x="3801" y="1469"/>
                  <a:pt x="3789" y="1459"/>
                </a:cubicBezTo>
                <a:cubicBezTo>
                  <a:pt x="3774" y="1447"/>
                  <a:pt x="3763" y="1439"/>
                  <a:pt x="3750" y="1422"/>
                </a:cubicBezTo>
                <a:cubicBezTo>
                  <a:pt x="3735" y="1403"/>
                  <a:pt x="3717" y="1391"/>
                  <a:pt x="3709" y="1383"/>
                </a:cubicBezTo>
                <a:cubicBezTo>
                  <a:pt x="3699" y="1373"/>
                  <a:pt x="3687" y="1368"/>
                  <a:pt x="3678" y="1368"/>
                </a:cubicBezTo>
                <a:cubicBezTo>
                  <a:pt x="3677" y="1368"/>
                  <a:pt x="3676" y="1368"/>
                  <a:pt x="3674" y="1368"/>
                </a:cubicBezTo>
                <a:cubicBezTo>
                  <a:pt x="3670" y="1369"/>
                  <a:pt x="3666" y="1374"/>
                  <a:pt x="3666" y="1378"/>
                </a:cubicBezTo>
                <a:cubicBezTo>
                  <a:pt x="3666" y="1383"/>
                  <a:pt x="3669" y="1386"/>
                  <a:pt x="3671" y="1390"/>
                </a:cubicBezTo>
                <a:cubicBezTo>
                  <a:pt x="3675" y="1396"/>
                  <a:pt x="3681" y="1401"/>
                  <a:pt x="3686" y="1406"/>
                </a:cubicBezTo>
                <a:cubicBezTo>
                  <a:pt x="3690" y="1411"/>
                  <a:pt x="3695" y="1415"/>
                  <a:pt x="3695" y="1415"/>
                </a:cubicBezTo>
                <a:cubicBezTo>
                  <a:pt x="3697" y="1418"/>
                  <a:pt x="3706" y="1427"/>
                  <a:pt x="3714" y="1437"/>
                </a:cubicBezTo>
                <a:cubicBezTo>
                  <a:pt x="3722" y="1446"/>
                  <a:pt x="3729" y="1459"/>
                  <a:pt x="3728" y="1463"/>
                </a:cubicBezTo>
                <a:cubicBezTo>
                  <a:pt x="3729" y="1473"/>
                  <a:pt x="3734" y="1485"/>
                  <a:pt x="3740" y="1497"/>
                </a:cubicBezTo>
                <a:cubicBezTo>
                  <a:pt x="3746" y="1509"/>
                  <a:pt x="3752" y="1519"/>
                  <a:pt x="3757" y="1523"/>
                </a:cubicBezTo>
                <a:cubicBezTo>
                  <a:pt x="3760" y="1527"/>
                  <a:pt x="3769" y="1533"/>
                  <a:pt x="3777" y="1540"/>
                </a:cubicBezTo>
                <a:cubicBezTo>
                  <a:pt x="3785" y="1547"/>
                  <a:pt x="3793" y="1556"/>
                  <a:pt x="3794" y="1559"/>
                </a:cubicBezTo>
                <a:cubicBezTo>
                  <a:pt x="3797" y="1565"/>
                  <a:pt x="3801" y="1570"/>
                  <a:pt x="3808" y="1571"/>
                </a:cubicBezTo>
                <a:cubicBezTo>
                  <a:pt x="3808" y="1583"/>
                  <a:pt x="3816" y="1589"/>
                  <a:pt x="3819" y="1591"/>
                </a:cubicBezTo>
                <a:cubicBezTo>
                  <a:pt x="3825" y="1595"/>
                  <a:pt x="3834" y="1597"/>
                  <a:pt x="3844" y="1597"/>
                </a:cubicBezTo>
                <a:cubicBezTo>
                  <a:pt x="3847" y="1597"/>
                  <a:pt x="3849" y="1597"/>
                  <a:pt x="3851" y="1597"/>
                </a:cubicBezTo>
                <a:cubicBezTo>
                  <a:pt x="3855" y="1596"/>
                  <a:pt x="3859" y="1596"/>
                  <a:pt x="3863" y="1594"/>
                </a:cubicBezTo>
                <a:cubicBezTo>
                  <a:pt x="3865" y="1594"/>
                  <a:pt x="3866" y="1594"/>
                  <a:pt x="3868" y="1593"/>
                </a:cubicBezTo>
                <a:cubicBezTo>
                  <a:pt x="3868" y="1593"/>
                  <a:pt x="3868" y="1593"/>
                  <a:pt x="3868" y="1594"/>
                </a:cubicBezTo>
                <a:cubicBezTo>
                  <a:pt x="3876" y="1602"/>
                  <a:pt x="3884" y="1608"/>
                  <a:pt x="3896" y="1608"/>
                </a:cubicBezTo>
                <a:cubicBezTo>
                  <a:pt x="3898" y="1608"/>
                  <a:pt x="3900" y="1608"/>
                  <a:pt x="3902" y="1608"/>
                </a:cubicBezTo>
                <a:cubicBezTo>
                  <a:pt x="3903" y="1608"/>
                  <a:pt x="3903" y="1608"/>
                  <a:pt x="3904" y="1608"/>
                </a:cubicBezTo>
                <a:cubicBezTo>
                  <a:pt x="3912" y="1608"/>
                  <a:pt x="3923" y="1611"/>
                  <a:pt x="3931" y="1611"/>
                </a:cubicBezTo>
                <a:cubicBezTo>
                  <a:pt x="3933" y="1611"/>
                  <a:pt x="3936" y="1611"/>
                  <a:pt x="3938" y="1610"/>
                </a:cubicBezTo>
                <a:close/>
                <a:moveTo>
                  <a:pt x="4119" y="1427"/>
                </a:moveTo>
                <a:cubicBezTo>
                  <a:pt x="4111" y="1436"/>
                  <a:pt x="4105" y="1453"/>
                  <a:pt x="4104" y="1466"/>
                </a:cubicBezTo>
                <a:cubicBezTo>
                  <a:pt x="4104" y="1469"/>
                  <a:pt x="4105" y="1472"/>
                  <a:pt x="4106" y="1475"/>
                </a:cubicBezTo>
                <a:cubicBezTo>
                  <a:pt x="4107" y="1478"/>
                  <a:pt x="4110" y="1481"/>
                  <a:pt x="4114" y="1482"/>
                </a:cubicBezTo>
                <a:cubicBezTo>
                  <a:pt x="4115" y="1483"/>
                  <a:pt x="4116" y="1483"/>
                  <a:pt x="4117" y="1483"/>
                </a:cubicBezTo>
                <a:cubicBezTo>
                  <a:pt x="4128" y="1482"/>
                  <a:pt x="4131" y="1473"/>
                  <a:pt x="4135" y="1464"/>
                </a:cubicBezTo>
                <a:cubicBezTo>
                  <a:pt x="4138" y="1455"/>
                  <a:pt x="4140" y="1445"/>
                  <a:pt x="4140" y="1436"/>
                </a:cubicBezTo>
                <a:cubicBezTo>
                  <a:pt x="4140" y="1434"/>
                  <a:pt x="4140" y="1431"/>
                  <a:pt x="4139" y="1429"/>
                </a:cubicBezTo>
                <a:cubicBezTo>
                  <a:pt x="4139" y="1426"/>
                  <a:pt x="4138" y="1423"/>
                  <a:pt x="4134" y="1421"/>
                </a:cubicBezTo>
                <a:cubicBezTo>
                  <a:pt x="4134" y="1421"/>
                  <a:pt x="4134" y="1421"/>
                  <a:pt x="4134" y="1421"/>
                </a:cubicBezTo>
                <a:cubicBezTo>
                  <a:pt x="4133" y="1421"/>
                  <a:pt x="4131" y="1420"/>
                  <a:pt x="4130" y="1420"/>
                </a:cubicBezTo>
                <a:cubicBezTo>
                  <a:pt x="4124" y="1420"/>
                  <a:pt x="4121" y="1423"/>
                  <a:pt x="4119" y="1427"/>
                </a:cubicBezTo>
                <a:close/>
                <a:moveTo>
                  <a:pt x="4266" y="830"/>
                </a:moveTo>
                <a:cubicBezTo>
                  <a:pt x="4263" y="839"/>
                  <a:pt x="4260" y="846"/>
                  <a:pt x="4257" y="852"/>
                </a:cubicBezTo>
                <a:cubicBezTo>
                  <a:pt x="4256" y="855"/>
                  <a:pt x="4254" y="857"/>
                  <a:pt x="4253" y="858"/>
                </a:cubicBezTo>
                <a:cubicBezTo>
                  <a:pt x="4253" y="858"/>
                  <a:pt x="4253" y="858"/>
                  <a:pt x="4253" y="858"/>
                </a:cubicBezTo>
                <a:cubicBezTo>
                  <a:pt x="4251" y="859"/>
                  <a:pt x="4249" y="859"/>
                  <a:pt x="4246" y="860"/>
                </a:cubicBezTo>
                <a:cubicBezTo>
                  <a:pt x="4236" y="864"/>
                  <a:pt x="4221" y="872"/>
                  <a:pt x="4214" y="880"/>
                </a:cubicBezTo>
                <a:cubicBezTo>
                  <a:pt x="4214" y="880"/>
                  <a:pt x="4213" y="880"/>
                  <a:pt x="4211" y="880"/>
                </a:cubicBezTo>
                <a:cubicBezTo>
                  <a:pt x="4203" y="880"/>
                  <a:pt x="4189" y="876"/>
                  <a:pt x="4180" y="876"/>
                </a:cubicBezTo>
                <a:cubicBezTo>
                  <a:pt x="4176" y="876"/>
                  <a:pt x="4172" y="876"/>
                  <a:pt x="4169" y="880"/>
                </a:cubicBezTo>
                <a:cubicBezTo>
                  <a:pt x="4165" y="886"/>
                  <a:pt x="4156" y="894"/>
                  <a:pt x="4150" y="900"/>
                </a:cubicBezTo>
                <a:cubicBezTo>
                  <a:pt x="4150" y="900"/>
                  <a:pt x="4146" y="901"/>
                  <a:pt x="4141" y="903"/>
                </a:cubicBezTo>
                <a:cubicBezTo>
                  <a:pt x="4136" y="904"/>
                  <a:pt x="4129" y="909"/>
                  <a:pt x="4130" y="918"/>
                </a:cubicBezTo>
                <a:cubicBezTo>
                  <a:pt x="4130" y="920"/>
                  <a:pt x="4130" y="922"/>
                  <a:pt x="4130" y="924"/>
                </a:cubicBezTo>
                <a:cubicBezTo>
                  <a:pt x="4132" y="932"/>
                  <a:pt x="4135" y="941"/>
                  <a:pt x="4139" y="947"/>
                </a:cubicBezTo>
                <a:cubicBezTo>
                  <a:pt x="4142" y="954"/>
                  <a:pt x="4146" y="959"/>
                  <a:pt x="4154" y="960"/>
                </a:cubicBezTo>
                <a:cubicBezTo>
                  <a:pt x="4159" y="960"/>
                  <a:pt x="4165" y="958"/>
                  <a:pt x="4169" y="953"/>
                </a:cubicBezTo>
                <a:cubicBezTo>
                  <a:pt x="4173" y="949"/>
                  <a:pt x="4176" y="942"/>
                  <a:pt x="4176" y="933"/>
                </a:cubicBezTo>
                <a:cubicBezTo>
                  <a:pt x="4176" y="933"/>
                  <a:pt x="4176" y="933"/>
                  <a:pt x="4176" y="933"/>
                </a:cubicBezTo>
                <a:cubicBezTo>
                  <a:pt x="4176" y="933"/>
                  <a:pt x="4180" y="934"/>
                  <a:pt x="4182" y="935"/>
                </a:cubicBezTo>
                <a:cubicBezTo>
                  <a:pt x="4185" y="936"/>
                  <a:pt x="4189" y="938"/>
                  <a:pt x="4193" y="938"/>
                </a:cubicBezTo>
                <a:cubicBezTo>
                  <a:pt x="4194" y="938"/>
                  <a:pt x="4195" y="938"/>
                  <a:pt x="4195" y="938"/>
                </a:cubicBezTo>
                <a:cubicBezTo>
                  <a:pt x="4204" y="936"/>
                  <a:pt x="4209" y="930"/>
                  <a:pt x="4212" y="922"/>
                </a:cubicBezTo>
                <a:cubicBezTo>
                  <a:pt x="4214" y="924"/>
                  <a:pt x="4216" y="925"/>
                  <a:pt x="4218" y="925"/>
                </a:cubicBezTo>
                <a:cubicBezTo>
                  <a:pt x="4221" y="926"/>
                  <a:pt x="4223" y="926"/>
                  <a:pt x="4226" y="926"/>
                </a:cubicBezTo>
                <a:cubicBezTo>
                  <a:pt x="4232" y="926"/>
                  <a:pt x="4238" y="923"/>
                  <a:pt x="4240" y="919"/>
                </a:cubicBezTo>
                <a:cubicBezTo>
                  <a:pt x="4243" y="916"/>
                  <a:pt x="4244" y="914"/>
                  <a:pt x="4244" y="911"/>
                </a:cubicBezTo>
                <a:cubicBezTo>
                  <a:pt x="4246" y="910"/>
                  <a:pt x="4251" y="907"/>
                  <a:pt x="4256" y="905"/>
                </a:cubicBezTo>
                <a:cubicBezTo>
                  <a:pt x="4263" y="903"/>
                  <a:pt x="4268" y="901"/>
                  <a:pt x="4272" y="898"/>
                </a:cubicBezTo>
                <a:cubicBezTo>
                  <a:pt x="4273" y="897"/>
                  <a:pt x="4279" y="894"/>
                  <a:pt x="4285" y="891"/>
                </a:cubicBezTo>
                <a:cubicBezTo>
                  <a:pt x="4287" y="889"/>
                  <a:pt x="4290" y="888"/>
                  <a:pt x="4293" y="886"/>
                </a:cubicBezTo>
                <a:cubicBezTo>
                  <a:pt x="4295" y="884"/>
                  <a:pt x="4297" y="882"/>
                  <a:pt x="4298" y="878"/>
                </a:cubicBezTo>
                <a:cubicBezTo>
                  <a:pt x="4299" y="874"/>
                  <a:pt x="4299" y="865"/>
                  <a:pt x="4300" y="856"/>
                </a:cubicBezTo>
                <a:cubicBezTo>
                  <a:pt x="4300" y="852"/>
                  <a:pt x="4300" y="848"/>
                  <a:pt x="4301" y="845"/>
                </a:cubicBezTo>
                <a:cubicBezTo>
                  <a:pt x="4301" y="843"/>
                  <a:pt x="4302" y="842"/>
                  <a:pt x="4302" y="842"/>
                </a:cubicBezTo>
                <a:cubicBezTo>
                  <a:pt x="4303" y="841"/>
                  <a:pt x="4305" y="841"/>
                  <a:pt x="4308" y="839"/>
                </a:cubicBezTo>
                <a:cubicBezTo>
                  <a:pt x="4310" y="837"/>
                  <a:pt x="4313" y="833"/>
                  <a:pt x="4313" y="828"/>
                </a:cubicBezTo>
                <a:cubicBezTo>
                  <a:pt x="4313" y="824"/>
                  <a:pt x="4312" y="819"/>
                  <a:pt x="4308" y="812"/>
                </a:cubicBezTo>
                <a:cubicBezTo>
                  <a:pt x="4305" y="805"/>
                  <a:pt x="4303" y="797"/>
                  <a:pt x="4300" y="791"/>
                </a:cubicBezTo>
                <a:cubicBezTo>
                  <a:pt x="4300" y="789"/>
                  <a:pt x="4299" y="788"/>
                  <a:pt x="4298" y="786"/>
                </a:cubicBezTo>
                <a:cubicBezTo>
                  <a:pt x="4303" y="785"/>
                  <a:pt x="4308" y="783"/>
                  <a:pt x="4313" y="783"/>
                </a:cubicBezTo>
                <a:cubicBezTo>
                  <a:pt x="4327" y="782"/>
                  <a:pt x="4340" y="780"/>
                  <a:pt x="4344" y="776"/>
                </a:cubicBezTo>
                <a:cubicBezTo>
                  <a:pt x="4344" y="776"/>
                  <a:pt x="4345" y="776"/>
                  <a:pt x="4345" y="776"/>
                </a:cubicBezTo>
                <a:cubicBezTo>
                  <a:pt x="4348" y="776"/>
                  <a:pt x="4353" y="776"/>
                  <a:pt x="4358" y="775"/>
                </a:cubicBezTo>
                <a:cubicBezTo>
                  <a:pt x="4363" y="773"/>
                  <a:pt x="4370" y="769"/>
                  <a:pt x="4370" y="761"/>
                </a:cubicBezTo>
                <a:cubicBezTo>
                  <a:pt x="4370" y="759"/>
                  <a:pt x="4370" y="758"/>
                  <a:pt x="4370" y="757"/>
                </a:cubicBezTo>
                <a:cubicBezTo>
                  <a:pt x="4367" y="748"/>
                  <a:pt x="4360" y="744"/>
                  <a:pt x="4354" y="741"/>
                </a:cubicBezTo>
                <a:cubicBezTo>
                  <a:pt x="4347" y="739"/>
                  <a:pt x="4340" y="738"/>
                  <a:pt x="4335" y="738"/>
                </a:cubicBezTo>
                <a:cubicBezTo>
                  <a:pt x="4333" y="738"/>
                  <a:pt x="4332" y="738"/>
                  <a:pt x="4330" y="738"/>
                </a:cubicBezTo>
                <a:cubicBezTo>
                  <a:pt x="4329" y="737"/>
                  <a:pt x="4327" y="735"/>
                  <a:pt x="4325" y="732"/>
                </a:cubicBezTo>
                <a:cubicBezTo>
                  <a:pt x="4321" y="729"/>
                  <a:pt x="4317" y="726"/>
                  <a:pt x="4311" y="726"/>
                </a:cubicBezTo>
                <a:cubicBezTo>
                  <a:pt x="4309" y="726"/>
                  <a:pt x="4308" y="726"/>
                  <a:pt x="4307" y="726"/>
                </a:cubicBezTo>
                <a:cubicBezTo>
                  <a:pt x="4300" y="728"/>
                  <a:pt x="4296" y="734"/>
                  <a:pt x="4294" y="739"/>
                </a:cubicBezTo>
                <a:cubicBezTo>
                  <a:pt x="4292" y="743"/>
                  <a:pt x="4292" y="747"/>
                  <a:pt x="4291" y="750"/>
                </a:cubicBezTo>
                <a:cubicBezTo>
                  <a:pt x="4289" y="751"/>
                  <a:pt x="4284" y="754"/>
                  <a:pt x="4280" y="756"/>
                </a:cubicBezTo>
                <a:cubicBezTo>
                  <a:pt x="4275" y="760"/>
                  <a:pt x="4268" y="763"/>
                  <a:pt x="4267" y="772"/>
                </a:cubicBezTo>
                <a:cubicBezTo>
                  <a:pt x="4267" y="775"/>
                  <a:pt x="4269" y="778"/>
                  <a:pt x="4271" y="780"/>
                </a:cubicBezTo>
                <a:cubicBezTo>
                  <a:pt x="4272" y="782"/>
                  <a:pt x="4274" y="783"/>
                  <a:pt x="4275" y="784"/>
                </a:cubicBezTo>
                <a:cubicBezTo>
                  <a:pt x="4271" y="790"/>
                  <a:pt x="4271" y="797"/>
                  <a:pt x="4270" y="805"/>
                </a:cubicBezTo>
                <a:cubicBezTo>
                  <a:pt x="4270" y="814"/>
                  <a:pt x="4269" y="824"/>
                  <a:pt x="4266" y="830"/>
                </a:cubicBezTo>
                <a:close/>
                <a:moveTo>
                  <a:pt x="3920" y="1392"/>
                </a:moveTo>
                <a:cubicBezTo>
                  <a:pt x="3917" y="1395"/>
                  <a:pt x="3916" y="1398"/>
                  <a:pt x="3915" y="1401"/>
                </a:cubicBezTo>
                <a:cubicBezTo>
                  <a:pt x="3914" y="1402"/>
                  <a:pt x="3914" y="1403"/>
                  <a:pt x="3914" y="1404"/>
                </a:cubicBezTo>
                <a:cubicBezTo>
                  <a:pt x="3914" y="1404"/>
                  <a:pt x="3913" y="1404"/>
                  <a:pt x="3913" y="1404"/>
                </a:cubicBezTo>
                <a:cubicBezTo>
                  <a:pt x="3910" y="1407"/>
                  <a:pt x="3907" y="1408"/>
                  <a:pt x="3897" y="1411"/>
                </a:cubicBezTo>
                <a:cubicBezTo>
                  <a:pt x="3886" y="1415"/>
                  <a:pt x="3883" y="1425"/>
                  <a:pt x="3881" y="1432"/>
                </a:cubicBezTo>
                <a:cubicBezTo>
                  <a:pt x="3880" y="1431"/>
                  <a:pt x="3878" y="1430"/>
                  <a:pt x="3877" y="1429"/>
                </a:cubicBezTo>
                <a:cubicBezTo>
                  <a:pt x="3873" y="1427"/>
                  <a:pt x="3870" y="1424"/>
                  <a:pt x="3864" y="1424"/>
                </a:cubicBezTo>
                <a:cubicBezTo>
                  <a:pt x="3862" y="1424"/>
                  <a:pt x="3859" y="1425"/>
                  <a:pt x="3857" y="1427"/>
                </a:cubicBezTo>
                <a:cubicBezTo>
                  <a:pt x="3854" y="1431"/>
                  <a:pt x="3854" y="1436"/>
                  <a:pt x="3854" y="1441"/>
                </a:cubicBezTo>
                <a:cubicBezTo>
                  <a:pt x="3854" y="1453"/>
                  <a:pt x="3857" y="1471"/>
                  <a:pt x="3863" y="1487"/>
                </a:cubicBezTo>
                <a:cubicBezTo>
                  <a:pt x="3868" y="1499"/>
                  <a:pt x="3876" y="1509"/>
                  <a:pt x="3883" y="1515"/>
                </a:cubicBezTo>
                <a:cubicBezTo>
                  <a:pt x="3891" y="1522"/>
                  <a:pt x="3897" y="1526"/>
                  <a:pt x="3903" y="1527"/>
                </a:cubicBezTo>
                <a:cubicBezTo>
                  <a:pt x="3909" y="1526"/>
                  <a:pt x="3920" y="1527"/>
                  <a:pt x="3927" y="1529"/>
                </a:cubicBezTo>
                <a:cubicBezTo>
                  <a:pt x="3931" y="1530"/>
                  <a:pt x="3938" y="1532"/>
                  <a:pt x="3946" y="1532"/>
                </a:cubicBezTo>
                <a:cubicBezTo>
                  <a:pt x="3950" y="1532"/>
                  <a:pt x="3955" y="1531"/>
                  <a:pt x="3959" y="1529"/>
                </a:cubicBezTo>
                <a:cubicBezTo>
                  <a:pt x="3964" y="1528"/>
                  <a:pt x="3968" y="1523"/>
                  <a:pt x="3968" y="1517"/>
                </a:cubicBezTo>
                <a:cubicBezTo>
                  <a:pt x="3968" y="1517"/>
                  <a:pt x="3968" y="1516"/>
                  <a:pt x="3968" y="1516"/>
                </a:cubicBezTo>
                <a:cubicBezTo>
                  <a:pt x="3968" y="1511"/>
                  <a:pt x="3967" y="1506"/>
                  <a:pt x="3967" y="1501"/>
                </a:cubicBezTo>
                <a:cubicBezTo>
                  <a:pt x="3967" y="1491"/>
                  <a:pt x="3969" y="1482"/>
                  <a:pt x="3975" y="1476"/>
                </a:cubicBezTo>
                <a:cubicBezTo>
                  <a:pt x="3979" y="1472"/>
                  <a:pt x="3984" y="1467"/>
                  <a:pt x="3988" y="1462"/>
                </a:cubicBezTo>
                <a:cubicBezTo>
                  <a:pt x="3992" y="1458"/>
                  <a:pt x="3995" y="1451"/>
                  <a:pt x="3995" y="1444"/>
                </a:cubicBezTo>
                <a:cubicBezTo>
                  <a:pt x="3995" y="1440"/>
                  <a:pt x="3995" y="1437"/>
                  <a:pt x="3993" y="1433"/>
                </a:cubicBezTo>
                <a:cubicBezTo>
                  <a:pt x="3988" y="1419"/>
                  <a:pt x="3981" y="1408"/>
                  <a:pt x="3982" y="1404"/>
                </a:cubicBezTo>
                <a:cubicBezTo>
                  <a:pt x="3982" y="1403"/>
                  <a:pt x="3982" y="1403"/>
                  <a:pt x="3983" y="1402"/>
                </a:cubicBezTo>
                <a:cubicBezTo>
                  <a:pt x="3986" y="1398"/>
                  <a:pt x="3990" y="1396"/>
                  <a:pt x="3994" y="1393"/>
                </a:cubicBezTo>
                <a:cubicBezTo>
                  <a:pt x="3997" y="1390"/>
                  <a:pt x="4002" y="1386"/>
                  <a:pt x="4002" y="1380"/>
                </a:cubicBezTo>
                <a:cubicBezTo>
                  <a:pt x="4002" y="1379"/>
                  <a:pt x="4002" y="1377"/>
                  <a:pt x="4000" y="1375"/>
                </a:cubicBezTo>
                <a:cubicBezTo>
                  <a:pt x="3999" y="1373"/>
                  <a:pt x="3996" y="1373"/>
                  <a:pt x="3995" y="1373"/>
                </a:cubicBezTo>
                <a:cubicBezTo>
                  <a:pt x="3991" y="1373"/>
                  <a:pt x="3990" y="1374"/>
                  <a:pt x="3989" y="1374"/>
                </a:cubicBezTo>
                <a:cubicBezTo>
                  <a:pt x="3987" y="1375"/>
                  <a:pt x="3986" y="1375"/>
                  <a:pt x="3985" y="1375"/>
                </a:cubicBezTo>
                <a:cubicBezTo>
                  <a:pt x="3985" y="1375"/>
                  <a:pt x="3985" y="1375"/>
                  <a:pt x="3985" y="1375"/>
                </a:cubicBezTo>
                <a:cubicBezTo>
                  <a:pt x="3985" y="1375"/>
                  <a:pt x="3985" y="1375"/>
                  <a:pt x="3983" y="1373"/>
                </a:cubicBezTo>
                <a:cubicBezTo>
                  <a:pt x="3982" y="1370"/>
                  <a:pt x="3980" y="1364"/>
                  <a:pt x="3980" y="1353"/>
                </a:cubicBezTo>
                <a:cubicBezTo>
                  <a:pt x="3980" y="1351"/>
                  <a:pt x="3979" y="1349"/>
                  <a:pt x="3977" y="1347"/>
                </a:cubicBezTo>
                <a:cubicBezTo>
                  <a:pt x="3975" y="1345"/>
                  <a:pt x="3973" y="1344"/>
                  <a:pt x="3971" y="1344"/>
                </a:cubicBezTo>
                <a:cubicBezTo>
                  <a:pt x="3965" y="1344"/>
                  <a:pt x="3961" y="1347"/>
                  <a:pt x="3957" y="1351"/>
                </a:cubicBezTo>
                <a:cubicBezTo>
                  <a:pt x="3953" y="1355"/>
                  <a:pt x="3949" y="1359"/>
                  <a:pt x="3948" y="1365"/>
                </a:cubicBezTo>
                <a:cubicBezTo>
                  <a:pt x="3948" y="1366"/>
                  <a:pt x="3948" y="1367"/>
                  <a:pt x="3948" y="1367"/>
                </a:cubicBezTo>
                <a:cubicBezTo>
                  <a:pt x="3948" y="1371"/>
                  <a:pt x="3949" y="1374"/>
                  <a:pt x="3950" y="1376"/>
                </a:cubicBezTo>
                <a:cubicBezTo>
                  <a:pt x="3950" y="1377"/>
                  <a:pt x="3950" y="1377"/>
                  <a:pt x="3951" y="1378"/>
                </a:cubicBezTo>
                <a:cubicBezTo>
                  <a:pt x="3949" y="1378"/>
                  <a:pt x="3947" y="1378"/>
                  <a:pt x="3945" y="1378"/>
                </a:cubicBezTo>
                <a:cubicBezTo>
                  <a:pt x="3932" y="1378"/>
                  <a:pt x="3924" y="1385"/>
                  <a:pt x="3920" y="1392"/>
                </a:cubicBezTo>
                <a:close/>
                <a:moveTo>
                  <a:pt x="4009" y="1068"/>
                </a:moveTo>
                <a:cubicBezTo>
                  <a:pt x="4005" y="1076"/>
                  <a:pt x="4003" y="1085"/>
                  <a:pt x="4003" y="1093"/>
                </a:cubicBezTo>
                <a:cubicBezTo>
                  <a:pt x="4003" y="1096"/>
                  <a:pt x="4003" y="1099"/>
                  <a:pt x="4005" y="1102"/>
                </a:cubicBezTo>
                <a:cubicBezTo>
                  <a:pt x="4006" y="1106"/>
                  <a:pt x="4010" y="1108"/>
                  <a:pt x="4014" y="1108"/>
                </a:cubicBezTo>
                <a:cubicBezTo>
                  <a:pt x="4014" y="1108"/>
                  <a:pt x="4014" y="1108"/>
                  <a:pt x="4015" y="1108"/>
                </a:cubicBezTo>
                <a:cubicBezTo>
                  <a:pt x="4015" y="1108"/>
                  <a:pt x="4015" y="1108"/>
                  <a:pt x="4016" y="1108"/>
                </a:cubicBezTo>
                <a:cubicBezTo>
                  <a:pt x="4025" y="1107"/>
                  <a:pt x="4030" y="1099"/>
                  <a:pt x="4034" y="1091"/>
                </a:cubicBezTo>
                <a:cubicBezTo>
                  <a:pt x="4038" y="1083"/>
                  <a:pt x="4041" y="1073"/>
                  <a:pt x="4041" y="1065"/>
                </a:cubicBezTo>
                <a:cubicBezTo>
                  <a:pt x="4041" y="1062"/>
                  <a:pt x="4041" y="1059"/>
                  <a:pt x="4039" y="1056"/>
                </a:cubicBezTo>
                <a:cubicBezTo>
                  <a:pt x="4038" y="1053"/>
                  <a:pt x="4034" y="1051"/>
                  <a:pt x="4030" y="1051"/>
                </a:cubicBezTo>
                <a:cubicBezTo>
                  <a:pt x="4029" y="1051"/>
                  <a:pt x="4029" y="1051"/>
                  <a:pt x="4028" y="1051"/>
                </a:cubicBezTo>
                <a:cubicBezTo>
                  <a:pt x="4028" y="1051"/>
                  <a:pt x="4028" y="1051"/>
                  <a:pt x="4028" y="1051"/>
                </a:cubicBezTo>
                <a:cubicBezTo>
                  <a:pt x="4019" y="1053"/>
                  <a:pt x="4013" y="1061"/>
                  <a:pt x="4009" y="1068"/>
                </a:cubicBezTo>
                <a:close/>
                <a:moveTo>
                  <a:pt x="3994" y="1206"/>
                </a:moveTo>
                <a:cubicBezTo>
                  <a:pt x="3994" y="1209"/>
                  <a:pt x="3995" y="1213"/>
                  <a:pt x="3997" y="1217"/>
                </a:cubicBezTo>
                <a:cubicBezTo>
                  <a:pt x="3997" y="1217"/>
                  <a:pt x="3997" y="1217"/>
                  <a:pt x="3997" y="1217"/>
                </a:cubicBezTo>
                <a:cubicBezTo>
                  <a:pt x="4001" y="1226"/>
                  <a:pt x="4008" y="1233"/>
                  <a:pt x="4014" y="1238"/>
                </a:cubicBezTo>
                <a:cubicBezTo>
                  <a:pt x="4017" y="1241"/>
                  <a:pt x="4019" y="1244"/>
                  <a:pt x="4021" y="1246"/>
                </a:cubicBezTo>
                <a:cubicBezTo>
                  <a:pt x="4021" y="1246"/>
                  <a:pt x="4022" y="1247"/>
                  <a:pt x="4022" y="1247"/>
                </a:cubicBezTo>
                <a:cubicBezTo>
                  <a:pt x="4017" y="1254"/>
                  <a:pt x="4000" y="1267"/>
                  <a:pt x="3997" y="1282"/>
                </a:cubicBezTo>
                <a:cubicBezTo>
                  <a:pt x="3996" y="1283"/>
                  <a:pt x="3996" y="1284"/>
                  <a:pt x="3996" y="1285"/>
                </a:cubicBezTo>
                <a:cubicBezTo>
                  <a:pt x="3996" y="1286"/>
                  <a:pt x="3997" y="1288"/>
                  <a:pt x="3998" y="1289"/>
                </a:cubicBezTo>
                <a:cubicBezTo>
                  <a:pt x="3999" y="1291"/>
                  <a:pt x="4002" y="1292"/>
                  <a:pt x="4003" y="1292"/>
                </a:cubicBezTo>
                <a:cubicBezTo>
                  <a:pt x="4003" y="1292"/>
                  <a:pt x="4004" y="1292"/>
                  <a:pt x="4004" y="1292"/>
                </a:cubicBezTo>
                <a:cubicBezTo>
                  <a:pt x="4009" y="1292"/>
                  <a:pt x="4011" y="1289"/>
                  <a:pt x="4014" y="1287"/>
                </a:cubicBezTo>
                <a:cubicBezTo>
                  <a:pt x="4024" y="1279"/>
                  <a:pt x="4038" y="1264"/>
                  <a:pt x="4043" y="1255"/>
                </a:cubicBezTo>
                <a:cubicBezTo>
                  <a:pt x="4046" y="1251"/>
                  <a:pt x="4049" y="1250"/>
                  <a:pt x="4054" y="1249"/>
                </a:cubicBezTo>
                <a:cubicBezTo>
                  <a:pt x="4057" y="1249"/>
                  <a:pt x="4060" y="1249"/>
                  <a:pt x="4063" y="1248"/>
                </a:cubicBezTo>
                <a:cubicBezTo>
                  <a:pt x="4065" y="1248"/>
                  <a:pt x="4069" y="1246"/>
                  <a:pt x="4071" y="1242"/>
                </a:cubicBezTo>
                <a:cubicBezTo>
                  <a:pt x="4075" y="1235"/>
                  <a:pt x="4075" y="1235"/>
                  <a:pt x="4075" y="1235"/>
                </a:cubicBezTo>
                <a:cubicBezTo>
                  <a:pt x="4076" y="1233"/>
                  <a:pt x="4076" y="1231"/>
                  <a:pt x="4075" y="1230"/>
                </a:cubicBezTo>
                <a:cubicBezTo>
                  <a:pt x="4074" y="1228"/>
                  <a:pt x="4072" y="1227"/>
                  <a:pt x="4071" y="1226"/>
                </a:cubicBezTo>
                <a:cubicBezTo>
                  <a:pt x="4071" y="1226"/>
                  <a:pt x="4058" y="1224"/>
                  <a:pt x="4048" y="1220"/>
                </a:cubicBezTo>
                <a:cubicBezTo>
                  <a:pt x="4046" y="1219"/>
                  <a:pt x="4044" y="1219"/>
                  <a:pt x="4042" y="1219"/>
                </a:cubicBezTo>
                <a:cubicBezTo>
                  <a:pt x="4039" y="1219"/>
                  <a:pt x="4036" y="1219"/>
                  <a:pt x="4034" y="1220"/>
                </a:cubicBezTo>
                <a:cubicBezTo>
                  <a:pt x="4034" y="1219"/>
                  <a:pt x="4034" y="1218"/>
                  <a:pt x="4035" y="1216"/>
                </a:cubicBezTo>
                <a:cubicBezTo>
                  <a:pt x="4037" y="1207"/>
                  <a:pt x="4041" y="1204"/>
                  <a:pt x="4045" y="1201"/>
                </a:cubicBezTo>
                <a:cubicBezTo>
                  <a:pt x="4049" y="1198"/>
                  <a:pt x="4055" y="1193"/>
                  <a:pt x="4055" y="1184"/>
                </a:cubicBezTo>
                <a:cubicBezTo>
                  <a:pt x="4055" y="1182"/>
                  <a:pt x="4055" y="1181"/>
                  <a:pt x="4054" y="1179"/>
                </a:cubicBezTo>
                <a:cubicBezTo>
                  <a:pt x="4053" y="1169"/>
                  <a:pt x="4048" y="1163"/>
                  <a:pt x="4043" y="1159"/>
                </a:cubicBezTo>
                <a:cubicBezTo>
                  <a:pt x="4038" y="1155"/>
                  <a:pt x="4034" y="1153"/>
                  <a:pt x="4030" y="1153"/>
                </a:cubicBezTo>
                <a:cubicBezTo>
                  <a:pt x="4026" y="1153"/>
                  <a:pt x="4021" y="1157"/>
                  <a:pt x="4021" y="1160"/>
                </a:cubicBezTo>
                <a:cubicBezTo>
                  <a:pt x="4019" y="1169"/>
                  <a:pt x="4022" y="1175"/>
                  <a:pt x="4016" y="1179"/>
                </a:cubicBezTo>
                <a:cubicBezTo>
                  <a:pt x="4012" y="1183"/>
                  <a:pt x="4007" y="1186"/>
                  <a:pt x="4003" y="1190"/>
                </a:cubicBezTo>
                <a:cubicBezTo>
                  <a:pt x="3998" y="1193"/>
                  <a:pt x="3994" y="1199"/>
                  <a:pt x="3994" y="1206"/>
                </a:cubicBezTo>
                <a:close/>
              </a:path>
            </a:pathLst>
          </a:custGeom>
          <a:solidFill>
            <a:schemeClr val="bg1"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</a:endParaRPr>
          </a:p>
        </p:txBody>
      </p:sp>
      <p:pic>
        <p:nvPicPr>
          <p:cNvPr id="9" name="图形 8"/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0262"/>
          <a:stretch>
            <a:fillRect/>
          </a:stretch>
        </p:blipFill>
        <p:spPr>
          <a:xfrm>
            <a:off x="5784293" y="2336800"/>
            <a:ext cx="5893083" cy="4243512"/>
          </a:xfrm>
          <a:prstGeom prst="rect">
            <a:avLst/>
          </a:prstGeom>
        </p:spPr>
      </p:pic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5065"/>
            <a:ext cx="10845799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1" y="3441300"/>
            <a:ext cx="10845799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30"/>
            <a:ext cx="10845799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2/1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2/1/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2/1/1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2/1/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2/1/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2/1/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5DDC9-51DE-47E5-BC66-28F6B6B691E4}" type="datetimeFigureOut">
              <a:rPr lang="zh-CN" altLang="en-US" smtClean="0"/>
              <a:t>2022/1/1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35DDC9-51DE-47E5-BC66-28F6B6B691E4}" type="datetimeFigureOut">
              <a:rPr lang="zh-CN" altLang="en-US" smtClean="0"/>
              <a:t>2022/1/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EFC069-0F97-4FDE-86BE-0DA93F99639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3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1123952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5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5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2/1/1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5" y="6240465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5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3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1123952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5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5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2/1/1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5" y="6240465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5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2.xml"/><Relationship Id="rId7" Type="http://schemas.openxmlformats.org/officeDocument/2006/relationships/slideLayout" Target="../slideLayouts/slideLayout13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image" Target="../media/image3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4.jpe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png"/><Relationship Id="rId9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6.xml"/><Relationship Id="rId7" Type="http://schemas.openxmlformats.org/officeDocument/2006/relationships/slideLayout" Target="../slideLayouts/slideLayout19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10" Type="http://schemas.openxmlformats.org/officeDocument/2006/relationships/image" Target="../media/image3.emf"/><Relationship Id="rId4" Type="http://schemas.openxmlformats.org/officeDocument/2006/relationships/tags" Target="../tags/tag7.xml"/><Relationship Id="rId9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" name="think-cell Slide" r:id="rId9" imgW="9525" imgH="9525" progId="TCLayout.ActiveDocument.1">
                  <p:embed/>
                </p:oleObj>
              </mc:Choice>
              <mc:Fallback>
                <p:oleObj name="think-cell Slide" r:id="rId9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椭圆 11"/>
          <p:cNvSpPr/>
          <p:nvPr userDrawn="1"/>
        </p:nvSpPr>
        <p:spPr>
          <a:xfrm>
            <a:off x="6704096" y="1595152"/>
            <a:ext cx="260801" cy="236855"/>
          </a:xfrm>
          <a:prstGeom prst="ellipse">
            <a:avLst/>
          </a:prstGeom>
          <a:gradFill>
            <a:gsLst>
              <a:gs pos="51000">
                <a:srgbClr val="A1E2FE"/>
              </a:gs>
              <a:gs pos="0">
                <a:srgbClr val="A1E2FE">
                  <a:lumMod val="72000"/>
                  <a:lumOff val="28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椭圆 12"/>
          <p:cNvSpPr/>
          <p:nvPr userDrawn="1"/>
        </p:nvSpPr>
        <p:spPr>
          <a:xfrm>
            <a:off x="6805696" y="1315752"/>
            <a:ext cx="484544" cy="440055"/>
          </a:xfrm>
          <a:prstGeom prst="ellipse">
            <a:avLst/>
          </a:prstGeom>
          <a:gradFill flip="none">
            <a:gsLst>
              <a:gs pos="51000">
                <a:srgbClr val="226AD0"/>
              </a:gs>
              <a:gs pos="0">
                <a:srgbClr val="0789DF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 userDrawn="1"/>
        </p:nvSpPr>
        <p:spPr>
          <a:xfrm>
            <a:off x="-719455" y="-828040"/>
            <a:ext cx="1638935" cy="1638935"/>
          </a:xfrm>
          <a:prstGeom prst="ellipse">
            <a:avLst/>
          </a:prstGeom>
          <a:gradFill>
            <a:gsLst>
              <a:gs pos="51000">
                <a:srgbClr val="A1E2FE"/>
              </a:gs>
              <a:gs pos="0">
                <a:srgbClr val="A1E2FE">
                  <a:lumMod val="72000"/>
                  <a:lumOff val="28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6" name="矩形 305"/>
          <p:cNvSpPr/>
          <p:nvPr/>
        </p:nvSpPr>
        <p:spPr>
          <a:xfrm>
            <a:off x="435375" y="2802287"/>
            <a:ext cx="1126880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80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rPr>
              <a:t>在线电子书城</a:t>
            </a:r>
            <a:endParaRPr lang="en-US" altLang="zh-CN" sz="8000" b="1" i="1" spc="-300" dirty="0">
              <a:gradFill flip="none" rotWithShape="1">
                <a:gsLst>
                  <a:gs pos="50000">
                    <a:schemeClr val="bg1"/>
                  </a:gs>
                  <a:gs pos="100000">
                    <a:schemeClr val="accent1"/>
                  </a:gs>
                </a:gsLst>
                <a:lin ang="2700000" scaled="1"/>
                <a:tileRect/>
              </a:gradFill>
              <a:latin typeface="+mj-ea"/>
              <a:ea typeface="+mj-ea"/>
            </a:endParaRPr>
          </a:p>
        </p:txBody>
      </p:sp>
      <p:grpSp>
        <p:nvGrpSpPr>
          <p:cNvPr id="22" name="组合 21"/>
          <p:cNvGrpSpPr/>
          <p:nvPr/>
        </p:nvGrpSpPr>
        <p:grpSpPr>
          <a:xfrm>
            <a:off x="435376" y="1567847"/>
            <a:ext cx="8472870" cy="1323340"/>
            <a:chOff x="2274" y="2521"/>
            <a:chExt cx="12118" cy="2084"/>
          </a:xfrm>
        </p:grpSpPr>
        <p:grpSp>
          <p:nvGrpSpPr>
            <p:cNvPr id="17" name="组合 16"/>
            <p:cNvGrpSpPr/>
            <p:nvPr/>
          </p:nvGrpSpPr>
          <p:grpSpPr>
            <a:xfrm>
              <a:off x="2274" y="2521"/>
              <a:ext cx="12118" cy="2084"/>
              <a:chOff x="4388561" y="-1261078"/>
              <a:chExt cx="7363870" cy="1266586"/>
            </a:xfrm>
          </p:grpSpPr>
          <p:sp>
            <p:nvSpPr>
              <p:cNvPr id="20" name="矩形 19"/>
              <p:cNvSpPr/>
              <p:nvPr/>
            </p:nvSpPr>
            <p:spPr>
              <a:xfrm>
                <a:off x="4388561" y="-1261078"/>
                <a:ext cx="7363870" cy="126654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基于</a:t>
                </a:r>
                <a:r>
                  <a:rPr lang="en-US" altLang="zh-CN" sz="8000" b="1" i="1" spc="-300" dirty="0" err="1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JavaWeb</a:t>
                </a:r>
                <a:r>
                  <a:rPr lang="zh-CN" altLang="en-US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的</a:t>
                </a:r>
              </a:p>
            </p:txBody>
          </p:sp>
          <p:sp>
            <p:nvSpPr>
              <p:cNvPr id="21" name="矩形 20"/>
              <p:cNvSpPr/>
              <p:nvPr/>
            </p:nvSpPr>
            <p:spPr>
              <a:xfrm>
                <a:off x="5324024" y="-1261078"/>
                <a:ext cx="1194251" cy="126658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endPara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endParaRPr>
              </a:p>
            </p:txBody>
          </p:sp>
        </p:grpSp>
        <p:grpSp>
          <p:nvGrpSpPr>
            <p:cNvPr id="304" name="组合 303"/>
            <p:cNvGrpSpPr/>
            <p:nvPr/>
          </p:nvGrpSpPr>
          <p:grpSpPr>
            <a:xfrm>
              <a:off x="5275" y="2521"/>
              <a:ext cx="6584" cy="2082"/>
              <a:chOff x="2516723" y="-1261078"/>
              <a:chExt cx="4001552" cy="1265305"/>
            </a:xfrm>
          </p:grpSpPr>
          <p:sp>
            <p:nvSpPr>
              <p:cNvPr id="296" name="矩形 295"/>
              <p:cNvSpPr/>
              <p:nvPr/>
            </p:nvSpPr>
            <p:spPr>
              <a:xfrm>
                <a:off x="2516723" y="-1261078"/>
                <a:ext cx="1194251" cy="12653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endPara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endParaRPr>
              </a:p>
            </p:txBody>
          </p:sp>
          <p:sp>
            <p:nvSpPr>
              <p:cNvPr id="298" name="矩形 297"/>
              <p:cNvSpPr/>
              <p:nvPr/>
            </p:nvSpPr>
            <p:spPr>
              <a:xfrm>
                <a:off x="4388259" y="-1261078"/>
                <a:ext cx="1194251" cy="12653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endPara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endParaRPr>
              </a:p>
            </p:txBody>
          </p:sp>
          <p:sp>
            <p:nvSpPr>
              <p:cNvPr id="303" name="矩形 302"/>
              <p:cNvSpPr/>
              <p:nvPr/>
            </p:nvSpPr>
            <p:spPr>
              <a:xfrm>
                <a:off x="5324024" y="-1261078"/>
                <a:ext cx="1194251" cy="12653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endPara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endParaRPr>
              </a:p>
            </p:txBody>
          </p:sp>
        </p:grpSp>
      </p:grpSp>
      <p:sp>
        <p:nvSpPr>
          <p:cNvPr id="37" name="文本占位符 85"/>
          <p:cNvSpPr txBox="1"/>
          <p:nvPr/>
        </p:nvSpPr>
        <p:spPr>
          <a:xfrm>
            <a:off x="581425" y="4272926"/>
            <a:ext cx="4948917" cy="3139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spcBef>
                <a:spcPts val="0"/>
              </a:spcBef>
              <a:buNone/>
            </a:pPr>
            <a:r>
              <a:rPr lang="en-US" sz="1600" dirty="0">
                <a:solidFill>
                  <a:schemeClr val="bg1"/>
                </a:solidFill>
                <a:latin typeface="+mj-lt"/>
                <a:cs typeface="+mj-lt"/>
                <a:sym typeface="+mn-lt"/>
              </a:rPr>
              <a:t>JINHUA POLYTECHNIC NET 193 ADAM</a:t>
            </a:r>
            <a:endParaRPr sz="1600" dirty="0">
              <a:solidFill>
                <a:schemeClr val="bg1"/>
              </a:solidFill>
              <a:latin typeface="+mj-lt"/>
              <a:cs typeface="+mj-lt"/>
              <a:sym typeface="+mn-lt"/>
            </a:endParaRPr>
          </a:p>
        </p:txBody>
      </p:sp>
      <p:cxnSp>
        <p:nvCxnSpPr>
          <p:cNvPr id="23" name="直接连接符 22"/>
          <p:cNvCxnSpPr>
            <a:cxnSpLocks/>
          </p:cNvCxnSpPr>
          <p:nvPr/>
        </p:nvCxnSpPr>
        <p:spPr>
          <a:xfrm>
            <a:off x="581426" y="4154202"/>
            <a:ext cx="4726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椭圆 23"/>
          <p:cNvSpPr/>
          <p:nvPr userDrawn="1"/>
        </p:nvSpPr>
        <p:spPr>
          <a:xfrm>
            <a:off x="125496" y="2687352"/>
            <a:ext cx="260801" cy="236855"/>
          </a:xfrm>
          <a:prstGeom prst="ellipse">
            <a:avLst/>
          </a:prstGeom>
          <a:gradFill>
            <a:gsLst>
              <a:gs pos="51000">
                <a:srgbClr val="A1E2FE"/>
              </a:gs>
              <a:gs pos="0">
                <a:srgbClr val="A1E2FE">
                  <a:lumMod val="72000"/>
                  <a:lumOff val="28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Content Placeholder 2"/>
          <p:cNvSpPr txBox="1"/>
          <p:nvPr/>
        </p:nvSpPr>
        <p:spPr>
          <a:xfrm>
            <a:off x="1616075" y="5487670"/>
            <a:ext cx="4987925" cy="104965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30000"/>
              </a:lnSpc>
              <a:spcBef>
                <a:spcPts val="0"/>
              </a:spcBef>
              <a:buNone/>
            </a:pPr>
            <a:r>
              <a:rPr lang="zh-CN" altLang="en-US" sz="160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汇报：</a:t>
            </a:r>
            <a:r>
              <a:rPr lang="zh-CN" altLang="en-US" sz="1600" dirty="0">
                <a:solidFill>
                  <a:srgbClr val="0870D3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邢肖云</a:t>
            </a:r>
            <a:endParaRPr lang="zh-CN" altLang="en-US" sz="1600" dirty="0">
              <a:solidFill>
                <a:srgbClr val="0870D3"/>
              </a:solidFill>
              <a:effectLst/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  <a:p>
            <a:pPr marL="0" indent="0" fontAlgn="auto">
              <a:lnSpc>
                <a:spcPct val="130000"/>
              </a:lnSpc>
              <a:spcBef>
                <a:spcPts val="0"/>
              </a:spcBef>
              <a:buNone/>
            </a:pPr>
            <a:r>
              <a:rPr lang="zh-CN" altLang="en-US" sz="160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时间：</a:t>
            </a:r>
            <a:r>
              <a:rPr lang="en-US" altLang="zh-CN" sz="160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2022-01-02</a:t>
            </a:r>
          </a:p>
        </p:txBody>
      </p:sp>
      <p:grpSp>
        <p:nvGrpSpPr>
          <p:cNvPr id="28" name="a2f6f956-74f0-4e48-b063-fde34c17ff1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/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6899275" y="2625725"/>
            <a:ext cx="4838065" cy="3284855"/>
            <a:chOff x="2860675" y="1228726"/>
            <a:chExt cx="6484938" cy="4402138"/>
          </a:xfrm>
        </p:grpSpPr>
        <p:sp>
          <p:nvSpPr>
            <p:cNvPr id="29" name="îṩḻíḑê"/>
            <p:cNvSpPr/>
            <p:nvPr/>
          </p:nvSpPr>
          <p:spPr bwMode="auto">
            <a:xfrm>
              <a:off x="6132513" y="1744663"/>
              <a:ext cx="2038350" cy="2060575"/>
            </a:xfrm>
            <a:custGeom>
              <a:avLst/>
              <a:gdLst>
                <a:gd name="T0" fmla="*/ 53 w 139"/>
                <a:gd name="T1" fmla="*/ 9 h 140"/>
                <a:gd name="T2" fmla="*/ 8 w 139"/>
                <a:gd name="T3" fmla="*/ 86 h 140"/>
                <a:gd name="T4" fmla="*/ 85 w 139"/>
                <a:gd name="T5" fmla="*/ 131 h 140"/>
                <a:gd name="T6" fmla="*/ 130 w 139"/>
                <a:gd name="T7" fmla="*/ 54 h 140"/>
                <a:gd name="T8" fmla="*/ 53 w 139"/>
                <a:gd name="T9" fmla="*/ 9 h 140"/>
                <a:gd name="T10" fmla="*/ 78 w 139"/>
                <a:gd name="T11" fmla="*/ 102 h 140"/>
                <a:gd name="T12" fmla="*/ 37 w 139"/>
                <a:gd name="T13" fmla="*/ 79 h 140"/>
                <a:gd name="T14" fmla="*/ 61 w 139"/>
                <a:gd name="T15" fmla="*/ 38 h 140"/>
                <a:gd name="T16" fmla="*/ 101 w 139"/>
                <a:gd name="T17" fmla="*/ 62 h 140"/>
                <a:gd name="T18" fmla="*/ 78 w 139"/>
                <a:gd name="T19" fmla="*/ 10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9" h="140">
                  <a:moveTo>
                    <a:pt x="53" y="9"/>
                  </a:moveTo>
                  <a:cubicBezTo>
                    <a:pt x="20" y="18"/>
                    <a:pt x="0" y="53"/>
                    <a:pt x="8" y="86"/>
                  </a:cubicBezTo>
                  <a:cubicBezTo>
                    <a:pt x="17" y="120"/>
                    <a:pt x="52" y="140"/>
                    <a:pt x="85" y="131"/>
                  </a:cubicBezTo>
                  <a:cubicBezTo>
                    <a:pt x="119" y="122"/>
                    <a:pt x="139" y="88"/>
                    <a:pt x="130" y="54"/>
                  </a:cubicBezTo>
                  <a:cubicBezTo>
                    <a:pt x="121" y="21"/>
                    <a:pt x="87" y="0"/>
                    <a:pt x="53" y="9"/>
                  </a:cubicBezTo>
                  <a:close/>
                  <a:moveTo>
                    <a:pt x="78" y="102"/>
                  </a:moveTo>
                  <a:cubicBezTo>
                    <a:pt x="60" y="107"/>
                    <a:pt x="42" y="96"/>
                    <a:pt x="37" y="79"/>
                  </a:cubicBezTo>
                  <a:cubicBezTo>
                    <a:pt x="33" y="61"/>
                    <a:pt x="43" y="43"/>
                    <a:pt x="61" y="38"/>
                  </a:cubicBezTo>
                  <a:cubicBezTo>
                    <a:pt x="79" y="34"/>
                    <a:pt x="97" y="44"/>
                    <a:pt x="101" y="62"/>
                  </a:cubicBezTo>
                  <a:cubicBezTo>
                    <a:pt x="106" y="80"/>
                    <a:pt x="95" y="98"/>
                    <a:pt x="78" y="102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" name="işḷîḓe"/>
            <p:cNvSpPr/>
            <p:nvPr/>
          </p:nvSpPr>
          <p:spPr bwMode="auto">
            <a:xfrm>
              <a:off x="6616700" y="1582738"/>
              <a:ext cx="557213" cy="558800"/>
            </a:xfrm>
            <a:custGeom>
              <a:avLst/>
              <a:gdLst>
                <a:gd name="T0" fmla="*/ 38 w 38"/>
                <a:gd name="T1" fmla="*/ 31 h 38"/>
                <a:gd name="T2" fmla="*/ 11 w 38"/>
                <a:gd name="T3" fmla="*/ 38 h 38"/>
                <a:gd name="T4" fmla="*/ 4 w 38"/>
                <a:gd name="T5" fmla="*/ 11 h 38"/>
                <a:gd name="T6" fmla="*/ 31 w 38"/>
                <a:gd name="T7" fmla="*/ 4 h 38"/>
                <a:gd name="T8" fmla="*/ 38 w 38"/>
                <a:gd name="T9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8" y="31"/>
                  </a:move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0" y="17"/>
                    <a:pt x="4" y="11"/>
                  </a:cubicBezTo>
                  <a:cubicBezTo>
                    <a:pt x="7" y="5"/>
                    <a:pt x="25" y="0"/>
                    <a:pt x="31" y="4"/>
                  </a:cubicBezTo>
                  <a:cubicBezTo>
                    <a:pt x="37" y="8"/>
                    <a:pt x="38" y="31"/>
                    <a:pt x="38" y="31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" name="ïşḷíḍé"/>
            <p:cNvSpPr/>
            <p:nvPr/>
          </p:nvSpPr>
          <p:spPr bwMode="auto">
            <a:xfrm>
              <a:off x="7100888" y="3436938"/>
              <a:ext cx="542925" cy="544513"/>
            </a:xfrm>
            <a:custGeom>
              <a:avLst/>
              <a:gdLst>
                <a:gd name="T0" fmla="*/ 27 w 37"/>
                <a:gd name="T1" fmla="*/ 0 h 37"/>
                <a:gd name="T2" fmla="*/ 0 w 37"/>
                <a:gd name="T3" fmla="*/ 7 h 37"/>
                <a:gd name="T4" fmla="*/ 7 w 37"/>
                <a:gd name="T5" fmla="*/ 33 h 37"/>
                <a:gd name="T6" fmla="*/ 34 w 37"/>
                <a:gd name="T7" fmla="*/ 26 h 37"/>
                <a:gd name="T8" fmla="*/ 27 w 37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27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30"/>
                    <a:pt x="7" y="33"/>
                  </a:cubicBezTo>
                  <a:cubicBezTo>
                    <a:pt x="13" y="37"/>
                    <a:pt x="32" y="33"/>
                    <a:pt x="34" y="26"/>
                  </a:cubicBezTo>
                  <a:cubicBezTo>
                    <a:pt x="37" y="20"/>
                    <a:pt x="27" y="0"/>
                    <a:pt x="27" y="0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" name="íṩḻïḓè"/>
            <p:cNvSpPr/>
            <p:nvPr/>
          </p:nvSpPr>
          <p:spPr bwMode="auto">
            <a:xfrm>
              <a:off x="6043613" y="2052638"/>
              <a:ext cx="573088" cy="574675"/>
            </a:xfrm>
            <a:custGeom>
              <a:avLst/>
              <a:gdLst>
                <a:gd name="T0" fmla="*/ 39 w 39"/>
                <a:gd name="T1" fmla="*/ 13 h 39"/>
                <a:gd name="T2" fmla="*/ 28 w 39"/>
                <a:gd name="T3" fmla="*/ 39 h 39"/>
                <a:gd name="T4" fmla="*/ 2 w 39"/>
                <a:gd name="T5" fmla="*/ 28 h 39"/>
                <a:gd name="T6" fmla="*/ 13 w 39"/>
                <a:gd name="T7" fmla="*/ 2 h 39"/>
                <a:gd name="T8" fmla="*/ 39 w 39"/>
                <a:gd name="T9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39" y="13"/>
                  </a:move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5" y="34"/>
                    <a:pt x="2" y="28"/>
                  </a:cubicBezTo>
                  <a:cubicBezTo>
                    <a:pt x="0" y="22"/>
                    <a:pt x="7" y="4"/>
                    <a:pt x="13" y="2"/>
                  </a:cubicBezTo>
                  <a:cubicBezTo>
                    <a:pt x="20" y="0"/>
                    <a:pt x="39" y="13"/>
                    <a:pt x="39" y="13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" name="ïşḻîďê"/>
            <p:cNvSpPr/>
            <p:nvPr/>
          </p:nvSpPr>
          <p:spPr bwMode="auto">
            <a:xfrm>
              <a:off x="5956300" y="2774951"/>
              <a:ext cx="528638" cy="544513"/>
            </a:xfrm>
            <a:custGeom>
              <a:avLst/>
              <a:gdLst>
                <a:gd name="T0" fmla="*/ 33 w 36"/>
                <a:gd name="T1" fmla="*/ 2 h 37"/>
                <a:gd name="T2" fmla="*/ 36 w 36"/>
                <a:gd name="T3" fmla="*/ 31 h 37"/>
                <a:gd name="T4" fmla="*/ 8 w 36"/>
                <a:gd name="T5" fmla="*/ 33 h 37"/>
                <a:gd name="T6" fmla="*/ 5 w 36"/>
                <a:gd name="T7" fmla="*/ 5 h 37"/>
                <a:gd name="T8" fmla="*/ 33 w 36"/>
                <a:gd name="T9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33" y="2"/>
                  </a:move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13" y="37"/>
                    <a:pt x="8" y="33"/>
                  </a:cubicBezTo>
                  <a:cubicBezTo>
                    <a:pt x="3" y="29"/>
                    <a:pt x="0" y="10"/>
                    <a:pt x="5" y="5"/>
                  </a:cubicBezTo>
                  <a:cubicBezTo>
                    <a:pt x="10" y="0"/>
                    <a:pt x="33" y="2"/>
                    <a:pt x="33" y="2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" name="iṩļïḍè"/>
            <p:cNvSpPr/>
            <p:nvPr/>
          </p:nvSpPr>
          <p:spPr bwMode="auto">
            <a:xfrm>
              <a:off x="7804150" y="2274888"/>
              <a:ext cx="542925" cy="544513"/>
            </a:xfrm>
            <a:custGeom>
              <a:avLst/>
              <a:gdLst>
                <a:gd name="T0" fmla="*/ 6 w 37"/>
                <a:gd name="T1" fmla="*/ 37 h 37"/>
                <a:gd name="T2" fmla="*/ 0 w 37"/>
                <a:gd name="T3" fmla="*/ 10 h 37"/>
                <a:gd name="T4" fmla="*/ 27 w 37"/>
                <a:gd name="T5" fmla="*/ 4 h 37"/>
                <a:gd name="T6" fmla="*/ 33 w 37"/>
                <a:gd name="T7" fmla="*/ 31 h 37"/>
                <a:gd name="T8" fmla="*/ 6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6" y="37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21" y="0"/>
                    <a:pt x="27" y="4"/>
                  </a:cubicBezTo>
                  <a:cubicBezTo>
                    <a:pt x="33" y="8"/>
                    <a:pt x="37" y="26"/>
                    <a:pt x="33" y="31"/>
                  </a:cubicBezTo>
                  <a:cubicBezTo>
                    <a:pt x="29" y="37"/>
                    <a:pt x="6" y="37"/>
                    <a:pt x="6" y="37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" name="îSlíḓê"/>
            <p:cNvSpPr/>
            <p:nvPr/>
          </p:nvSpPr>
          <p:spPr bwMode="auto">
            <a:xfrm>
              <a:off x="7335838" y="1685926"/>
              <a:ext cx="585788" cy="603250"/>
            </a:xfrm>
            <a:custGeom>
              <a:avLst/>
              <a:gdLst>
                <a:gd name="T0" fmla="*/ 0 w 40"/>
                <a:gd name="T1" fmla="*/ 24 h 41"/>
                <a:gd name="T2" fmla="*/ 23 w 40"/>
                <a:gd name="T3" fmla="*/ 41 h 41"/>
                <a:gd name="T4" fmla="*/ 40 w 40"/>
                <a:gd name="T5" fmla="*/ 19 h 41"/>
                <a:gd name="T6" fmla="*/ 17 w 40"/>
                <a:gd name="T7" fmla="*/ 2 h 41"/>
                <a:gd name="T8" fmla="*/ 0 w 40"/>
                <a:gd name="T9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1">
                  <a:moveTo>
                    <a:pt x="0" y="24"/>
                  </a:moveTo>
                  <a:cubicBezTo>
                    <a:pt x="23" y="41"/>
                    <a:pt x="23" y="41"/>
                    <a:pt x="23" y="41"/>
                  </a:cubicBezTo>
                  <a:cubicBezTo>
                    <a:pt x="23" y="41"/>
                    <a:pt x="40" y="26"/>
                    <a:pt x="40" y="19"/>
                  </a:cubicBezTo>
                  <a:cubicBezTo>
                    <a:pt x="39" y="12"/>
                    <a:pt x="24" y="0"/>
                    <a:pt x="17" y="2"/>
                  </a:cubicBezTo>
                  <a:cubicBezTo>
                    <a:pt x="10" y="3"/>
                    <a:pt x="0" y="24"/>
                    <a:pt x="0" y="24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" name="íṧḻidé"/>
            <p:cNvSpPr/>
            <p:nvPr/>
          </p:nvSpPr>
          <p:spPr bwMode="auto">
            <a:xfrm>
              <a:off x="6308725" y="3305176"/>
              <a:ext cx="585788" cy="603250"/>
            </a:xfrm>
            <a:custGeom>
              <a:avLst/>
              <a:gdLst>
                <a:gd name="T0" fmla="*/ 40 w 40"/>
                <a:gd name="T1" fmla="*/ 17 h 41"/>
                <a:gd name="T2" fmla="*/ 18 w 40"/>
                <a:gd name="T3" fmla="*/ 0 h 41"/>
                <a:gd name="T4" fmla="*/ 1 w 40"/>
                <a:gd name="T5" fmla="*/ 22 h 41"/>
                <a:gd name="T6" fmla="*/ 23 w 40"/>
                <a:gd name="T7" fmla="*/ 39 h 41"/>
                <a:gd name="T8" fmla="*/ 40 w 40"/>
                <a:gd name="T9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1">
                  <a:moveTo>
                    <a:pt x="40" y="17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0" y="15"/>
                    <a:pt x="1" y="22"/>
                  </a:cubicBezTo>
                  <a:cubicBezTo>
                    <a:pt x="2" y="29"/>
                    <a:pt x="17" y="41"/>
                    <a:pt x="23" y="39"/>
                  </a:cubicBezTo>
                  <a:cubicBezTo>
                    <a:pt x="30" y="38"/>
                    <a:pt x="40" y="17"/>
                    <a:pt x="40" y="17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" name="íşľiďê"/>
            <p:cNvSpPr/>
            <p:nvPr/>
          </p:nvSpPr>
          <p:spPr bwMode="auto">
            <a:xfrm>
              <a:off x="7702550" y="2981326"/>
              <a:ext cx="571500" cy="558800"/>
            </a:xfrm>
            <a:custGeom>
              <a:avLst/>
              <a:gdLst>
                <a:gd name="T0" fmla="*/ 0 w 39"/>
                <a:gd name="T1" fmla="*/ 26 h 38"/>
                <a:gd name="T2" fmla="*/ 11 w 39"/>
                <a:gd name="T3" fmla="*/ 0 h 38"/>
                <a:gd name="T4" fmla="*/ 37 w 39"/>
                <a:gd name="T5" fmla="*/ 10 h 38"/>
                <a:gd name="T6" fmla="*/ 26 w 39"/>
                <a:gd name="T7" fmla="*/ 37 h 38"/>
                <a:gd name="T8" fmla="*/ 0 w 39"/>
                <a:gd name="T9" fmla="*/ 2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0" y="26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34" y="4"/>
                    <a:pt x="37" y="10"/>
                  </a:cubicBezTo>
                  <a:cubicBezTo>
                    <a:pt x="39" y="17"/>
                    <a:pt x="32" y="35"/>
                    <a:pt x="26" y="37"/>
                  </a:cubicBezTo>
                  <a:cubicBezTo>
                    <a:pt x="19" y="38"/>
                    <a:pt x="0" y="26"/>
                    <a:pt x="0" y="26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" name="ïşļîḑé"/>
            <p:cNvSpPr/>
            <p:nvPr/>
          </p:nvSpPr>
          <p:spPr bwMode="auto">
            <a:xfrm>
              <a:off x="8259763" y="3348038"/>
              <a:ext cx="982663" cy="1001713"/>
            </a:xfrm>
            <a:custGeom>
              <a:avLst/>
              <a:gdLst>
                <a:gd name="T0" fmla="*/ 26 w 67"/>
                <a:gd name="T1" fmla="*/ 4 h 68"/>
                <a:gd name="T2" fmla="*/ 4 w 67"/>
                <a:gd name="T3" fmla="*/ 42 h 68"/>
                <a:gd name="T4" fmla="*/ 41 w 67"/>
                <a:gd name="T5" fmla="*/ 63 h 68"/>
                <a:gd name="T6" fmla="*/ 63 w 67"/>
                <a:gd name="T7" fmla="*/ 26 h 68"/>
                <a:gd name="T8" fmla="*/ 26 w 67"/>
                <a:gd name="T9" fmla="*/ 4 h 68"/>
                <a:gd name="T10" fmla="*/ 38 w 67"/>
                <a:gd name="T11" fmla="*/ 49 h 68"/>
                <a:gd name="T12" fmla="*/ 18 w 67"/>
                <a:gd name="T13" fmla="*/ 38 h 68"/>
                <a:gd name="T14" fmla="*/ 29 w 67"/>
                <a:gd name="T15" fmla="*/ 18 h 68"/>
                <a:gd name="T16" fmla="*/ 49 w 67"/>
                <a:gd name="T17" fmla="*/ 30 h 68"/>
                <a:gd name="T18" fmla="*/ 38 w 67"/>
                <a:gd name="T19" fmla="*/ 4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8">
                  <a:moveTo>
                    <a:pt x="26" y="4"/>
                  </a:moveTo>
                  <a:cubicBezTo>
                    <a:pt x="9" y="9"/>
                    <a:pt x="0" y="25"/>
                    <a:pt x="4" y="42"/>
                  </a:cubicBezTo>
                  <a:cubicBezTo>
                    <a:pt x="8" y="58"/>
                    <a:pt x="25" y="68"/>
                    <a:pt x="41" y="63"/>
                  </a:cubicBezTo>
                  <a:cubicBezTo>
                    <a:pt x="58" y="59"/>
                    <a:pt x="67" y="42"/>
                    <a:pt x="63" y="26"/>
                  </a:cubicBezTo>
                  <a:cubicBezTo>
                    <a:pt x="59" y="10"/>
                    <a:pt x="42" y="0"/>
                    <a:pt x="26" y="4"/>
                  </a:cubicBezTo>
                  <a:close/>
                  <a:moveTo>
                    <a:pt x="38" y="49"/>
                  </a:moveTo>
                  <a:cubicBezTo>
                    <a:pt x="29" y="52"/>
                    <a:pt x="20" y="47"/>
                    <a:pt x="18" y="38"/>
                  </a:cubicBezTo>
                  <a:cubicBezTo>
                    <a:pt x="16" y="29"/>
                    <a:pt x="21" y="21"/>
                    <a:pt x="29" y="18"/>
                  </a:cubicBezTo>
                  <a:cubicBezTo>
                    <a:pt x="38" y="16"/>
                    <a:pt x="47" y="21"/>
                    <a:pt x="49" y="30"/>
                  </a:cubicBezTo>
                  <a:cubicBezTo>
                    <a:pt x="51" y="38"/>
                    <a:pt x="46" y="47"/>
                    <a:pt x="38" y="49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" name="iṡ1ïḍè"/>
            <p:cNvSpPr/>
            <p:nvPr/>
          </p:nvSpPr>
          <p:spPr bwMode="auto">
            <a:xfrm>
              <a:off x="8494713" y="3275013"/>
              <a:ext cx="263525" cy="265113"/>
            </a:xfrm>
            <a:custGeom>
              <a:avLst/>
              <a:gdLst>
                <a:gd name="T0" fmla="*/ 18 w 18"/>
                <a:gd name="T1" fmla="*/ 15 h 18"/>
                <a:gd name="T2" fmla="*/ 5 w 18"/>
                <a:gd name="T3" fmla="*/ 18 h 18"/>
                <a:gd name="T4" fmla="*/ 2 w 18"/>
                <a:gd name="T5" fmla="*/ 5 h 18"/>
                <a:gd name="T6" fmla="*/ 15 w 18"/>
                <a:gd name="T7" fmla="*/ 2 h 18"/>
                <a:gd name="T8" fmla="*/ 18 w 18"/>
                <a:gd name="T9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8" y="15"/>
                  </a:move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0" y="8"/>
                    <a:pt x="2" y="5"/>
                  </a:cubicBezTo>
                  <a:cubicBezTo>
                    <a:pt x="3" y="2"/>
                    <a:pt x="12" y="0"/>
                    <a:pt x="15" y="2"/>
                  </a:cubicBezTo>
                  <a:cubicBezTo>
                    <a:pt x="18" y="4"/>
                    <a:pt x="18" y="15"/>
                    <a:pt x="18" y="15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" name="íSļíďè"/>
            <p:cNvSpPr/>
            <p:nvPr/>
          </p:nvSpPr>
          <p:spPr bwMode="auto">
            <a:xfrm>
              <a:off x="8729663" y="4157663"/>
              <a:ext cx="263525" cy="280988"/>
            </a:xfrm>
            <a:custGeom>
              <a:avLst/>
              <a:gdLst>
                <a:gd name="T0" fmla="*/ 13 w 18"/>
                <a:gd name="T1" fmla="*/ 0 h 19"/>
                <a:gd name="T2" fmla="*/ 0 w 18"/>
                <a:gd name="T3" fmla="*/ 4 h 19"/>
                <a:gd name="T4" fmla="*/ 3 w 18"/>
                <a:gd name="T5" fmla="*/ 17 h 19"/>
                <a:gd name="T6" fmla="*/ 17 w 18"/>
                <a:gd name="T7" fmla="*/ 13 h 19"/>
                <a:gd name="T8" fmla="*/ 13 w 1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9">
                  <a:moveTo>
                    <a:pt x="13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15"/>
                    <a:pt x="3" y="17"/>
                  </a:cubicBezTo>
                  <a:cubicBezTo>
                    <a:pt x="6" y="19"/>
                    <a:pt x="15" y="16"/>
                    <a:pt x="17" y="13"/>
                  </a:cubicBezTo>
                  <a:cubicBezTo>
                    <a:pt x="18" y="10"/>
                    <a:pt x="13" y="0"/>
                    <a:pt x="13" y="0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" name="işḷïḍe"/>
            <p:cNvSpPr/>
            <p:nvPr/>
          </p:nvSpPr>
          <p:spPr bwMode="auto">
            <a:xfrm>
              <a:off x="8215313" y="3495676"/>
              <a:ext cx="279400" cy="279400"/>
            </a:xfrm>
            <a:custGeom>
              <a:avLst/>
              <a:gdLst>
                <a:gd name="T0" fmla="*/ 19 w 19"/>
                <a:gd name="T1" fmla="*/ 6 h 19"/>
                <a:gd name="T2" fmla="*/ 13 w 19"/>
                <a:gd name="T3" fmla="*/ 19 h 19"/>
                <a:gd name="T4" fmla="*/ 1 w 19"/>
                <a:gd name="T5" fmla="*/ 14 h 19"/>
                <a:gd name="T6" fmla="*/ 7 w 19"/>
                <a:gd name="T7" fmla="*/ 1 h 19"/>
                <a:gd name="T8" fmla="*/ 19 w 19"/>
                <a:gd name="T9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9" y="6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2" y="17"/>
                    <a:pt x="1" y="14"/>
                  </a:cubicBezTo>
                  <a:cubicBezTo>
                    <a:pt x="0" y="11"/>
                    <a:pt x="3" y="2"/>
                    <a:pt x="7" y="1"/>
                  </a:cubicBezTo>
                  <a:cubicBezTo>
                    <a:pt x="10" y="0"/>
                    <a:pt x="19" y="6"/>
                    <a:pt x="19" y="6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" name="íṧḻíḍê"/>
            <p:cNvSpPr/>
            <p:nvPr/>
          </p:nvSpPr>
          <p:spPr bwMode="auto">
            <a:xfrm>
              <a:off x="8170863" y="3849688"/>
              <a:ext cx="250825" cy="265113"/>
            </a:xfrm>
            <a:custGeom>
              <a:avLst/>
              <a:gdLst>
                <a:gd name="T0" fmla="*/ 16 w 17"/>
                <a:gd name="T1" fmla="*/ 1 h 18"/>
                <a:gd name="T2" fmla="*/ 17 w 17"/>
                <a:gd name="T3" fmla="*/ 15 h 18"/>
                <a:gd name="T4" fmla="*/ 4 w 17"/>
                <a:gd name="T5" fmla="*/ 16 h 18"/>
                <a:gd name="T6" fmla="*/ 3 w 17"/>
                <a:gd name="T7" fmla="*/ 2 h 18"/>
                <a:gd name="T8" fmla="*/ 16 w 17"/>
                <a:gd name="T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16" y="1"/>
                  </a:move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7" y="18"/>
                    <a:pt x="4" y="16"/>
                  </a:cubicBezTo>
                  <a:cubicBezTo>
                    <a:pt x="1" y="14"/>
                    <a:pt x="0" y="5"/>
                    <a:pt x="3" y="2"/>
                  </a:cubicBezTo>
                  <a:cubicBezTo>
                    <a:pt x="5" y="0"/>
                    <a:pt x="16" y="1"/>
                    <a:pt x="16" y="1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" name="ísļîďè"/>
            <p:cNvSpPr/>
            <p:nvPr/>
          </p:nvSpPr>
          <p:spPr bwMode="auto">
            <a:xfrm>
              <a:off x="9066213" y="3598863"/>
              <a:ext cx="265113" cy="265113"/>
            </a:xfrm>
            <a:custGeom>
              <a:avLst/>
              <a:gdLst>
                <a:gd name="T0" fmla="*/ 3 w 18"/>
                <a:gd name="T1" fmla="*/ 18 h 18"/>
                <a:gd name="T2" fmla="*/ 0 w 18"/>
                <a:gd name="T3" fmla="*/ 5 h 18"/>
                <a:gd name="T4" fmla="*/ 13 w 18"/>
                <a:gd name="T5" fmla="*/ 2 h 18"/>
                <a:gd name="T6" fmla="*/ 16 w 18"/>
                <a:gd name="T7" fmla="*/ 16 h 18"/>
                <a:gd name="T8" fmla="*/ 3 w 18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3" y="18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10" y="0"/>
                    <a:pt x="13" y="2"/>
                  </a:cubicBezTo>
                  <a:cubicBezTo>
                    <a:pt x="16" y="4"/>
                    <a:pt x="18" y="13"/>
                    <a:pt x="16" y="16"/>
                  </a:cubicBezTo>
                  <a:cubicBezTo>
                    <a:pt x="14" y="18"/>
                    <a:pt x="3" y="18"/>
                    <a:pt x="3" y="18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" name="îsļîḍè"/>
            <p:cNvSpPr/>
            <p:nvPr/>
          </p:nvSpPr>
          <p:spPr bwMode="auto">
            <a:xfrm>
              <a:off x="8847138" y="3319463"/>
              <a:ext cx="277813" cy="293688"/>
            </a:xfrm>
            <a:custGeom>
              <a:avLst/>
              <a:gdLst>
                <a:gd name="T0" fmla="*/ 0 w 19"/>
                <a:gd name="T1" fmla="*/ 11 h 20"/>
                <a:gd name="T2" fmla="*/ 11 w 19"/>
                <a:gd name="T3" fmla="*/ 20 h 20"/>
                <a:gd name="T4" fmla="*/ 19 w 19"/>
                <a:gd name="T5" fmla="*/ 9 h 20"/>
                <a:gd name="T6" fmla="*/ 8 w 19"/>
                <a:gd name="T7" fmla="*/ 1 h 20"/>
                <a:gd name="T8" fmla="*/ 0 w 19"/>
                <a:gd name="T9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0" y="11"/>
                  </a:move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9" y="13"/>
                    <a:pt x="19" y="9"/>
                  </a:cubicBezTo>
                  <a:cubicBezTo>
                    <a:pt x="18" y="6"/>
                    <a:pt x="11" y="0"/>
                    <a:pt x="8" y="1"/>
                  </a:cubicBezTo>
                  <a:cubicBezTo>
                    <a:pt x="5" y="2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" name="ïṩlîḑe"/>
            <p:cNvSpPr/>
            <p:nvPr/>
          </p:nvSpPr>
          <p:spPr bwMode="auto">
            <a:xfrm>
              <a:off x="8347075" y="4098926"/>
              <a:ext cx="279400" cy="295275"/>
            </a:xfrm>
            <a:custGeom>
              <a:avLst/>
              <a:gdLst>
                <a:gd name="T0" fmla="*/ 19 w 19"/>
                <a:gd name="T1" fmla="*/ 9 h 20"/>
                <a:gd name="T2" fmla="*/ 8 w 19"/>
                <a:gd name="T3" fmla="*/ 0 h 20"/>
                <a:gd name="T4" fmla="*/ 0 w 19"/>
                <a:gd name="T5" fmla="*/ 11 h 20"/>
                <a:gd name="T6" fmla="*/ 11 w 19"/>
                <a:gd name="T7" fmla="*/ 19 h 20"/>
                <a:gd name="T8" fmla="*/ 19 w 19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19" y="9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8"/>
                    <a:pt x="0" y="11"/>
                  </a:cubicBezTo>
                  <a:cubicBezTo>
                    <a:pt x="1" y="14"/>
                    <a:pt x="8" y="20"/>
                    <a:pt x="11" y="19"/>
                  </a:cubicBezTo>
                  <a:cubicBezTo>
                    <a:pt x="14" y="18"/>
                    <a:pt x="19" y="9"/>
                    <a:pt x="19" y="9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" name="ïş1iďê"/>
            <p:cNvSpPr/>
            <p:nvPr/>
          </p:nvSpPr>
          <p:spPr bwMode="auto">
            <a:xfrm>
              <a:off x="9021763" y="3937001"/>
              <a:ext cx="279400" cy="279400"/>
            </a:xfrm>
            <a:custGeom>
              <a:avLst/>
              <a:gdLst>
                <a:gd name="T0" fmla="*/ 0 w 19"/>
                <a:gd name="T1" fmla="*/ 13 h 19"/>
                <a:gd name="T2" fmla="*/ 5 w 19"/>
                <a:gd name="T3" fmla="*/ 0 h 19"/>
                <a:gd name="T4" fmla="*/ 17 w 19"/>
                <a:gd name="T5" fmla="*/ 6 h 19"/>
                <a:gd name="T6" fmla="*/ 12 w 19"/>
                <a:gd name="T7" fmla="*/ 18 h 19"/>
                <a:gd name="T8" fmla="*/ 0 w 19"/>
                <a:gd name="T9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0" y="13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16" y="3"/>
                    <a:pt x="17" y="6"/>
                  </a:cubicBezTo>
                  <a:cubicBezTo>
                    <a:pt x="19" y="9"/>
                    <a:pt x="15" y="17"/>
                    <a:pt x="12" y="18"/>
                  </a:cubicBezTo>
                  <a:cubicBezTo>
                    <a:pt x="9" y="19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" name="iSļîdê"/>
            <p:cNvSpPr/>
            <p:nvPr/>
          </p:nvSpPr>
          <p:spPr bwMode="auto">
            <a:xfrm>
              <a:off x="3887788" y="1303338"/>
              <a:ext cx="982663" cy="1000125"/>
            </a:xfrm>
            <a:custGeom>
              <a:avLst/>
              <a:gdLst>
                <a:gd name="T0" fmla="*/ 26 w 67"/>
                <a:gd name="T1" fmla="*/ 4 h 68"/>
                <a:gd name="T2" fmla="*/ 4 w 67"/>
                <a:gd name="T3" fmla="*/ 42 h 68"/>
                <a:gd name="T4" fmla="*/ 41 w 67"/>
                <a:gd name="T5" fmla="*/ 63 h 68"/>
                <a:gd name="T6" fmla="*/ 63 w 67"/>
                <a:gd name="T7" fmla="*/ 26 h 68"/>
                <a:gd name="T8" fmla="*/ 26 w 67"/>
                <a:gd name="T9" fmla="*/ 4 h 68"/>
                <a:gd name="T10" fmla="*/ 38 w 67"/>
                <a:gd name="T11" fmla="*/ 49 h 68"/>
                <a:gd name="T12" fmla="*/ 18 w 67"/>
                <a:gd name="T13" fmla="*/ 38 h 68"/>
                <a:gd name="T14" fmla="*/ 29 w 67"/>
                <a:gd name="T15" fmla="*/ 18 h 68"/>
                <a:gd name="T16" fmla="*/ 49 w 67"/>
                <a:gd name="T17" fmla="*/ 30 h 68"/>
                <a:gd name="T18" fmla="*/ 38 w 67"/>
                <a:gd name="T19" fmla="*/ 4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8">
                  <a:moveTo>
                    <a:pt x="26" y="4"/>
                  </a:moveTo>
                  <a:cubicBezTo>
                    <a:pt x="9" y="9"/>
                    <a:pt x="0" y="25"/>
                    <a:pt x="4" y="42"/>
                  </a:cubicBezTo>
                  <a:cubicBezTo>
                    <a:pt x="8" y="58"/>
                    <a:pt x="25" y="68"/>
                    <a:pt x="41" y="63"/>
                  </a:cubicBezTo>
                  <a:cubicBezTo>
                    <a:pt x="58" y="59"/>
                    <a:pt x="67" y="42"/>
                    <a:pt x="63" y="26"/>
                  </a:cubicBezTo>
                  <a:cubicBezTo>
                    <a:pt x="59" y="10"/>
                    <a:pt x="42" y="0"/>
                    <a:pt x="26" y="4"/>
                  </a:cubicBezTo>
                  <a:close/>
                  <a:moveTo>
                    <a:pt x="38" y="49"/>
                  </a:moveTo>
                  <a:cubicBezTo>
                    <a:pt x="29" y="52"/>
                    <a:pt x="20" y="47"/>
                    <a:pt x="18" y="38"/>
                  </a:cubicBezTo>
                  <a:cubicBezTo>
                    <a:pt x="16" y="29"/>
                    <a:pt x="21" y="21"/>
                    <a:pt x="29" y="18"/>
                  </a:cubicBezTo>
                  <a:cubicBezTo>
                    <a:pt x="38" y="16"/>
                    <a:pt x="47" y="21"/>
                    <a:pt x="49" y="30"/>
                  </a:cubicBezTo>
                  <a:cubicBezTo>
                    <a:pt x="51" y="38"/>
                    <a:pt x="46" y="47"/>
                    <a:pt x="38" y="49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" name="ïṣḻiḑè"/>
            <p:cNvSpPr/>
            <p:nvPr/>
          </p:nvSpPr>
          <p:spPr bwMode="auto">
            <a:xfrm>
              <a:off x="4122738" y="1228726"/>
              <a:ext cx="263525" cy="265113"/>
            </a:xfrm>
            <a:custGeom>
              <a:avLst/>
              <a:gdLst>
                <a:gd name="T0" fmla="*/ 18 w 18"/>
                <a:gd name="T1" fmla="*/ 14 h 18"/>
                <a:gd name="T2" fmla="*/ 5 w 18"/>
                <a:gd name="T3" fmla="*/ 18 h 18"/>
                <a:gd name="T4" fmla="*/ 2 w 18"/>
                <a:gd name="T5" fmla="*/ 5 h 18"/>
                <a:gd name="T6" fmla="*/ 15 w 18"/>
                <a:gd name="T7" fmla="*/ 2 h 18"/>
                <a:gd name="T8" fmla="*/ 18 w 18"/>
                <a:gd name="T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8" y="14"/>
                  </a:move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0" y="8"/>
                    <a:pt x="2" y="5"/>
                  </a:cubicBezTo>
                  <a:cubicBezTo>
                    <a:pt x="3" y="2"/>
                    <a:pt x="12" y="0"/>
                    <a:pt x="15" y="2"/>
                  </a:cubicBezTo>
                  <a:cubicBezTo>
                    <a:pt x="18" y="4"/>
                    <a:pt x="18" y="14"/>
                    <a:pt x="18" y="14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" name="îŝ1iḓê"/>
            <p:cNvSpPr/>
            <p:nvPr/>
          </p:nvSpPr>
          <p:spPr bwMode="auto">
            <a:xfrm>
              <a:off x="4356100" y="2112963"/>
              <a:ext cx="265113" cy="263525"/>
            </a:xfrm>
            <a:custGeom>
              <a:avLst/>
              <a:gdLst>
                <a:gd name="T0" fmla="*/ 13 w 18"/>
                <a:gd name="T1" fmla="*/ 0 h 18"/>
                <a:gd name="T2" fmla="*/ 0 w 18"/>
                <a:gd name="T3" fmla="*/ 4 h 18"/>
                <a:gd name="T4" fmla="*/ 3 w 18"/>
                <a:gd name="T5" fmla="*/ 17 h 18"/>
                <a:gd name="T6" fmla="*/ 17 w 18"/>
                <a:gd name="T7" fmla="*/ 13 h 18"/>
                <a:gd name="T8" fmla="*/ 13 w 1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3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15"/>
                    <a:pt x="3" y="17"/>
                  </a:cubicBezTo>
                  <a:cubicBezTo>
                    <a:pt x="6" y="18"/>
                    <a:pt x="15" y="16"/>
                    <a:pt x="17" y="13"/>
                  </a:cubicBezTo>
                  <a:cubicBezTo>
                    <a:pt x="18" y="10"/>
                    <a:pt x="13" y="0"/>
                    <a:pt x="13" y="0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" name="ïṩļíďê"/>
            <p:cNvSpPr/>
            <p:nvPr/>
          </p:nvSpPr>
          <p:spPr bwMode="auto">
            <a:xfrm>
              <a:off x="3843338" y="1449388"/>
              <a:ext cx="279400" cy="280988"/>
            </a:xfrm>
            <a:custGeom>
              <a:avLst/>
              <a:gdLst>
                <a:gd name="T0" fmla="*/ 19 w 19"/>
                <a:gd name="T1" fmla="*/ 6 h 19"/>
                <a:gd name="T2" fmla="*/ 13 w 19"/>
                <a:gd name="T3" fmla="*/ 19 h 19"/>
                <a:gd name="T4" fmla="*/ 1 w 19"/>
                <a:gd name="T5" fmla="*/ 14 h 19"/>
                <a:gd name="T6" fmla="*/ 7 w 19"/>
                <a:gd name="T7" fmla="*/ 1 h 19"/>
                <a:gd name="T8" fmla="*/ 19 w 19"/>
                <a:gd name="T9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9" y="6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2" y="17"/>
                    <a:pt x="1" y="14"/>
                  </a:cubicBezTo>
                  <a:cubicBezTo>
                    <a:pt x="0" y="10"/>
                    <a:pt x="3" y="2"/>
                    <a:pt x="7" y="1"/>
                  </a:cubicBezTo>
                  <a:cubicBezTo>
                    <a:pt x="10" y="0"/>
                    <a:pt x="19" y="6"/>
                    <a:pt x="19" y="6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" name="îṧ1îḑè"/>
            <p:cNvSpPr/>
            <p:nvPr/>
          </p:nvSpPr>
          <p:spPr bwMode="auto">
            <a:xfrm>
              <a:off x="3798888" y="1803401"/>
              <a:ext cx="249238" cy="265113"/>
            </a:xfrm>
            <a:custGeom>
              <a:avLst/>
              <a:gdLst>
                <a:gd name="T0" fmla="*/ 16 w 17"/>
                <a:gd name="T1" fmla="*/ 1 h 18"/>
                <a:gd name="T2" fmla="*/ 17 w 17"/>
                <a:gd name="T3" fmla="*/ 15 h 18"/>
                <a:gd name="T4" fmla="*/ 4 w 17"/>
                <a:gd name="T5" fmla="*/ 16 h 18"/>
                <a:gd name="T6" fmla="*/ 3 w 17"/>
                <a:gd name="T7" fmla="*/ 2 h 18"/>
                <a:gd name="T8" fmla="*/ 16 w 17"/>
                <a:gd name="T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16" y="1"/>
                  </a:move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7" y="18"/>
                    <a:pt x="4" y="16"/>
                  </a:cubicBezTo>
                  <a:cubicBezTo>
                    <a:pt x="1" y="14"/>
                    <a:pt x="0" y="5"/>
                    <a:pt x="3" y="2"/>
                  </a:cubicBezTo>
                  <a:cubicBezTo>
                    <a:pt x="5" y="0"/>
                    <a:pt x="16" y="1"/>
                    <a:pt x="16" y="1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" name="ï$lîḑê"/>
            <p:cNvSpPr/>
            <p:nvPr/>
          </p:nvSpPr>
          <p:spPr bwMode="auto">
            <a:xfrm>
              <a:off x="4694238" y="1552576"/>
              <a:ext cx="263525" cy="265113"/>
            </a:xfrm>
            <a:custGeom>
              <a:avLst/>
              <a:gdLst>
                <a:gd name="T0" fmla="*/ 3 w 18"/>
                <a:gd name="T1" fmla="*/ 18 h 18"/>
                <a:gd name="T2" fmla="*/ 0 w 18"/>
                <a:gd name="T3" fmla="*/ 5 h 18"/>
                <a:gd name="T4" fmla="*/ 13 w 18"/>
                <a:gd name="T5" fmla="*/ 2 h 18"/>
                <a:gd name="T6" fmla="*/ 16 w 18"/>
                <a:gd name="T7" fmla="*/ 16 h 18"/>
                <a:gd name="T8" fmla="*/ 3 w 18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3" y="18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10" y="0"/>
                    <a:pt x="13" y="2"/>
                  </a:cubicBezTo>
                  <a:cubicBezTo>
                    <a:pt x="16" y="4"/>
                    <a:pt x="18" y="13"/>
                    <a:pt x="16" y="16"/>
                  </a:cubicBezTo>
                  <a:cubicBezTo>
                    <a:pt x="14" y="18"/>
                    <a:pt x="3" y="18"/>
                    <a:pt x="3" y="18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" name="ïS1îďé"/>
            <p:cNvSpPr/>
            <p:nvPr/>
          </p:nvSpPr>
          <p:spPr bwMode="auto">
            <a:xfrm>
              <a:off x="4473575" y="1273176"/>
              <a:ext cx="279400" cy="295275"/>
            </a:xfrm>
            <a:custGeom>
              <a:avLst/>
              <a:gdLst>
                <a:gd name="T0" fmla="*/ 0 w 19"/>
                <a:gd name="T1" fmla="*/ 11 h 20"/>
                <a:gd name="T2" fmla="*/ 11 w 19"/>
                <a:gd name="T3" fmla="*/ 20 h 20"/>
                <a:gd name="T4" fmla="*/ 19 w 19"/>
                <a:gd name="T5" fmla="*/ 9 h 20"/>
                <a:gd name="T6" fmla="*/ 8 w 19"/>
                <a:gd name="T7" fmla="*/ 1 h 20"/>
                <a:gd name="T8" fmla="*/ 0 w 19"/>
                <a:gd name="T9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0" y="11"/>
                  </a:move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9" y="13"/>
                    <a:pt x="19" y="9"/>
                  </a:cubicBezTo>
                  <a:cubicBezTo>
                    <a:pt x="18" y="6"/>
                    <a:pt x="11" y="0"/>
                    <a:pt x="8" y="1"/>
                  </a:cubicBezTo>
                  <a:cubicBezTo>
                    <a:pt x="5" y="2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" name="íšḷïďê"/>
            <p:cNvSpPr/>
            <p:nvPr/>
          </p:nvSpPr>
          <p:spPr bwMode="auto">
            <a:xfrm>
              <a:off x="3975100" y="2052638"/>
              <a:ext cx="279400" cy="295275"/>
            </a:xfrm>
            <a:custGeom>
              <a:avLst/>
              <a:gdLst>
                <a:gd name="T0" fmla="*/ 19 w 19"/>
                <a:gd name="T1" fmla="*/ 9 h 20"/>
                <a:gd name="T2" fmla="*/ 8 w 19"/>
                <a:gd name="T3" fmla="*/ 0 h 20"/>
                <a:gd name="T4" fmla="*/ 0 w 19"/>
                <a:gd name="T5" fmla="*/ 11 h 20"/>
                <a:gd name="T6" fmla="*/ 11 w 19"/>
                <a:gd name="T7" fmla="*/ 19 h 20"/>
                <a:gd name="T8" fmla="*/ 19 w 19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19" y="9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8"/>
                    <a:pt x="0" y="11"/>
                  </a:cubicBezTo>
                  <a:cubicBezTo>
                    <a:pt x="1" y="14"/>
                    <a:pt x="8" y="20"/>
                    <a:pt x="11" y="19"/>
                  </a:cubicBezTo>
                  <a:cubicBezTo>
                    <a:pt x="14" y="18"/>
                    <a:pt x="19" y="9"/>
                    <a:pt x="19" y="9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" name="iṣlíḍè"/>
            <p:cNvSpPr/>
            <p:nvPr/>
          </p:nvSpPr>
          <p:spPr bwMode="auto">
            <a:xfrm>
              <a:off x="4649788" y="1890713"/>
              <a:ext cx="279400" cy="280988"/>
            </a:xfrm>
            <a:custGeom>
              <a:avLst/>
              <a:gdLst>
                <a:gd name="T0" fmla="*/ 0 w 19"/>
                <a:gd name="T1" fmla="*/ 13 h 19"/>
                <a:gd name="T2" fmla="*/ 5 w 19"/>
                <a:gd name="T3" fmla="*/ 0 h 19"/>
                <a:gd name="T4" fmla="*/ 17 w 19"/>
                <a:gd name="T5" fmla="*/ 6 h 19"/>
                <a:gd name="T6" fmla="*/ 12 w 19"/>
                <a:gd name="T7" fmla="*/ 18 h 19"/>
                <a:gd name="T8" fmla="*/ 0 w 19"/>
                <a:gd name="T9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0" y="13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16" y="3"/>
                    <a:pt x="17" y="6"/>
                  </a:cubicBezTo>
                  <a:cubicBezTo>
                    <a:pt x="19" y="9"/>
                    <a:pt x="15" y="17"/>
                    <a:pt x="12" y="18"/>
                  </a:cubicBezTo>
                  <a:cubicBezTo>
                    <a:pt x="9" y="19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" name="iŝ1îďe"/>
            <p:cNvSpPr/>
            <p:nvPr/>
          </p:nvSpPr>
          <p:spPr bwMode="auto">
            <a:xfrm>
              <a:off x="3359150" y="2641601"/>
              <a:ext cx="4503738" cy="2620963"/>
            </a:xfrm>
            <a:custGeom>
              <a:avLst/>
              <a:gdLst>
                <a:gd name="T0" fmla="*/ 294 w 307"/>
                <a:gd name="T1" fmla="*/ 0 h 178"/>
                <a:gd name="T2" fmla="*/ 307 w 307"/>
                <a:gd name="T3" fmla="*/ 14 h 178"/>
                <a:gd name="T4" fmla="*/ 307 w 307"/>
                <a:gd name="T5" fmla="*/ 164 h 178"/>
                <a:gd name="T6" fmla="*/ 293 w 307"/>
                <a:gd name="T7" fmla="*/ 177 h 178"/>
                <a:gd name="T8" fmla="*/ 14 w 307"/>
                <a:gd name="T9" fmla="*/ 177 h 178"/>
                <a:gd name="T10" fmla="*/ 0 w 307"/>
                <a:gd name="T11" fmla="*/ 163 h 178"/>
                <a:gd name="T12" fmla="*/ 1 w 307"/>
                <a:gd name="T13" fmla="*/ 13 h 178"/>
                <a:gd name="T14" fmla="*/ 14 w 307"/>
                <a:gd name="T15" fmla="*/ 0 h 178"/>
                <a:gd name="T16" fmla="*/ 294 w 307"/>
                <a:gd name="T17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7" h="178">
                  <a:moveTo>
                    <a:pt x="294" y="0"/>
                  </a:moveTo>
                  <a:cubicBezTo>
                    <a:pt x="301" y="0"/>
                    <a:pt x="307" y="7"/>
                    <a:pt x="307" y="14"/>
                  </a:cubicBezTo>
                  <a:cubicBezTo>
                    <a:pt x="307" y="164"/>
                    <a:pt x="307" y="164"/>
                    <a:pt x="307" y="164"/>
                  </a:cubicBezTo>
                  <a:cubicBezTo>
                    <a:pt x="307" y="171"/>
                    <a:pt x="301" y="178"/>
                    <a:pt x="293" y="177"/>
                  </a:cubicBezTo>
                  <a:cubicBezTo>
                    <a:pt x="14" y="177"/>
                    <a:pt x="14" y="177"/>
                    <a:pt x="14" y="177"/>
                  </a:cubicBezTo>
                  <a:cubicBezTo>
                    <a:pt x="6" y="177"/>
                    <a:pt x="0" y="171"/>
                    <a:pt x="0" y="16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6"/>
                    <a:pt x="7" y="0"/>
                    <a:pt x="14" y="0"/>
                  </a:cubicBezTo>
                  <a:lnTo>
                    <a:pt x="294" y="0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" name="îS1îdè"/>
            <p:cNvSpPr/>
            <p:nvPr/>
          </p:nvSpPr>
          <p:spPr bwMode="auto">
            <a:xfrm>
              <a:off x="3638550" y="2847976"/>
              <a:ext cx="3594100" cy="2208213"/>
            </a:xfrm>
            <a:custGeom>
              <a:avLst/>
              <a:gdLst>
                <a:gd name="T0" fmla="*/ 2264 w 2264"/>
                <a:gd name="T1" fmla="*/ 9 h 1391"/>
                <a:gd name="T2" fmla="*/ 2255 w 2264"/>
                <a:gd name="T3" fmla="*/ 1391 h 1391"/>
                <a:gd name="T4" fmla="*/ 0 w 2264"/>
                <a:gd name="T5" fmla="*/ 1382 h 1391"/>
                <a:gd name="T6" fmla="*/ 9 w 2264"/>
                <a:gd name="T7" fmla="*/ 0 h 1391"/>
                <a:gd name="T8" fmla="*/ 2264 w 2264"/>
                <a:gd name="T9" fmla="*/ 9 h 1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64" h="1391">
                  <a:moveTo>
                    <a:pt x="2264" y="9"/>
                  </a:moveTo>
                  <a:lnTo>
                    <a:pt x="2255" y="1391"/>
                  </a:lnTo>
                  <a:lnTo>
                    <a:pt x="0" y="1382"/>
                  </a:lnTo>
                  <a:lnTo>
                    <a:pt x="9" y="0"/>
                  </a:lnTo>
                  <a:lnTo>
                    <a:pt x="2264" y="9"/>
                  </a:lnTo>
                  <a:close/>
                </a:path>
              </a:pathLst>
            </a:custGeom>
            <a:solidFill>
              <a:srgbClr val="B9D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" name="iş1iḋé"/>
            <p:cNvSpPr/>
            <p:nvPr/>
          </p:nvSpPr>
          <p:spPr bwMode="auto">
            <a:xfrm>
              <a:off x="7350125" y="3760788"/>
              <a:ext cx="366713" cy="382588"/>
            </a:xfrm>
            <a:prstGeom prst="ellipse">
              <a:avLst/>
            </a:prstGeom>
            <a:solidFill>
              <a:srgbClr val="ECEB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" name="îSļïďe"/>
            <p:cNvSpPr/>
            <p:nvPr/>
          </p:nvSpPr>
          <p:spPr bwMode="auto">
            <a:xfrm>
              <a:off x="2860675" y="3643313"/>
              <a:ext cx="2597150" cy="1177925"/>
            </a:xfrm>
            <a:prstGeom prst="rect">
              <a:avLst/>
            </a:prstGeom>
            <a:solidFill>
              <a:srgbClr val="EE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" name="iṧḻiḓê"/>
            <p:cNvSpPr/>
            <p:nvPr/>
          </p:nvSpPr>
          <p:spPr bwMode="auto">
            <a:xfrm>
              <a:off x="3036888" y="3952876"/>
              <a:ext cx="176213" cy="720725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" name="iṣḻïḍê"/>
            <p:cNvSpPr/>
            <p:nvPr/>
          </p:nvSpPr>
          <p:spPr bwMode="auto">
            <a:xfrm>
              <a:off x="3255963" y="4143376"/>
              <a:ext cx="206375" cy="530225"/>
            </a:xfrm>
            <a:prstGeom prst="rect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" name="ïś1ïdê"/>
            <p:cNvSpPr/>
            <p:nvPr/>
          </p:nvSpPr>
          <p:spPr bwMode="auto">
            <a:xfrm>
              <a:off x="3521075" y="4054476"/>
              <a:ext cx="190500" cy="619125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" name="îšḷíďe"/>
            <p:cNvSpPr/>
            <p:nvPr/>
          </p:nvSpPr>
          <p:spPr bwMode="auto">
            <a:xfrm>
              <a:off x="3740150" y="4305301"/>
              <a:ext cx="206375" cy="368300"/>
            </a:xfrm>
            <a:prstGeom prst="rect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" name="ïšlíḑè"/>
            <p:cNvSpPr/>
            <p:nvPr/>
          </p:nvSpPr>
          <p:spPr bwMode="auto">
            <a:xfrm>
              <a:off x="4283075" y="4187826"/>
              <a:ext cx="1041400" cy="485775"/>
            </a:xfrm>
            <a:custGeom>
              <a:avLst/>
              <a:gdLst>
                <a:gd name="T0" fmla="*/ 0 w 71"/>
                <a:gd name="T1" fmla="*/ 6 h 33"/>
                <a:gd name="T2" fmla="*/ 10 w 71"/>
                <a:gd name="T3" fmla="*/ 0 h 33"/>
                <a:gd name="T4" fmla="*/ 16 w 71"/>
                <a:gd name="T5" fmla="*/ 3 h 33"/>
                <a:gd name="T6" fmla="*/ 26 w 71"/>
                <a:gd name="T7" fmla="*/ 13 h 33"/>
                <a:gd name="T8" fmla="*/ 34 w 71"/>
                <a:gd name="T9" fmla="*/ 6 h 33"/>
                <a:gd name="T10" fmla="*/ 37 w 71"/>
                <a:gd name="T11" fmla="*/ 8 h 33"/>
                <a:gd name="T12" fmla="*/ 42 w 71"/>
                <a:gd name="T13" fmla="*/ 11 h 33"/>
                <a:gd name="T14" fmla="*/ 47 w 71"/>
                <a:gd name="T15" fmla="*/ 13 h 33"/>
                <a:gd name="T16" fmla="*/ 57 w 71"/>
                <a:gd name="T17" fmla="*/ 14 h 33"/>
                <a:gd name="T18" fmla="*/ 61 w 71"/>
                <a:gd name="T19" fmla="*/ 22 h 33"/>
                <a:gd name="T20" fmla="*/ 71 w 71"/>
                <a:gd name="T21" fmla="*/ 21 h 33"/>
                <a:gd name="T22" fmla="*/ 71 w 71"/>
                <a:gd name="T23" fmla="*/ 33 h 33"/>
                <a:gd name="T24" fmla="*/ 0 w 71"/>
                <a:gd name="T25" fmla="*/ 33 h 33"/>
                <a:gd name="T26" fmla="*/ 0 w 71"/>
                <a:gd name="T27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1" h="33">
                  <a:moveTo>
                    <a:pt x="0" y="6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13"/>
                    <a:pt x="55" y="14"/>
                    <a:pt x="57" y="14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0" y="33"/>
                    <a:pt x="0" y="33"/>
                    <a:pt x="0" y="33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" name="ïśḷïḍe"/>
            <p:cNvSpPr/>
            <p:nvPr/>
          </p:nvSpPr>
          <p:spPr bwMode="auto">
            <a:xfrm>
              <a:off x="4283075" y="4481513"/>
              <a:ext cx="1041400" cy="192088"/>
            </a:xfrm>
            <a:custGeom>
              <a:avLst/>
              <a:gdLst>
                <a:gd name="T0" fmla="*/ 0 w 656"/>
                <a:gd name="T1" fmla="*/ 47 h 121"/>
                <a:gd name="T2" fmla="*/ 93 w 656"/>
                <a:gd name="T3" fmla="*/ 0 h 121"/>
                <a:gd name="T4" fmla="*/ 130 w 656"/>
                <a:gd name="T5" fmla="*/ 37 h 121"/>
                <a:gd name="T6" fmla="*/ 167 w 656"/>
                <a:gd name="T7" fmla="*/ 47 h 121"/>
                <a:gd name="T8" fmla="*/ 250 w 656"/>
                <a:gd name="T9" fmla="*/ 19 h 121"/>
                <a:gd name="T10" fmla="*/ 296 w 656"/>
                <a:gd name="T11" fmla="*/ 47 h 121"/>
                <a:gd name="T12" fmla="*/ 361 w 656"/>
                <a:gd name="T13" fmla="*/ 75 h 121"/>
                <a:gd name="T14" fmla="*/ 435 w 656"/>
                <a:gd name="T15" fmla="*/ 93 h 121"/>
                <a:gd name="T16" fmla="*/ 527 w 656"/>
                <a:gd name="T17" fmla="*/ 93 h 121"/>
                <a:gd name="T18" fmla="*/ 583 w 656"/>
                <a:gd name="T19" fmla="*/ 93 h 121"/>
                <a:gd name="T20" fmla="*/ 656 w 656"/>
                <a:gd name="T21" fmla="*/ 121 h 121"/>
                <a:gd name="T22" fmla="*/ 0 w 656"/>
                <a:gd name="T23" fmla="*/ 121 h 121"/>
                <a:gd name="T24" fmla="*/ 0 w 656"/>
                <a:gd name="T25" fmla="*/ 47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6" h="121">
                  <a:moveTo>
                    <a:pt x="0" y="47"/>
                  </a:moveTo>
                  <a:lnTo>
                    <a:pt x="93" y="0"/>
                  </a:lnTo>
                  <a:lnTo>
                    <a:pt x="130" y="37"/>
                  </a:lnTo>
                  <a:lnTo>
                    <a:pt x="167" y="47"/>
                  </a:lnTo>
                  <a:lnTo>
                    <a:pt x="250" y="19"/>
                  </a:lnTo>
                  <a:lnTo>
                    <a:pt x="296" y="47"/>
                  </a:lnTo>
                  <a:lnTo>
                    <a:pt x="361" y="75"/>
                  </a:lnTo>
                  <a:lnTo>
                    <a:pt x="435" y="93"/>
                  </a:lnTo>
                  <a:lnTo>
                    <a:pt x="527" y="93"/>
                  </a:lnTo>
                  <a:lnTo>
                    <a:pt x="583" y="93"/>
                  </a:lnTo>
                  <a:lnTo>
                    <a:pt x="656" y="121"/>
                  </a:lnTo>
                  <a:lnTo>
                    <a:pt x="0" y="121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" name="íṡľíḍé"/>
            <p:cNvSpPr/>
            <p:nvPr/>
          </p:nvSpPr>
          <p:spPr bwMode="auto">
            <a:xfrm>
              <a:off x="5749925" y="4202113"/>
              <a:ext cx="660400" cy="1060450"/>
            </a:xfrm>
            <a:custGeom>
              <a:avLst/>
              <a:gdLst>
                <a:gd name="T0" fmla="*/ 416 w 416"/>
                <a:gd name="T1" fmla="*/ 659 h 668"/>
                <a:gd name="T2" fmla="*/ 0 w 416"/>
                <a:gd name="T3" fmla="*/ 668 h 668"/>
                <a:gd name="T4" fmla="*/ 10 w 416"/>
                <a:gd name="T5" fmla="*/ 0 h 668"/>
                <a:gd name="T6" fmla="*/ 416 w 416"/>
                <a:gd name="T7" fmla="*/ 0 h 668"/>
                <a:gd name="T8" fmla="*/ 416 w 416"/>
                <a:gd name="T9" fmla="*/ 659 h 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668">
                  <a:moveTo>
                    <a:pt x="416" y="659"/>
                  </a:moveTo>
                  <a:lnTo>
                    <a:pt x="0" y="668"/>
                  </a:lnTo>
                  <a:lnTo>
                    <a:pt x="10" y="0"/>
                  </a:lnTo>
                  <a:lnTo>
                    <a:pt x="416" y="0"/>
                  </a:lnTo>
                  <a:lnTo>
                    <a:pt x="416" y="659"/>
                  </a:lnTo>
                  <a:close/>
                </a:path>
              </a:pathLst>
            </a:cu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" name="î$ľiḋe"/>
            <p:cNvSpPr/>
            <p:nvPr/>
          </p:nvSpPr>
          <p:spPr bwMode="auto">
            <a:xfrm>
              <a:off x="6557963" y="4481513"/>
              <a:ext cx="703263" cy="766763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" name="îšḻîḋe"/>
            <p:cNvSpPr/>
            <p:nvPr/>
          </p:nvSpPr>
          <p:spPr bwMode="auto">
            <a:xfrm>
              <a:off x="7467600" y="4364038"/>
              <a:ext cx="660400" cy="884238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" name="íṧḻïḍê"/>
            <p:cNvSpPr/>
            <p:nvPr/>
          </p:nvSpPr>
          <p:spPr bwMode="auto">
            <a:xfrm>
              <a:off x="8259763" y="4732338"/>
              <a:ext cx="719138" cy="515938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" name="îŝ1îďe"/>
            <p:cNvSpPr/>
            <p:nvPr/>
          </p:nvSpPr>
          <p:spPr bwMode="auto">
            <a:xfrm>
              <a:off x="4240213" y="1951038"/>
              <a:ext cx="5002213" cy="2133600"/>
            </a:xfrm>
            <a:custGeom>
              <a:avLst/>
              <a:gdLst>
                <a:gd name="T0" fmla="*/ 3151 w 3151"/>
                <a:gd name="T1" fmla="*/ 408 h 1344"/>
                <a:gd name="T2" fmla="*/ 2495 w 3151"/>
                <a:gd name="T3" fmla="*/ 519 h 1344"/>
                <a:gd name="T4" fmla="*/ 2495 w 3151"/>
                <a:gd name="T5" fmla="*/ 945 h 1344"/>
                <a:gd name="T6" fmla="*/ 2088 w 3151"/>
                <a:gd name="T7" fmla="*/ 751 h 1344"/>
                <a:gd name="T8" fmla="*/ 1885 w 3151"/>
                <a:gd name="T9" fmla="*/ 1094 h 1344"/>
                <a:gd name="T10" fmla="*/ 1876 w 3151"/>
                <a:gd name="T11" fmla="*/ 1084 h 1344"/>
                <a:gd name="T12" fmla="*/ 739 w 3151"/>
                <a:gd name="T13" fmla="*/ 630 h 1344"/>
                <a:gd name="T14" fmla="*/ 711 w 3151"/>
                <a:gd name="T15" fmla="*/ 1270 h 1344"/>
                <a:gd name="T16" fmla="*/ 0 w 3151"/>
                <a:gd name="T17" fmla="*/ 1344 h 1344"/>
                <a:gd name="T18" fmla="*/ 0 w 3151"/>
                <a:gd name="T19" fmla="*/ 1307 h 1344"/>
                <a:gd name="T20" fmla="*/ 665 w 3151"/>
                <a:gd name="T21" fmla="*/ 1233 h 1344"/>
                <a:gd name="T22" fmla="*/ 702 w 3151"/>
                <a:gd name="T23" fmla="*/ 574 h 1344"/>
                <a:gd name="T24" fmla="*/ 1876 w 3151"/>
                <a:gd name="T25" fmla="*/ 1038 h 1344"/>
                <a:gd name="T26" fmla="*/ 2070 w 3151"/>
                <a:gd name="T27" fmla="*/ 704 h 1344"/>
                <a:gd name="T28" fmla="*/ 2458 w 3151"/>
                <a:gd name="T29" fmla="*/ 880 h 1344"/>
                <a:gd name="T30" fmla="*/ 2458 w 3151"/>
                <a:gd name="T31" fmla="*/ 491 h 1344"/>
                <a:gd name="T32" fmla="*/ 3105 w 3151"/>
                <a:gd name="T33" fmla="*/ 380 h 1344"/>
                <a:gd name="T34" fmla="*/ 3031 w 3151"/>
                <a:gd name="T35" fmla="*/ 9 h 1344"/>
                <a:gd name="T36" fmla="*/ 3077 w 3151"/>
                <a:gd name="T37" fmla="*/ 0 h 1344"/>
                <a:gd name="T38" fmla="*/ 3151 w 3151"/>
                <a:gd name="T39" fmla="*/ 408 h 1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151" h="1344">
                  <a:moveTo>
                    <a:pt x="3151" y="408"/>
                  </a:moveTo>
                  <a:lnTo>
                    <a:pt x="2495" y="519"/>
                  </a:lnTo>
                  <a:lnTo>
                    <a:pt x="2495" y="945"/>
                  </a:lnTo>
                  <a:lnTo>
                    <a:pt x="2088" y="751"/>
                  </a:lnTo>
                  <a:lnTo>
                    <a:pt x="1885" y="1094"/>
                  </a:lnTo>
                  <a:lnTo>
                    <a:pt x="1876" y="1084"/>
                  </a:lnTo>
                  <a:lnTo>
                    <a:pt x="739" y="630"/>
                  </a:lnTo>
                  <a:lnTo>
                    <a:pt x="711" y="1270"/>
                  </a:lnTo>
                  <a:lnTo>
                    <a:pt x="0" y="1344"/>
                  </a:lnTo>
                  <a:lnTo>
                    <a:pt x="0" y="1307"/>
                  </a:lnTo>
                  <a:lnTo>
                    <a:pt x="665" y="1233"/>
                  </a:lnTo>
                  <a:lnTo>
                    <a:pt x="702" y="574"/>
                  </a:lnTo>
                  <a:lnTo>
                    <a:pt x="1876" y="1038"/>
                  </a:lnTo>
                  <a:lnTo>
                    <a:pt x="2070" y="704"/>
                  </a:lnTo>
                  <a:lnTo>
                    <a:pt x="2458" y="880"/>
                  </a:lnTo>
                  <a:lnTo>
                    <a:pt x="2458" y="491"/>
                  </a:lnTo>
                  <a:lnTo>
                    <a:pt x="3105" y="380"/>
                  </a:lnTo>
                  <a:lnTo>
                    <a:pt x="3031" y="9"/>
                  </a:lnTo>
                  <a:lnTo>
                    <a:pt x="3077" y="0"/>
                  </a:lnTo>
                  <a:lnTo>
                    <a:pt x="3151" y="408"/>
                  </a:lnTo>
                  <a:close/>
                </a:path>
              </a:pathLst>
            </a:custGeom>
            <a:solidFill>
              <a:srgbClr val="FFBD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" name="išḻiḑé"/>
            <p:cNvSpPr/>
            <p:nvPr/>
          </p:nvSpPr>
          <p:spPr bwMode="auto">
            <a:xfrm>
              <a:off x="5281613" y="2760663"/>
              <a:ext cx="277813" cy="263525"/>
            </a:xfrm>
            <a:custGeom>
              <a:avLst/>
              <a:gdLst>
                <a:gd name="T0" fmla="*/ 13 w 19"/>
                <a:gd name="T1" fmla="*/ 2 h 18"/>
                <a:gd name="T2" fmla="*/ 17 w 19"/>
                <a:gd name="T3" fmla="*/ 13 h 18"/>
                <a:gd name="T4" fmla="*/ 6 w 19"/>
                <a:gd name="T5" fmla="*/ 17 h 18"/>
                <a:gd name="T6" fmla="*/ 2 w 19"/>
                <a:gd name="T7" fmla="*/ 6 h 18"/>
                <a:gd name="T8" fmla="*/ 13 w 19"/>
                <a:gd name="T9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3" y="2"/>
                  </a:moveTo>
                  <a:cubicBezTo>
                    <a:pt x="17" y="4"/>
                    <a:pt x="19" y="8"/>
                    <a:pt x="17" y="13"/>
                  </a:cubicBezTo>
                  <a:cubicBezTo>
                    <a:pt x="15" y="17"/>
                    <a:pt x="10" y="18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8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" name="îśľiďé"/>
            <p:cNvSpPr/>
            <p:nvPr/>
          </p:nvSpPr>
          <p:spPr bwMode="auto">
            <a:xfrm>
              <a:off x="5192713" y="3805238"/>
              <a:ext cx="279400" cy="265113"/>
            </a:xfrm>
            <a:custGeom>
              <a:avLst/>
              <a:gdLst>
                <a:gd name="T0" fmla="*/ 13 w 19"/>
                <a:gd name="T1" fmla="*/ 2 h 18"/>
                <a:gd name="T2" fmla="*/ 17 w 19"/>
                <a:gd name="T3" fmla="*/ 13 h 18"/>
                <a:gd name="T4" fmla="*/ 6 w 19"/>
                <a:gd name="T5" fmla="*/ 17 h 18"/>
                <a:gd name="T6" fmla="*/ 2 w 19"/>
                <a:gd name="T7" fmla="*/ 6 h 18"/>
                <a:gd name="T8" fmla="*/ 13 w 19"/>
                <a:gd name="T9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3" y="2"/>
                  </a:moveTo>
                  <a:cubicBezTo>
                    <a:pt x="17" y="4"/>
                    <a:pt x="19" y="8"/>
                    <a:pt x="17" y="13"/>
                  </a:cubicBezTo>
                  <a:cubicBezTo>
                    <a:pt x="15" y="17"/>
                    <a:pt x="10" y="18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" name="îṧļíďé"/>
            <p:cNvSpPr/>
            <p:nvPr/>
          </p:nvSpPr>
          <p:spPr bwMode="auto">
            <a:xfrm>
              <a:off x="7115175" y="3467101"/>
              <a:ext cx="263525" cy="263525"/>
            </a:xfrm>
            <a:custGeom>
              <a:avLst/>
              <a:gdLst>
                <a:gd name="T0" fmla="*/ 12 w 18"/>
                <a:gd name="T1" fmla="*/ 1 h 18"/>
                <a:gd name="T2" fmla="*/ 16 w 18"/>
                <a:gd name="T3" fmla="*/ 12 h 18"/>
                <a:gd name="T4" fmla="*/ 5 w 18"/>
                <a:gd name="T5" fmla="*/ 16 h 18"/>
                <a:gd name="T6" fmla="*/ 1 w 18"/>
                <a:gd name="T7" fmla="*/ 5 h 18"/>
                <a:gd name="T8" fmla="*/ 12 w 18"/>
                <a:gd name="T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2" y="1"/>
                  </a:moveTo>
                  <a:cubicBezTo>
                    <a:pt x="16" y="3"/>
                    <a:pt x="18" y="8"/>
                    <a:pt x="16" y="12"/>
                  </a:cubicBezTo>
                  <a:cubicBezTo>
                    <a:pt x="14" y="16"/>
                    <a:pt x="10" y="18"/>
                    <a:pt x="5" y="16"/>
                  </a:cubicBezTo>
                  <a:cubicBezTo>
                    <a:pt x="1" y="14"/>
                    <a:pt x="0" y="10"/>
                    <a:pt x="1" y="5"/>
                  </a:cubicBezTo>
                  <a:cubicBezTo>
                    <a:pt x="3" y="1"/>
                    <a:pt x="8" y="0"/>
                    <a:pt x="12" y="1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" name="íśḻîḑé"/>
            <p:cNvSpPr/>
            <p:nvPr/>
          </p:nvSpPr>
          <p:spPr bwMode="auto">
            <a:xfrm>
              <a:off x="7408863" y="2951163"/>
              <a:ext cx="277813" cy="279400"/>
            </a:xfrm>
            <a:custGeom>
              <a:avLst/>
              <a:gdLst>
                <a:gd name="T0" fmla="*/ 13 w 19"/>
                <a:gd name="T1" fmla="*/ 2 h 19"/>
                <a:gd name="T2" fmla="*/ 17 w 19"/>
                <a:gd name="T3" fmla="*/ 13 h 19"/>
                <a:gd name="T4" fmla="*/ 6 w 19"/>
                <a:gd name="T5" fmla="*/ 17 h 19"/>
                <a:gd name="T6" fmla="*/ 2 w 19"/>
                <a:gd name="T7" fmla="*/ 6 h 19"/>
                <a:gd name="T8" fmla="*/ 13 w 19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3" y="2"/>
                  </a:moveTo>
                  <a:cubicBezTo>
                    <a:pt x="17" y="4"/>
                    <a:pt x="19" y="9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" name="íṥ1îḓé"/>
            <p:cNvSpPr/>
            <p:nvPr/>
          </p:nvSpPr>
          <p:spPr bwMode="auto">
            <a:xfrm>
              <a:off x="8024813" y="2613026"/>
              <a:ext cx="279400" cy="265113"/>
            </a:xfrm>
            <a:custGeom>
              <a:avLst/>
              <a:gdLst>
                <a:gd name="T0" fmla="*/ 13 w 19"/>
                <a:gd name="T1" fmla="*/ 2 h 18"/>
                <a:gd name="T2" fmla="*/ 17 w 19"/>
                <a:gd name="T3" fmla="*/ 13 h 18"/>
                <a:gd name="T4" fmla="*/ 6 w 19"/>
                <a:gd name="T5" fmla="*/ 17 h 18"/>
                <a:gd name="T6" fmla="*/ 2 w 19"/>
                <a:gd name="T7" fmla="*/ 6 h 18"/>
                <a:gd name="T8" fmla="*/ 13 w 19"/>
                <a:gd name="T9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3" y="2"/>
                  </a:moveTo>
                  <a:cubicBezTo>
                    <a:pt x="17" y="4"/>
                    <a:pt x="19" y="8"/>
                    <a:pt x="17" y="13"/>
                  </a:cubicBezTo>
                  <a:cubicBezTo>
                    <a:pt x="15" y="17"/>
                    <a:pt x="10" y="18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" name="íşlíďè"/>
            <p:cNvSpPr/>
            <p:nvPr/>
          </p:nvSpPr>
          <p:spPr bwMode="auto">
            <a:xfrm>
              <a:off x="8039100" y="3260726"/>
              <a:ext cx="265113" cy="279400"/>
            </a:xfrm>
            <a:custGeom>
              <a:avLst/>
              <a:gdLst>
                <a:gd name="T0" fmla="*/ 13 w 18"/>
                <a:gd name="T1" fmla="*/ 2 h 19"/>
                <a:gd name="T2" fmla="*/ 17 w 18"/>
                <a:gd name="T3" fmla="*/ 13 h 19"/>
                <a:gd name="T4" fmla="*/ 6 w 18"/>
                <a:gd name="T5" fmla="*/ 17 h 19"/>
                <a:gd name="T6" fmla="*/ 2 w 18"/>
                <a:gd name="T7" fmla="*/ 6 h 19"/>
                <a:gd name="T8" fmla="*/ 13 w 18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9">
                  <a:moveTo>
                    <a:pt x="13" y="2"/>
                  </a:moveTo>
                  <a:cubicBezTo>
                    <a:pt x="17" y="4"/>
                    <a:pt x="18" y="8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8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" name="iṣlide"/>
            <p:cNvSpPr/>
            <p:nvPr/>
          </p:nvSpPr>
          <p:spPr bwMode="auto">
            <a:xfrm>
              <a:off x="9066213" y="2436813"/>
              <a:ext cx="279400" cy="279400"/>
            </a:xfrm>
            <a:custGeom>
              <a:avLst/>
              <a:gdLst>
                <a:gd name="T0" fmla="*/ 13 w 19"/>
                <a:gd name="T1" fmla="*/ 2 h 19"/>
                <a:gd name="T2" fmla="*/ 17 w 19"/>
                <a:gd name="T3" fmla="*/ 13 h 19"/>
                <a:gd name="T4" fmla="*/ 6 w 19"/>
                <a:gd name="T5" fmla="*/ 17 h 19"/>
                <a:gd name="T6" fmla="*/ 2 w 19"/>
                <a:gd name="T7" fmla="*/ 6 h 19"/>
                <a:gd name="T8" fmla="*/ 13 w 19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3" y="2"/>
                  </a:moveTo>
                  <a:cubicBezTo>
                    <a:pt x="17" y="4"/>
                    <a:pt x="19" y="9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" name="î$ḻiḋé"/>
            <p:cNvSpPr/>
            <p:nvPr/>
          </p:nvSpPr>
          <p:spPr bwMode="auto">
            <a:xfrm>
              <a:off x="8963025" y="1803401"/>
              <a:ext cx="265113" cy="279400"/>
            </a:xfrm>
            <a:custGeom>
              <a:avLst/>
              <a:gdLst>
                <a:gd name="T0" fmla="*/ 13 w 18"/>
                <a:gd name="T1" fmla="*/ 2 h 19"/>
                <a:gd name="T2" fmla="*/ 17 w 18"/>
                <a:gd name="T3" fmla="*/ 13 h 19"/>
                <a:gd name="T4" fmla="*/ 6 w 18"/>
                <a:gd name="T5" fmla="*/ 17 h 19"/>
                <a:gd name="T6" fmla="*/ 2 w 18"/>
                <a:gd name="T7" fmla="*/ 6 h 19"/>
                <a:gd name="T8" fmla="*/ 13 w 18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9">
                  <a:moveTo>
                    <a:pt x="13" y="2"/>
                  </a:moveTo>
                  <a:cubicBezTo>
                    <a:pt x="17" y="4"/>
                    <a:pt x="18" y="9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8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" name="íśḻídé"/>
            <p:cNvSpPr/>
            <p:nvPr/>
          </p:nvSpPr>
          <p:spPr bwMode="auto">
            <a:xfrm>
              <a:off x="4106863" y="3952876"/>
              <a:ext cx="279400" cy="279400"/>
            </a:xfrm>
            <a:custGeom>
              <a:avLst/>
              <a:gdLst>
                <a:gd name="T0" fmla="*/ 13 w 19"/>
                <a:gd name="T1" fmla="*/ 2 h 19"/>
                <a:gd name="T2" fmla="*/ 17 w 19"/>
                <a:gd name="T3" fmla="*/ 13 h 19"/>
                <a:gd name="T4" fmla="*/ 6 w 19"/>
                <a:gd name="T5" fmla="*/ 17 h 19"/>
                <a:gd name="T6" fmla="*/ 2 w 19"/>
                <a:gd name="T7" fmla="*/ 6 h 19"/>
                <a:gd name="T8" fmla="*/ 13 w 19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3" y="2"/>
                  </a:moveTo>
                  <a:cubicBezTo>
                    <a:pt x="17" y="4"/>
                    <a:pt x="19" y="9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" name="iṡlíḓê"/>
            <p:cNvSpPr/>
            <p:nvPr/>
          </p:nvSpPr>
          <p:spPr bwMode="auto">
            <a:xfrm>
              <a:off x="5075238" y="5394326"/>
              <a:ext cx="190500" cy="236538"/>
            </a:xfrm>
            <a:custGeom>
              <a:avLst/>
              <a:gdLst>
                <a:gd name="T0" fmla="*/ 84 w 120"/>
                <a:gd name="T1" fmla="*/ 0 h 149"/>
                <a:gd name="T2" fmla="*/ 56 w 120"/>
                <a:gd name="T3" fmla="*/ 9 h 149"/>
                <a:gd name="T4" fmla="*/ 65 w 120"/>
                <a:gd name="T5" fmla="*/ 56 h 149"/>
                <a:gd name="T6" fmla="*/ 56 w 120"/>
                <a:gd name="T7" fmla="*/ 74 h 149"/>
                <a:gd name="T8" fmla="*/ 0 w 120"/>
                <a:gd name="T9" fmla="*/ 149 h 149"/>
                <a:gd name="T10" fmla="*/ 120 w 120"/>
                <a:gd name="T11" fmla="*/ 74 h 149"/>
                <a:gd name="T12" fmla="*/ 84 w 120"/>
                <a:gd name="T13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49">
                  <a:moveTo>
                    <a:pt x="84" y="0"/>
                  </a:moveTo>
                  <a:lnTo>
                    <a:pt x="56" y="9"/>
                  </a:lnTo>
                  <a:lnTo>
                    <a:pt x="65" y="56"/>
                  </a:lnTo>
                  <a:lnTo>
                    <a:pt x="56" y="74"/>
                  </a:lnTo>
                  <a:lnTo>
                    <a:pt x="0" y="149"/>
                  </a:lnTo>
                  <a:lnTo>
                    <a:pt x="120" y="74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7A92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" name="îSļïḓê"/>
            <p:cNvSpPr/>
            <p:nvPr/>
          </p:nvSpPr>
          <p:spPr bwMode="auto">
            <a:xfrm>
              <a:off x="5208588" y="5335588"/>
              <a:ext cx="204788" cy="192088"/>
            </a:xfrm>
            <a:custGeom>
              <a:avLst/>
              <a:gdLst>
                <a:gd name="T0" fmla="*/ 18 w 129"/>
                <a:gd name="T1" fmla="*/ 0 h 121"/>
                <a:gd name="T2" fmla="*/ 46 w 129"/>
                <a:gd name="T3" fmla="*/ 0 h 121"/>
                <a:gd name="T4" fmla="*/ 46 w 129"/>
                <a:gd name="T5" fmla="*/ 46 h 121"/>
                <a:gd name="T6" fmla="*/ 55 w 129"/>
                <a:gd name="T7" fmla="*/ 56 h 121"/>
                <a:gd name="T8" fmla="*/ 129 w 129"/>
                <a:gd name="T9" fmla="*/ 121 h 121"/>
                <a:gd name="T10" fmla="*/ 0 w 129"/>
                <a:gd name="T11" fmla="*/ 74 h 121"/>
                <a:gd name="T12" fmla="*/ 18 w 129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" h="121">
                  <a:moveTo>
                    <a:pt x="18" y="0"/>
                  </a:moveTo>
                  <a:lnTo>
                    <a:pt x="46" y="0"/>
                  </a:lnTo>
                  <a:lnTo>
                    <a:pt x="46" y="46"/>
                  </a:lnTo>
                  <a:lnTo>
                    <a:pt x="55" y="56"/>
                  </a:lnTo>
                  <a:lnTo>
                    <a:pt x="129" y="121"/>
                  </a:lnTo>
                  <a:lnTo>
                    <a:pt x="0" y="74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7A92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" name="íśḷiḋe"/>
            <p:cNvSpPr/>
            <p:nvPr/>
          </p:nvSpPr>
          <p:spPr bwMode="auto">
            <a:xfrm>
              <a:off x="4899025" y="3613151"/>
              <a:ext cx="455613" cy="1855788"/>
            </a:xfrm>
            <a:custGeom>
              <a:avLst/>
              <a:gdLst>
                <a:gd name="T0" fmla="*/ 10 w 287"/>
                <a:gd name="T1" fmla="*/ 0 h 1169"/>
                <a:gd name="T2" fmla="*/ 0 w 287"/>
                <a:gd name="T3" fmla="*/ 612 h 1169"/>
                <a:gd name="T4" fmla="*/ 167 w 287"/>
                <a:gd name="T5" fmla="*/ 1169 h 1169"/>
                <a:gd name="T6" fmla="*/ 222 w 287"/>
                <a:gd name="T7" fmla="*/ 1150 h 1169"/>
                <a:gd name="T8" fmla="*/ 130 w 287"/>
                <a:gd name="T9" fmla="*/ 649 h 1169"/>
                <a:gd name="T10" fmla="*/ 287 w 287"/>
                <a:gd name="T11" fmla="*/ 130 h 1169"/>
                <a:gd name="T12" fmla="*/ 10 w 287"/>
                <a:gd name="T13" fmla="*/ 0 h 1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1169">
                  <a:moveTo>
                    <a:pt x="10" y="0"/>
                  </a:moveTo>
                  <a:lnTo>
                    <a:pt x="0" y="612"/>
                  </a:lnTo>
                  <a:lnTo>
                    <a:pt x="167" y="1169"/>
                  </a:lnTo>
                  <a:lnTo>
                    <a:pt x="222" y="1150"/>
                  </a:lnTo>
                  <a:lnTo>
                    <a:pt x="130" y="649"/>
                  </a:lnTo>
                  <a:lnTo>
                    <a:pt x="287" y="13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1F0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" name="í$lïdè"/>
            <p:cNvSpPr/>
            <p:nvPr/>
          </p:nvSpPr>
          <p:spPr bwMode="auto">
            <a:xfrm>
              <a:off x="5192713" y="3613151"/>
              <a:ext cx="469900" cy="1781175"/>
            </a:xfrm>
            <a:custGeom>
              <a:avLst/>
              <a:gdLst>
                <a:gd name="T0" fmla="*/ 65 w 296"/>
                <a:gd name="T1" fmla="*/ 112 h 1122"/>
                <a:gd name="T2" fmla="*/ 65 w 296"/>
                <a:gd name="T3" fmla="*/ 631 h 1122"/>
                <a:gd name="T4" fmla="*/ 0 w 296"/>
                <a:gd name="T5" fmla="*/ 1122 h 1122"/>
                <a:gd name="T6" fmla="*/ 65 w 296"/>
                <a:gd name="T7" fmla="*/ 1122 h 1122"/>
                <a:gd name="T8" fmla="*/ 185 w 296"/>
                <a:gd name="T9" fmla="*/ 622 h 1122"/>
                <a:gd name="T10" fmla="*/ 296 w 296"/>
                <a:gd name="T11" fmla="*/ 0 h 1122"/>
                <a:gd name="T12" fmla="*/ 65 w 296"/>
                <a:gd name="T13" fmla="*/ 112 h 1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6" h="1122">
                  <a:moveTo>
                    <a:pt x="65" y="112"/>
                  </a:moveTo>
                  <a:lnTo>
                    <a:pt x="65" y="631"/>
                  </a:lnTo>
                  <a:lnTo>
                    <a:pt x="0" y="1122"/>
                  </a:lnTo>
                  <a:lnTo>
                    <a:pt x="65" y="1122"/>
                  </a:lnTo>
                  <a:lnTo>
                    <a:pt x="185" y="622"/>
                  </a:lnTo>
                  <a:lnTo>
                    <a:pt x="296" y="0"/>
                  </a:lnTo>
                  <a:lnTo>
                    <a:pt x="65" y="112"/>
                  </a:lnTo>
                  <a:close/>
                </a:path>
              </a:pathLst>
            </a:custGeom>
            <a:solidFill>
              <a:srgbClr val="3512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" name="ïSlíḋè"/>
            <p:cNvSpPr/>
            <p:nvPr/>
          </p:nvSpPr>
          <p:spPr bwMode="auto">
            <a:xfrm>
              <a:off x="6381750" y="3333751"/>
              <a:ext cx="190500" cy="133350"/>
            </a:xfrm>
            <a:custGeom>
              <a:avLst/>
              <a:gdLst>
                <a:gd name="T0" fmla="*/ 0 w 13"/>
                <a:gd name="T1" fmla="*/ 1 h 9"/>
                <a:gd name="T2" fmla="*/ 10 w 13"/>
                <a:gd name="T3" fmla="*/ 1 h 9"/>
                <a:gd name="T4" fmla="*/ 0 w 13"/>
                <a:gd name="T5" fmla="*/ 4 h 9"/>
                <a:gd name="T6" fmla="*/ 0 w 13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9">
                  <a:moveTo>
                    <a:pt x="0" y="1"/>
                  </a:moveTo>
                  <a:cubicBezTo>
                    <a:pt x="0" y="1"/>
                    <a:pt x="9" y="0"/>
                    <a:pt x="10" y="1"/>
                  </a:cubicBezTo>
                  <a:cubicBezTo>
                    <a:pt x="11" y="3"/>
                    <a:pt x="13" y="9"/>
                    <a:pt x="0" y="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8AC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" name="ïSḷîdé"/>
            <p:cNvSpPr/>
            <p:nvPr/>
          </p:nvSpPr>
          <p:spPr bwMode="auto">
            <a:xfrm>
              <a:off x="5545138" y="2509838"/>
              <a:ext cx="850900" cy="898525"/>
            </a:xfrm>
            <a:custGeom>
              <a:avLst/>
              <a:gdLst>
                <a:gd name="T0" fmla="*/ 1 w 58"/>
                <a:gd name="T1" fmla="*/ 18 h 61"/>
                <a:gd name="T2" fmla="*/ 5 w 58"/>
                <a:gd name="T3" fmla="*/ 57 h 61"/>
                <a:gd name="T4" fmla="*/ 58 w 58"/>
                <a:gd name="T5" fmla="*/ 61 h 61"/>
                <a:gd name="T6" fmla="*/ 58 w 58"/>
                <a:gd name="T7" fmla="*/ 57 h 61"/>
                <a:gd name="T8" fmla="*/ 18 w 58"/>
                <a:gd name="T9" fmla="*/ 47 h 61"/>
                <a:gd name="T10" fmla="*/ 12 w 58"/>
                <a:gd name="T11" fmla="*/ 12 h 61"/>
                <a:gd name="T12" fmla="*/ 3 w 58"/>
                <a:gd name="T13" fmla="*/ 2 h 61"/>
                <a:gd name="T14" fmla="*/ 1 w 58"/>
                <a:gd name="T15" fmla="*/ 1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61">
                  <a:moveTo>
                    <a:pt x="1" y="18"/>
                  </a:moveTo>
                  <a:cubicBezTo>
                    <a:pt x="5" y="57"/>
                    <a:pt x="5" y="57"/>
                    <a:pt x="5" y="57"/>
                  </a:cubicBezTo>
                  <a:cubicBezTo>
                    <a:pt x="58" y="61"/>
                    <a:pt x="58" y="61"/>
                    <a:pt x="58" y="61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1" y="0"/>
                    <a:pt x="3" y="2"/>
                  </a:cubicBezTo>
                  <a:cubicBezTo>
                    <a:pt x="3" y="2"/>
                    <a:pt x="0" y="10"/>
                    <a:pt x="1" y="18"/>
                  </a:cubicBezTo>
                  <a:close/>
                </a:path>
              </a:pathLst>
            </a:custGeom>
            <a:solidFill>
              <a:srgbClr val="FFC7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" name="íšḻíḑê"/>
            <p:cNvSpPr/>
            <p:nvPr/>
          </p:nvSpPr>
          <p:spPr bwMode="auto">
            <a:xfrm>
              <a:off x="4856163" y="2465388"/>
              <a:ext cx="909638" cy="1487488"/>
            </a:xfrm>
            <a:custGeom>
              <a:avLst/>
              <a:gdLst>
                <a:gd name="T0" fmla="*/ 22 w 62"/>
                <a:gd name="T1" fmla="*/ 5 h 101"/>
                <a:gd name="T2" fmla="*/ 1 w 62"/>
                <a:gd name="T3" fmla="*/ 22 h 101"/>
                <a:gd name="T4" fmla="*/ 5 w 62"/>
                <a:gd name="T5" fmla="*/ 57 h 101"/>
                <a:gd name="T6" fmla="*/ 4 w 62"/>
                <a:gd name="T7" fmla="*/ 85 h 101"/>
                <a:gd name="T8" fmla="*/ 54 w 62"/>
                <a:gd name="T9" fmla="*/ 83 h 101"/>
                <a:gd name="T10" fmla="*/ 54 w 62"/>
                <a:gd name="T11" fmla="*/ 37 h 101"/>
                <a:gd name="T12" fmla="*/ 53 w 62"/>
                <a:gd name="T13" fmla="*/ 5 h 101"/>
                <a:gd name="T14" fmla="*/ 22 w 62"/>
                <a:gd name="T15" fmla="*/ 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101">
                  <a:moveTo>
                    <a:pt x="22" y="5"/>
                  </a:moveTo>
                  <a:cubicBezTo>
                    <a:pt x="15" y="7"/>
                    <a:pt x="2" y="13"/>
                    <a:pt x="1" y="22"/>
                  </a:cubicBezTo>
                  <a:cubicBezTo>
                    <a:pt x="0" y="32"/>
                    <a:pt x="5" y="57"/>
                    <a:pt x="5" y="57"/>
                  </a:cubicBezTo>
                  <a:cubicBezTo>
                    <a:pt x="4" y="85"/>
                    <a:pt x="4" y="85"/>
                    <a:pt x="4" y="85"/>
                  </a:cubicBezTo>
                  <a:cubicBezTo>
                    <a:pt x="4" y="85"/>
                    <a:pt x="29" y="101"/>
                    <a:pt x="54" y="83"/>
                  </a:cubicBezTo>
                  <a:cubicBezTo>
                    <a:pt x="54" y="83"/>
                    <a:pt x="53" y="50"/>
                    <a:pt x="54" y="37"/>
                  </a:cubicBezTo>
                  <a:cubicBezTo>
                    <a:pt x="54" y="30"/>
                    <a:pt x="62" y="8"/>
                    <a:pt x="53" y="5"/>
                  </a:cubicBezTo>
                  <a:cubicBezTo>
                    <a:pt x="38" y="0"/>
                    <a:pt x="28" y="3"/>
                    <a:pt x="22" y="5"/>
                  </a:cubicBezTo>
                  <a:close/>
                </a:path>
              </a:pathLst>
            </a:custGeom>
            <a:solidFill>
              <a:srgbClr val="FF2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" name="íṧľïḓê"/>
            <p:cNvSpPr/>
            <p:nvPr/>
          </p:nvSpPr>
          <p:spPr bwMode="auto">
            <a:xfrm>
              <a:off x="5222875" y="2376488"/>
              <a:ext cx="204788" cy="280988"/>
            </a:xfrm>
            <a:custGeom>
              <a:avLst/>
              <a:gdLst>
                <a:gd name="T0" fmla="*/ 2 w 14"/>
                <a:gd name="T1" fmla="*/ 1 h 19"/>
                <a:gd name="T2" fmla="*/ 0 w 14"/>
                <a:gd name="T3" fmla="*/ 11 h 19"/>
                <a:gd name="T4" fmla="*/ 12 w 14"/>
                <a:gd name="T5" fmla="*/ 14 h 19"/>
                <a:gd name="T6" fmla="*/ 9 w 14"/>
                <a:gd name="T7" fmla="*/ 0 h 19"/>
                <a:gd name="T8" fmla="*/ 2 w 14"/>
                <a:gd name="T9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9">
                  <a:moveTo>
                    <a:pt x="2" y="1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14" y="19"/>
                    <a:pt x="12" y="14"/>
                  </a:cubicBezTo>
                  <a:cubicBezTo>
                    <a:pt x="10" y="9"/>
                    <a:pt x="9" y="0"/>
                    <a:pt x="9" y="0"/>
                  </a:cubicBezTo>
                  <a:lnTo>
                    <a:pt x="2" y="1"/>
                  </a:lnTo>
                  <a:close/>
                </a:path>
              </a:pathLst>
            </a:custGeom>
            <a:solidFill>
              <a:srgbClr val="FFC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" name="ï$1îďê"/>
            <p:cNvSpPr/>
            <p:nvPr/>
          </p:nvSpPr>
          <p:spPr bwMode="auto">
            <a:xfrm>
              <a:off x="5208588" y="2155826"/>
              <a:ext cx="204788" cy="323850"/>
            </a:xfrm>
            <a:custGeom>
              <a:avLst/>
              <a:gdLst>
                <a:gd name="T0" fmla="*/ 1 w 14"/>
                <a:gd name="T1" fmla="*/ 4 h 22"/>
                <a:gd name="T2" fmla="*/ 1 w 14"/>
                <a:gd name="T3" fmla="*/ 13 h 22"/>
                <a:gd name="T4" fmla="*/ 8 w 14"/>
                <a:gd name="T5" fmla="*/ 21 h 22"/>
                <a:gd name="T6" fmla="*/ 13 w 14"/>
                <a:gd name="T7" fmla="*/ 18 h 22"/>
                <a:gd name="T8" fmla="*/ 8 w 14"/>
                <a:gd name="T9" fmla="*/ 2 h 22"/>
                <a:gd name="T10" fmla="*/ 1 w 14"/>
                <a:gd name="T11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22">
                  <a:moveTo>
                    <a:pt x="1" y="4"/>
                  </a:moveTo>
                  <a:cubicBezTo>
                    <a:pt x="1" y="6"/>
                    <a:pt x="0" y="10"/>
                    <a:pt x="1" y="13"/>
                  </a:cubicBezTo>
                  <a:cubicBezTo>
                    <a:pt x="3" y="15"/>
                    <a:pt x="5" y="20"/>
                    <a:pt x="8" y="21"/>
                  </a:cubicBezTo>
                  <a:cubicBezTo>
                    <a:pt x="12" y="22"/>
                    <a:pt x="13" y="19"/>
                    <a:pt x="13" y="18"/>
                  </a:cubicBezTo>
                  <a:cubicBezTo>
                    <a:pt x="14" y="15"/>
                    <a:pt x="13" y="4"/>
                    <a:pt x="8" y="2"/>
                  </a:cubicBezTo>
                  <a:cubicBezTo>
                    <a:pt x="4" y="0"/>
                    <a:pt x="2" y="2"/>
                    <a:pt x="1" y="4"/>
                  </a:cubicBezTo>
                  <a:close/>
                </a:path>
              </a:pathLst>
            </a:custGeom>
            <a:solidFill>
              <a:srgbClr val="FFC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" name="í$lïḍé"/>
            <p:cNvSpPr/>
            <p:nvPr/>
          </p:nvSpPr>
          <p:spPr bwMode="auto">
            <a:xfrm>
              <a:off x="5178425" y="2127251"/>
              <a:ext cx="176213" cy="249238"/>
            </a:xfrm>
            <a:custGeom>
              <a:avLst/>
              <a:gdLst>
                <a:gd name="T0" fmla="*/ 12 w 12"/>
                <a:gd name="T1" fmla="*/ 5 h 17"/>
                <a:gd name="T2" fmla="*/ 7 w 12"/>
                <a:gd name="T3" fmla="*/ 7 h 17"/>
                <a:gd name="T4" fmla="*/ 4 w 12"/>
                <a:gd name="T5" fmla="*/ 11 h 17"/>
                <a:gd name="T6" fmla="*/ 4 w 12"/>
                <a:gd name="T7" fmla="*/ 16 h 17"/>
                <a:gd name="T8" fmla="*/ 2 w 12"/>
                <a:gd name="T9" fmla="*/ 6 h 17"/>
                <a:gd name="T10" fmla="*/ 12 w 12"/>
                <a:gd name="T11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12" y="5"/>
                  </a:moveTo>
                  <a:cubicBezTo>
                    <a:pt x="12" y="5"/>
                    <a:pt x="10" y="8"/>
                    <a:pt x="7" y="7"/>
                  </a:cubicBezTo>
                  <a:cubicBezTo>
                    <a:pt x="3" y="7"/>
                    <a:pt x="4" y="10"/>
                    <a:pt x="4" y="11"/>
                  </a:cubicBezTo>
                  <a:cubicBezTo>
                    <a:pt x="4" y="11"/>
                    <a:pt x="5" y="16"/>
                    <a:pt x="4" y="16"/>
                  </a:cubicBezTo>
                  <a:cubicBezTo>
                    <a:pt x="3" y="17"/>
                    <a:pt x="0" y="11"/>
                    <a:pt x="2" y="6"/>
                  </a:cubicBezTo>
                  <a:cubicBezTo>
                    <a:pt x="3" y="2"/>
                    <a:pt x="10" y="0"/>
                    <a:pt x="12" y="5"/>
                  </a:cubicBezTo>
                  <a:close/>
                </a:path>
              </a:pathLst>
            </a:custGeom>
            <a:solidFill>
              <a:srgbClr val="171B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" name="î$ḻidé"/>
            <p:cNvSpPr/>
            <p:nvPr/>
          </p:nvSpPr>
          <p:spPr bwMode="auto">
            <a:xfrm>
              <a:off x="5251450" y="2333626"/>
              <a:ext cx="176213" cy="146050"/>
            </a:xfrm>
            <a:custGeom>
              <a:avLst/>
              <a:gdLst>
                <a:gd name="T0" fmla="*/ 0 w 12"/>
                <a:gd name="T1" fmla="*/ 4 h 10"/>
                <a:gd name="T2" fmla="*/ 8 w 12"/>
                <a:gd name="T3" fmla="*/ 6 h 10"/>
                <a:gd name="T4" fmla="*/ 11 w 12"/>
                <a:gd name="T5" fmla="*/ 1 h 10"/>
                <a:gd name="T6" fmla="*/ 7 w 12"/>
                <a:gd name="T7" fmla="*/ 9 h 10"/>
                <a:gd name="T8" fmla="*/ 0 w 12"/>
                <a:gd name="T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0">
                  <a:moveTo>
                    <a:pt x="0" y="4"/>
                  </a:moveTo>
                  <a:cubicBezTo>
                    <a:pt x="0" y="4"/>
                    <a:pt x="4" y="7"/>
                    <a:pt x="8" y="6"/>
                  </a:cubicBezTo>
                  <a:cubicBezTo>
                    <a:pt x="10" y="6"/>
                    <a:pt x="11" y="2"/>
                    <a:pt x="11" y="1"/>
                  </a:cubicBezTo>
                  <a:cubicBezTo>
                    <a:pt x="10" y="0"/>
                    <a:pt x="12" y="8"/>
                    <a:pt x="7" y="9"/>
                  </a:cubicBezTo>
                  <a:cubicBezTo>
                    <a:pt x="2" y="10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171B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" name="iš1iḓè"/>
            <p:cNvSpPr/>
            <p:nvPr/>
          </p:nvSpPr>
          <p:spPr bwMode="auto">
            <a:xfrm>
              <a:off x="5164138" y="2936876"/>
              <a:ext cx="1819275" cy="1030288"/>
            </a:xfrm>
            <a:custGeom>
              <a:avLst/>
              <a:gdLst>
                <a:gd name="T0" fmla="*/ 1146 w 1146"/>
                <a:gd name="T1" fmla="*/ 139 h 649"/>
                <a:gd name="T2" fmla="*/ 64 w 1146"/>
                <a:gd name="T3" fmla="*/ 649 h 649"/>
                <a:gd name="T4" fmla="*/ 0 w 1146"/>
                <a:gd name="T5" fmla="*/ 500 h 649"/>
                <a:gd name="T6" fmla="*/ 1081 w 1146"/>
                <a:gd name="T7" fmla="*/ 0 h 649"/>
                <a:gd name="T8" fmla="*/ 1146 w 1146"/>
                <a:gd name="T9" fmla="*/ 139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6" h="649">
                  <a:moveTo>
                    <a:pt x="1146" y="139"/>
                  </a:moveTo>
                  <a:lnTo>
                    <a:pt x="64" y="649"/>
                  </a:lnTo>
                  <a:lnTo>
                    <a:pt x="0" y="500"/>
                  </a:lnTo>
                  <a:lnTo>
                    <a:pt x="1081" y="0"/>
                  </a:lnTo>
                  <a:lnTo>
                    <a:pt x="1146" y="139"/>
                  </a:lnTo>
                  <a:close/>
                </a:path>
              </a:pathLst>
            </a:custGeom>
            <a:solidFill>
              <a:srgbClr val="FFBD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" name="ísḷíḑè"/>
            <p:cNvSpPr/>
            <p:nvPr/>
          </p:nvSpPr>
          <p:spPr bwMode="auto">
            <a:xfrm>
              <a:off x="5559425" y="3613151"/>
              <a:ext cx="176213" cy="147638"/>
            </a:xfrm>
            <a:custGeom>
              <a:avLst/>
              <a:gdLst>
                <a:gd name="T0" fmla="*/ 1 w 12"/>
                <a:gd name="T1" fmla="*/ 0 h 10"/>
                <a:gd name="T2" fmla="*/ 11 w 12"/>
                <a:gd name="T3" fmla="*/ 2 h 10"/>
                <a:gd name="T4" fmla="*/ 0 w 12"/>
                <a:gd name="T5" fmla="*/ 3 h 10"/>
                <a:gd name="T6" fmla="*/ 1 w 1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1" y="0"/>
                  </a:moveTo>
                  <a:cubicBezTo>
                    <a:pt x="1" y="0"/>
                    <a:pt x="10" y="0"/>
                    <a:pt x="11" y="2"/>
                  </a:cubicBezTo>
                  <a:cubicBezTo>
                    <a:pt x="12" y="3"/>
                    <a:pt x="12" y="10"/>
                    <a:pt x="0" y="3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C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" name="išlíḓê"/>
            <p:cNvSpPr/>
            <p:nvPr/>
          </p:nvSpPr>
          <p:spPr bwMode="auto">
            <a:xfrm>
              <a:off x="4811713" y="2627313"/>
              <a:ext cx="777875" cy="1044575"/>
            </a:xfrm>
            <a:custGeom>
              <a:avLst/>
              <a:gdLst>
                <a:gd name="T0" fmla="*/ 2 w 53"/>
                <a:gd name="T1" fmla="*/ 19 h 71"/>
                <a:gd name="T2" fmla="*/ 0 w 53"/>
                <a:gd name="T3" fmla="*/ 58 h 71"/>
                <a:gd name="T4" fmla="*/ 52 w 53"/>
                <a:gd name="T5" fmla="*/ 71 h 71"/>
                <a:gd name="T6" fmla="*/ 53 w 53"/>
                <a:gd name="T7" fmla="*/ 67 h 71"/>
                <a:gd name="T8" fmla="*/ 15 w 53"/>
                <a:gd name="T9" fmla="*/ 51 h 71"/>
                <a:gd name="T10" fmla="*/ 15 w 53"/>
                <a:gd name="T11" fmla="*/ 15 h 71"/>
                <a:gd name="T12" fmla="*/ 8 w 53"/>
                <a:gd name="T13" fmla="*/ 4 h 71"/>
                <a:gd name="T14" fmla="*/ 2 w 53"/>
                <a:gd name="T15" fmla="*/ 1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71">
                  <a:moveTo>
                    <a:pt x="2" y="19"/>
                  </a:moveTo>
                  <a:cubicBezTo>
                    <a:pt x="0" y="58"/>
                    <a:pt x="0" y="58"/>
                    <a:pt x="0" y="58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0"/>
                    <a:pt x="8" y="4"/>
                  </a:cubicBezTo>
                  <a:cubicBezTo>
                    <a:pt x="4" y="5"/>
                    <a:pt x="3" y="11"/>
                    <a:pt x="2" y="19"/>
                  </a:cubicBezTo>
                  <a:close/>
                </a:path>
              </a:pathLst>
            </a:custGeom>
            <a:solidFill>
              <a:srgbClr val="FFC7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" name="ís1ïdê"/>
            <p:cNvSpPr/>
            <p:nvPr/>
          </p:nvSpPr>
          <p:spPr bwMode="auto">
            <a:xfrm>
              <a:off x="6880225" y="2936876"/>
              <a:ext cx="307975" cy="220663"/>
            </a:xfrm>
            <a:custGeom>
              <a:avLst/>
              <a:gdLst>
                <a:gd name="T0" fmla="*/ 0 w 194"/>
                <a:gd name="T1" fmla="*/ 0 h 139"/>
                <a:gd name="T2" fmla="*/ 194 w 194"/>
                <a:gd name="T3" fmla="*/ 0 h 139"/>
                <a:gd name="T4" fmla="*/ 65 w 194"/>
                <a:gd name="T5" fmla="*/ 139 h 139"/>
                <a:gd name="T6" fmla="*/ 0 w 194"/>
                <a:gd name="T7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4" h="139">
                  <a:moveTo>
                    <a:pt x="0" y="0"/>
                  </a:moveTo>
                  <a:lnTo>
                    <a:pt x="194" y="0"/>
                  </a:lnTo>
                  <a:lnTo>
                    <a:pt x="65" y="1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</p:spTree>
    <p:custDataLst>
      <p:tags r:id="rId3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菱形 4"/>
          <p:cNvSpPr/>
          <p:nvPr/>
        </p:nvSpPr>
        <p:spPr>
          <a:xfrm>
            <a:off x="3238959" y="440675"/>
            <a:ext cx="1597445" cy="1597445"/>
          </a:xfrm>
          <a:prstGeom prst="diamond">
            <a:avLst/>
          </a:prstGeom>
          <a:gradFill>
            <a:gsLst>
              <a:gs pos="0">
                <a:srgbClr val="0870D3"/>
              </a:gs>
              <a:gs pos="100000">
                <a:srgbClr val="4EBCF7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01</a:t>
            </a:r>
          </a:p>
        </p:txBody>
      </p:sp>
      <p:sp>
        <p:nvSpPr>
          <p:cNvPr id="26" name="菱形 25"/>
          <p:cNvSpPr/>
          <p:nvPr/>
        </p:nvSpPr>
        <p:spPr>
          <a:xfrm>
            <a:off x="4447374" y="3567630"/>
            <a:ext cx="1597445" cy="1597445"/>
          </a:xfrm>
          <a:prstGeom prst="diamond">
            <a:avLst/>
          </a:prstGeom>
          <a:gradFill>
            <a:gsLst>
              <a:gs pos="0">
                <a:srgbClr val="0870D3"/>
              </a:gs>
              <a:gs pos="100000">
                <a:srgbClr val="4EBCF7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03</a:t>
            </a:r>
          </a:p>
        </p:txBody>
      </p:sp>
      <p:sp>
        <p:nvSpPr>
          <p:cNvPr id="27" name="菱形 26"/>
          <p:cNvSpPr/>
          <p:nvPr/>
        </p:nvSpPr>
        <p:spPr>
          <a:xfrm>
            <a:off x="4447374" y="1680072"/>
            <a:ext cx="1597445" cy="1597445"/>
          </a:xfrm>
          <a:prstGeom prst="diamond">
            <a:avLst/>
          </a:prstGeom>
          <a:gradFill>
            <a:gsLst>
              <a:gs pos="0">
                <a:srgbClr val="4EBCF7"/>
              </a:gs>
              <a:gs pos="100000">
                <a:srgbClr val="0870D3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02</a:t>
            </a:r>
          </a:p>
        </p:txBody>
      </p:sp>
      <p:sp>
        <p:nvSpPr>
          <p:cNvPr id="28" name="菱形 27"/>
          <p:cNvSpPr/>
          <p:nvPr/>
        </p:nvSpPr>
        <p:spPr>
          <a:xfrm>
            <a:off x="3238959" y="4773976"/>
            <a:ext cx="1597445" cy="1597445"/>
          </a:xfrm>
          <a:prstGeom prst="diamond">
            <a:avLst/>
          </a:prstGeom>
          <a:gradFill>
            <a:gsLst>
              <a:gs pos="0">
                <a:srgbClr val="4EBCF7"/>
              </a:gs>
              <a:gs pos="100000">
                <a:srgbClr val="0870D3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04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957705" y="2978339"/>
            <a:ext cx="205056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600" dirty="0">
                <a:solidFill>
                  <a:srgbClr val="0870D3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汇报目录</a:t>
            </a:r>
            <a:endParaRPr lang="en-US" altLang="zh-CN" sz="3600" dirty="0">
              <a:solidFill>
                <a:srgbClr val="0870D3"/>
              </a:solidFill>
              <a:effectLst/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grpSp>
        <p:nvGrpSpPr>
          <p:cNvPr id="34" name="组合 33"/>
          <p:cNvGrpSpPr/>
          <p:nvPr/>
        </p:nvGrpSpPr>
        <p:grpSpPr>
          <a:xfrm>
            <a:off x="6335759" y="2114832"/>
            <a:ext cx="1210588" cy="643745"/>
            <a:chOff x="5401269" y="392092"/>
            <a:chExt cx="1210588" cy="643745"/>
          </a:xfrm>
        </p:grpSpPr>
        <p:sp>
          <p:nvSpPr>
            <p:cNvPr id="35" name="TextBox 7"/>
            <p:cNvSpPr txBox="1"/>
            <p:nvPr/>
          </p:nvSpPr>
          <p:spPr bwMode="auto">
            <a:xfrm>
              <a:off x="5401269" y="392092"/>
              <a:ext cx="1210588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kern="0" dirty="0">
                  <a:solidFill>
                    <a:srgbClr val="0870D3"/>
                  </a:solidFill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所用技术</a:t>
              </a:r>
              <a:endParaRPr lang="en-US" altLang="zh-CN" sz="2000" kern="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36" name="TextBox 8"/>
            <p:cNvSpPr txBox="1"/>
            <p:nvPr/>
          </p:nvSpPr>
          <p:spPr bwMode="auto">
            <a:xfrm>
              <a:off x="5413969" y="758838"/>
              <a:ext cx="646331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kern="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怎么做</a:t>
              </a:r>
              <a:endParaRPr lang="en-US" altLang="zh-CN" sz="1200" kern="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6323059" y="3952731"/>
            <a:ext cx="1465466" cy="643745"/>
            <a:chOff x="5401269" y="392092"/>
            <a:chExt cx="1465466" cy="643745"/>
          </a:xfrm>
        </p:grpSpPr>
        <p:sp>
          <p:nvSpPr>
            <p:cNvPr id="38" name="TextBox 7"/>
            <p:cNvSpPr txBox="1"/>
            <p:nvPr/>
          </p:nvSpPr>
          <p:spPr bwMode="auto">
            <a:xfrm>
              <a:off x="5401269" y="392092"/>
              <a:ext cx="1465466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kern="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成品示例图</a:t>
              </a:r>
              <a:endParaRPr lang="en-US" altLang="zh-CN" sz="2000" kern="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39" name="TextBox 8"/>
            <p:cNvSpPr txBox="1"/>
            <p:nvPr/>
          </p:nvSpPr>
          <p:spPr bwMode="auto">
            <a:xfrm>
              <a:off x="5413969" y="758838"/>
              <a:ext cx="954107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kern="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做成了什么</a:t>
              </a:r>
              <a:endParaRPr lang="en-US" altLang="zh-CN" sz="1200" kern="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40" name="组合 39"/>
          <p:cNvGrpSpPr/>
          <p:nvPr/>
        </p:nvGrpSpPr>
        <p:grpSpPr>
          <a:xfrm>
            <a:off x="5166230" y="5291162"/>
            <a:ext cx="1210588" cy="643745"/>
            <a:chOff x="5401269" y="392092"/>
            <a:chExt cx="1210588" cy="643745"/>
          </a:xfrm>
        </p:grpSpPr>
        <p:sp>
          <p:nvSpPr>
            <p:cNvPr id="41" name="TextBox 7"/>
            <p:cNvSpPr txBox="1"/>
            <p:nvPr/>
          </p:nvSpPr>
          <p:spPr bwMode="auto">
            <a:xfrm>
              <a:off x="5401269" y="392092"/>
              <a:ext cx="1210588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kern="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有待完善</a:t>
              </a:r>
              <a:endParaRPr lang="en-US" altLang="zh-CN" sz="2000" kern="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42" name="TextBox 8"/>
            <p:cNvSpPr txBox="1"/>
            <p:nvPr/>
          </p:nvSpPr>
          <p:spPr bwMode="auto">
            <a:xfrm>
              <a:off x="5413969" y="758838"/>
              <a:ext cx="490840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kern="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改进</a:t>
              </a:r>
              <a:endParaRPr lang="en-US" altLang="zh-CN" sz="1200" kern="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62" r="66319" b="42695"/>
          <a:stretch>
            <a:fillRect/>
          </a:stretch>
        </p:blipFill>
        <p:spPr>
          <a:xfrm rot="10800000">
            <a:off x="9345766" y="2928000"/>
            <a:ext cx="2846234" cy="3930000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24" t="-1" r="66319" b="37016"/>
          <a:stretch>
            <a:fillRect/>
          </a:stretch>
        </p:blipFill>
        <p:spPr>
          <a:xfrm>
            <a:off x="0" y="0"/>
            <a:ext cx="2909133" cy="4319477"/>
          </a:xfrm>
          <a:prstGeom prst="rect">
            <a:avLst/>
          </a:prstGeom>
        </p:spPr>
      </p:pic>
      <p:grpSp>
        <p:nvGrpSpPr>
          <p:cNvPr id="22" name="组合 21">
            <a:extLst>
              <a:ext uri="{FF2B5EF4-FFF2-40B4-BE49-F238E27FC236}">
                <a16:creationId xmlns:a16="http://schemas.microsoft.com/office/drawing/2014/main" id="{23787144-CAE0-4637-92AB-977EE9ADAC47}"/>
              </a:ext>
            </a:extLst>
          </p:cNvPr>
          <p:cNvGrpSpPr/>
          <p:nvPr/>
        </p:nvGrpSpPr>
        <p:grpSpPr>
          <a:xfrm>
            <a:off x="5166230" y="738501"/>
            <a:ext cx="1210588" cy="643745"/>
            <a:chOff x="5401269" y="392092"/>
            <a:chExt cx="1210588" cy="643745"/>
          </a:xfrm>
        </p:grpSpPr>
        <p:sp>
          <p:nvSpPr>
            <p:cNvPr id="23" name="TextBox 7">
              <a:extLst>
                <a:ext uri="{FF2B5EF4-FFF2-40B4-BE49-F238E27FC236}">
                  <a16:creationId xmlns:a16="http://schemas.microsoft.com/office/drawing/2014/main" id="{4FB808FE-E959-4387-AA8C-F37E85AF20B4}"/>
                </a:ext>
              </a:extLst>
            </p:cNvPr>
            <p:cNvSpPr txBox="1"/>
            <p:nvPr/>
          </p:nvSpPr>
          <p:spPr bwMode="auto">
            <a:xfrm>
              <a:off x="5401269" y="392092"/>
              <a:ext cx="1210588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kern="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项目背景</a:t>
              </a:r>
              <a:endParaRPr lang="en-US" altLang="zh-CN" sz="2000" kern="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  <p:sp>
          <p:nvSpPr>
            <p:cNvPr id="24" name="TextBox 8">
              <a:extLst>
                <a:ext uri="{FF2B5EF4-FFF2-40B4-BE49-F238E27FC236}">
                  <a16:creationId xmlns:a16="http://schemas.microsoft.com/office/drawing/2014/main" id="{0701B5D8-575D-492B-BFAF-00F80944D74E}"/>
                </a:ext>
              </a:extLst>
            </p:cNvPr>
            <p:cNvSpPr txBox="1"/>
            <p:nvPr/>
          </p:nvSpPr>
          <p:spPr bwMode="auto">
            <a:xfrm>
              <a:off x="5413969" y="758838"/>
              <a:ext cx="800219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200" kern="0" dirty="0">
                  <a:solidFill>
                    <a:srgbClr val="0870D3"/>
                  </a:solidFill>
                  <a:effectLst/>
                  <a:latin typeface="思源黑体 CN Bold" panose="020B0800000000000000" pitchFamily="34" charset="-122"/>
                  <a:ea typeface="思源黑体 CN Bold" panose="020B0800000000000000" pitchFamily="34" charset="-122"/>
                  <a:cs typeface="+mn-ea"/>
                  <a:sym typeface="+mn-lt"/>
                </a:rPr>
                <a:t>为什么做</a:t>
              </a:r>
              <a:endParaRPr lang="en-US" altLang="zh-CN" sz="1200" kern="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6" r="11588"/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Content Placeholder 2"/>
          <p:cNvSpPr txBox="1"/>
          <p:nvPr/>
        </p:nvSpPr>
        <p:spPr>
          <a:xfrm>
            <a:off x="1671462" y="139233"/>
            <a:ext cx="2825037" cy="1093456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zh-CN" altLang="en-US" sz="4000" b="1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项目背景</a:t>
            </a:r>
            <a:endParaRPr lang="en-US" altLang="zh-CN" sz="4000" b="1" dirty="0">
              <a:solidFill>
                <a:schemeClr val="bg1"/>
              </a:solidFill>
              <a:effectLst/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10" name="菱形 9"/>
          <p:cNvSpPr/>
          <p:nvPr/>
        </p:nvSpPr>
        <p:spPr>
          <a:xfrm>
            <a:off x="675729" y="188095"/>
            <a:ext cx="995733" cy="995733"/>
          </a:xfrm>
          <a:prstGeom prst="diamond">
            <a:avLst/>
          </a:prstGeom>
          <a:gradFill>
            <a:gsLst>
              <a:gs pos="0">
                <a:srgbClr val="0870D3"/>
              </a:gs>
              <a:gs pos="100000">
                <a:srgbClr val="4EBCF7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1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9B530D67-4DAB-4D2E-9066-1033CDC78A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2503" y="2225442"/>
            <a:ext cx="5238925" cy="2946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53930441-2E74-4A13-AB98-29DA6FE329D1}"/>
              </a:ext>
            </a:extLst>
          </p:cNvPr>
          <p:cNvSpPr txBox="1"/>
          <p:nvPr/>
        </p:nvSpPr>
        <p:spPr>
          <a:xfrm>
            <a:off x="348841" y="2583359"/>
            <a:ext cx="5973662" cy="22310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3200" dirty="0">
                <a:solidFill>
                  <a:srgbClr val="0869CF"/>
                </a:solidFill>
                <a:latin typeface="华文彩云" panose="02010800040101010101" pitchFamily="2" charset="-122"/>
                <a:ea typeface="华文彩云" panose="02010800040101010101" pitchFamily="2" charset="-122"/>
              </a:rPr>
              <a:t>学生购书存在找书难的问题。</a:t>
            </a:r>
            <a:endParaRPr lang="en-US" altLang="zh-CN" sz="3200" dirty="0">
              <a:solidFill>
                <a:srgbClr val="0869CF"/>
              </a:solidFill>
              <a:latin typeface="华文彩云" panose="02010800040101010101" pitchFamily="2" charset="-122"/>
              <a:ea typeface="华文彩云" panose="02010800040101010101" pitchFamily="2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3200" dirty="0">
                <a:solidFill>
                  <a:srgbClr val="0869CF"/>
                </a:solidFill>
                <a:latin typeface="华文彩云" panose="02010800040101010101" pitchFamily="2" charset="-122"/>
                <a:ea typeface="华文彩云" panose="02010800040101010101" pitchFamily="2" charset="-122"/>
              </a:rPr>
              <a:t>高效利用校图书仓库资源。</a:t>
            </a:r>
            <a:endParaRPr lang="en-US" altLang="zh-CN" sz="3200" dirty="0">
              <a:solidFill>
                <a:srgbClr val="0869CF"/>
              </a:solidFill>
              <a:latin typeface="华文彩云" panose="02010800040101010101" pitchFamily="2" charset="-122"/>
              <a:ea typeface="华文彩云" panose="02010800040101010101" pitchFamily="2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3200" dirty="0">
                <a:solidFill>
                  <a:srgbClr val="0869CF"/>
                </a:solidFill>
                <a:latin typeface="华文彩云" panose="02010800040101010101" pitchFamily="2" charset="-122"/>
                <a:ea typeface="华文彩云" panose="02010800040101010101" pitchFamily="2" charset="-122"/>
              </a:rPr>
              <a:t>就近取材，发货高效。</a:t>
            </a:r>
            <a:endParaRPr lang="en-US" altLang="zh-CN" sz="3200" dirty="0">
              <a:solidFill>
                <a:srgbClr val="0869CF"/>
              </a:solidFill>
              <a:latin typeface="华文彩云" panose="02010800040101010101" pitchFamily="2" charset="-122"/>
              <a:ea typeface="华文彩云" panose="020108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478369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6" r="11588"/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Content Placeholder 2"/>
          <p:cNvSpPr txBox="1"/>
          <p:nvPr/>
        </p:nvSpPr>
        <p:spPr>
          <a:xfrm>
            <a:off x="1671462" y="139233"/>
            <a:ext cx="2825037" cy="1093456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zh-CN" altLang="en-US" sz="4000" b="1" dirty="0">
                <a:solidFill>
                  <a:schemeClr val="bg1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所用技术</a:t>
            </a:r>
            <a:endParaRPr lang="en-US" altLang="zh-CN" sz="4000" b="1" dirty="0">
              <a:solidFill>
                <a:schemeClr val="bg1"/>
              </a:solidFill>
              <a:effectLst/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10" name="菱形 9"/>
          <p:cNvSpPr/>
          <p:nvPr/>
        </p:nvSpPr>
        <p:spPr>
          <a:xfrm>
            <a:off x="675729" y="188095"/>
            <a:ext cx="995733" cy="995733"/>
          </a:xfrm>
          <a:prstGeom prst="diamond">
            <a:avLst/>
          </a:prstGeom>
          <a:gradFill>
            <a:gsLst>
              <a:gs pos="0">
                <a:srgbClr val="0870D3"/>
              </a:gs>
              <a:gs pos="100000">
                <a:srgbClr val="4EBCF7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2</a:t>
            </a:r>
            <a:endParaRPr lang="en-US" altLang="zh-CN" sz="3200" dirty="0">
              <a:effectLst/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684A92F0-1B9E-4A01-8A9D-82E269B99E62}"/>
              </a:ext>
            </a:extLst>
          </p:cNvPr>
          <p:cNvPicPr>
            <a:picLocks noChangeArrowheads="1"/>
          </p:cNvPicPr>
          <p:nvPr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0897" y="1595066"/>
            <a:ext cx="2340000" cy="1800000"/>
          </a:xfrm>
          <a:prstGeom prst="rect">
            <a:avLst/>
          </a:prstGeom>
          <a:noFill/>
          <a:ln>
            <a:noFill/>
          </a:ln>
          <a:effectLst>
            <a:innerShdw blurRad="114300">
              <a:prstClr val="black"/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Web前端开发三剑客是做什么的？">
            <a:extLst>
              <a:ext uri="{FF2B5EF4-FFF2-40B4-BE49-F238E27FC236}">
                <a16:creationId xmlns:a16="http://schemas.microsoft.com/office/drawing/2014/main" id="{5B28BB68-93C9-40EC-9AED-9773E7E686CE}"/>
              </a:ext>
            </a:extLst>
          </p:cNvPr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0525" y="1595066"/>
            <a:ext cx="2340000" cy="1800000"/>
          </a:xfrm>
          <a:prstGeom prst="rect">
            <a:avLst/>
          </a:prstGeom>
          <a:noFill/>
          <a:effectLst>
            <a:innerShdw blurRad="114300">
              <a:prstClr val="black"/>
            </a:innerShdw>
            <a:softEdge rad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FA46C8DD-F540-4EB4-8F5F-41823D09FD22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0525" y="4090133"/>
            <a:ext cx="2340000" cy="1800000"/>
          </a:xfrm>
          <a:prstGeom prst="rect">
            <a:avLst/>
          </a:prstGeom>
          <a:noFill/>
          <a:effectLst>
            <a:innerShdw blurRad="114300">
              <a:prstClr val="black"/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>
            <a:extLst>
              <a:ext uri="{FF2B5EF4-FFF2-40B4-BE49-F238E27FC236}">
                <a16:creationId xmlns:a16="http://schemas.microsoft.com/office/drawing/2014/main" id="{C2957E9A-D9E0-4BFE-BA41-1233F60E7CAC}"/>
              </a:ext>
            </a:extLst>
          </p:cNvPr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0153" y="1595066"/>
            <a:ext cx="2340000" cy="1800000"/>
          </a:xfrm>
          <a:prstGeom prst="rect">
            <a:avLst/>
          </a:prstGeom>
          <a:noFill/>
          <a:effectLst>
            <a:innerShdw blurRad="114300">
              <a:prstClr val="black"/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>
            <a:extLst>
              <a:ext uri="{FF2B5EF4-FFF2-40B4-BE49-F238E27FC236}">
                <a16:creationId xmlns:a16="http://schemas.microsoft.com/office/drawing/2014/main" id="{56A42F4D-E3E4-4CDE-B25A-4EA4B05EA8ED}"/>
              </a:ext>
            </a:extLst>
          </p:cNvPr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0897" y="4064986"/>
            <a:ext cx="2340000" cy="1800000"/>
          </a:xfrm>
          <a:prstGeom prst="rect">
            <a:avLst/>
          </a:prstGeom>
          <a:noFill/>
          <a:effectLst>
            <a:innerShdw blurRad="114300">
              <a:prstClr val="black"/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>
            <a:extLst>
              <a:ext uri="{FF2B5EF4-FFF2-40B4-BE49-F238E27FC236}">
                <a16:creationId xmlns:a16="http://schemas.microsoft.com/office/drawing/2014/main" id="{C2216D6D-12F0-4A0D-91BF-C161EC36CFAF}"/>
              </a:ext>
            </a:extLst>
          </p:cNvPr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0153" y="4064986"/>
            <a:ext cx="2340000" cy="1800000"/>
          </a:xfrm>
          <a:prstGeom prst="rect">
            <a:avLst/>
          </a:prstGeom>
          <a:noFill/>
          <a:effectLst>
            <a:innerShdw blurRad="114300">
              <a:prstClr val="black"/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21330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6" r="11588"/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Content Placeholder 2"/>
          <p:cNvSpPr txBox="1"/>
          <p:nvPr/>
        </p:nvSpPr>
        <p:spPr>
          <a:xfrm>
            <a:off x="1671462" y="34486"/>
            <a:ext cx="6021243" cy="1093456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zh-CN" altLang="en-US" sz="4000" b="1" dirty="0">
                <a:solidFill>
                  <a:schemeClr val="bg1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成品示例图</a:t>
            </a:r>
            <a:r>
              <a:rPr lang="en-US" altLang="zh-CN" sz="4000" b="1" dirty="0">
                <a:solidFill>
                  <a:schemeClr val="bg1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—</a:t>
            </a:r>
            <a:r>
              <a:rPr lang="zh-CN" altLang="en-US" sz="4000" b="1" dirty="0">
                <a:solidFill>
                  <a:schemeClr val="bg1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前台客户端</a:t>
            </a:r>
            <a:endParaRPr lang="en-US" altLang="zh-CN" sz="4000" b="1" dirty="0">
              <a:solidFill>
                <a:schemeClr val="bg1"/>
              </a:solidFill>
              <a:effectLst/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10" name="菱形 9"/>
          <p:cNvSpPr/>
          <p:nvPr/>
        </p:nvSpPr>
        <p:spPr>
          <a:xfrm>
            <a:off x="675729" y="188095"/>
            <a:ext cx="995733" cy="995733"/>
          </a:xfrm>
          <a:prstGeom prst="diamond">
            <a:avLst/>
          </a:prstGeom>
          <a:gradFill>
            <a:gsLst>
              <a:gs pos="0">
                <a:srgbClr val="0870D3"/>
              </a:gs>
              <a:gs pos="100000">
                <a:srgbClr val="4EBCF7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3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424745C5-590F-4234-AB5E-4D0E4660CC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3622" y="1316038"/>
            <a:ext cx="2609757" cy="1986563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A6F54604-ECBC-42D5-842D-12FC9F6486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91124" y="4296636"/>
            <a:ext cx="4700260" cy="1522688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8656D31F-47CE-4482-B4B4-A7131C5A626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73517" y="1332004"/>
            <a:ext cx="4011575" cy="1991194"/>
          </a:xfrm>
          <a:prstGeom prst="rect">
            <a:avLst/>
          </a:prstGeom>
        </p:spPr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8DF212CA-808A-4646-8347-6D47B0A889DD}"/>
              </a:ext>
            </a:extLst>
          </p:cNvPr>
          <p:cNvSpPr/>
          <p:nvPr/>
        </p:nvSpPr>
        <p:spPr>
          <a:xfrm>
            <a:off x="645684" y="1524489"/>
            <a:ext cx="995733" cy="156966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3200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商品主界面</a:t>
            </a:r>
            <a:endParaRPr lang="zh-CN" altLang="en-U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63F87A73-D06D-4E9F-B19E-DDE21F34CE15}"/>
              </a:ext>
            </a:extLst>
          </p:cNvPr>
          <p:cNvSpPr/>
          <p:nvPr/>
        </p:nvSpPr>
        <p:spPr>
          <a:xfrm>
            <a:off x="125732" y="4249664"/>
            <a:ext cx="1335050" cy="156966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3200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登录注册界面</a:t>
            </a:r>
            <a:endParaRPr lang="zh-CN" altLang="en-U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5BCFF7D5-F663-48AB-BB10-CC1B4553CD75}"/>
              </a:ext>
            </a:extLst>
          </p:cNvPr>
          <p:cNvSpPr/>
          <p:nvPr/>
        </p:nvSpPr>
        <p:spPr>
          <a:xfrm>
            <a:off x="4605877" y="1513628"/>
            <a:ext cx="1335050" cy="156966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3200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购物车界面</a:t>
            </a:r>
            <a:endParaRPr lang="zh-CN" altLang="en-U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BE586511-31E1-436C-A981-2481B99F7F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76511" y="4290404"/>
            <a:ext cx="3385690" cy="1658297"/>
          </a:xfrm>
          <a:prstGeom prst="rect">
            <a:avLst/>
          </a:prstGeom>
        </p:spPr>
      </p:pic>
      <p:sp>
        <p:nvSpPr>
          <p:cNvPr id="14" name="矩形 13">
            <a:extLst>
              <a:ext uri="{FF2B5EF4-FFF2-40B4-BE49-F238E27FC236}">
                <a16:creationId xmlns:a16="http://schemas.microsoft.com/office/drawing/2014/main" id="{53B30E88-E1CD-447B-B6B4-E54CA6983139}"/>
              </a:ext>
            </a:extLst>
          </p:cNvPr>
          <p:cNvSpPr/>
          <p:nvPr/>
        </p:nvSpPr>
        <p:spPr>
          <a:xfrm>
            <a:off x="5987050" y="4340954"/>
            <a:ext cx="1335050" cy="156966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3200" b="1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客户订单界面</a:t>
            </a:r>
          </a:p>
        </p:txBody>
      </p:sp>
    </p:spTree>
    <p:extLst>
      <p:ext uri="{BB962C8B-B14F-4D97-AF65-F5344CB8AC3E}">
        <p14:creationId xmlns:p14="http://schemas.microsoft.com/office/powerpoint/2010/main" val="3531928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6" r="11588"/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Content Placeholder 2"/>
          <p:cNvSpPr txBox="1"/>
          <p:nvPr/>
        </p:nvSpPr>
        <p:spPr>
          <a:xfrm>
            <a:off x="1671462" y="34486"/>
            <a:ext cx="6021243" cy="1093456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zh-CN" altLang="en-US" sz="4000" b="1" dirty="0">
                <a:solidFill>
                  <a:schemeClr val="bg1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成品示例图</a:t>
            </a:r>
            <a:r>
              <a:rPr lang="en-US" altLang="zh-CN" sz="4000" b="1" dirty="0">
                <a:solidFill>
                  <a:schemeClr val="bg1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—</a:t>
            </a:r>
            <a:r>
              <a:rPr lang="zh-CN" altLang="en-US" sz="4000" b="1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后</a:t>
            </a:r>
            <a:r>
              <a:rPr lang="zh-CN" altLang="en-US" sz="4000" b="1" dirty="0">
                <a:solidFill>
                  <a:schemeClr val="bg1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台管理端</a:t>
            </a:r>
            <a:endParaRPr lang="en-US" altLang="zh-CN" sz="4000" b="1" dirty="0">
              <a:solidFill>
                <a:schemeClr val="bg1"/>
              </a:solidFill>
              <a:effectLst/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10" name="菱形 9"/>
          <p:cNvSpPr/>
          <p:nvPr/>
        </p:nvSpPr>
        <p:spPr>
          <a:xfrm>
            <a:off x="675729" y="188095"/>
            <a:ext cx="995733" cy="995733"/>
          </a:xfrm>
          <a:prstGeom prst="diamond">
            <a:avLst/>
          </a:prstGeom>
          <a:gradFill>
            <a:gsLst>
              <a:gs pos="0">
                <a:srgbClr val="0870D3"/>
              </a:gs>
              <a:gs pos="100000">
                <a:srgbClr val="4EBCF7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3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8DF212CA-808A-4646-8347-6D47B0A889DD}"/>
              </a:ext>
            </a:extLst>
          </p:cNvPr>
          <p:cNvSpPr/>
          <p:nvPr/>
        </p:nvSpPr>
        <p:spPr>
          <a:xfrm>
            <a:off x="177862" y="1356020"/>
            <a:ext cx="995733" cy="206210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3200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管理员登录界面</a:t>
            </a:r>
            <a:endParaRPr lang="zh-CN" altLang="en-U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63F87A73-D06D-4E9F-B19E-DDE21F34CE15}"/>
              </a:ext>
            </a:extLst>
          </p:cNvPr>
          <p:cNvSpPr/>
          <p:nvPr/>
        </p:nvSpPr>
        <p:spPr>
          <a:xfrm>
            <a:off x="125732" y="4249664"/>
            <a:ext cx="1335050" cy="156966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3200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订单管理界面</a:t>
            </a:r>
            <a:endParaRPr lang="zh-CN" altLang="en-U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5BCFF7D5-F663-48AB-BB10-CC1B4553CD75}"/>
              </a:ext>
            </a:extLst>
          </p:cNvPr>
          <p:cNvSpPr/>
          <p:nvPr/>
        </p:nvSpPr>
        <p:spPr>
          <a:xfrm>
            <a:off x="5036229" y="1533285"/>
            <a:ext cx="1335050" cy="156966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3200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图书管理界面</a:t>
            </a:r>
            <a:endParaRPr lang="zh-CN" altLang="en-US" sz="32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53B30E88-E1CD-447B-B6B4-E54CA6983139}"/>
              </a:ext>
            </a:extLst>
          </p:cNvPr>
          <p:cNvSpPr/>
          <p:nvPr/>
        </p:nvSpPr>
        <p:spPr>
          <a:xfrm>
            <a:off x="5520132" y="4115459"/>
            <a:ext cx="1335050" cy="206210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3200" b="1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数据可视化界面</a:t>
            </a: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A380B57C-851D-443F-8328-E5C4EBE486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91124" y="1292970"/>
            <a:ext cx="3532546" cy="2270923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72A19996-8C2C-443A-BDC4-260B06E5DC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15059" y="1299312"/>
            <a:ext cx="3979569" cy="2376056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349D30A9-FCC3-49EA-B0B7-B67577162F0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76305" y="4115459"/>
            <a:ext cx="4106495" cy="2008504"/>
          </a:xfrm>
          <a:prstGeom prst="rect">
            <a:avLst/>
          </a:prstGeom>
        </p:spPr>
      </p:pic>
      <p:pic>
        <p:nvPicPr>
          <p:cNvPr id="19" name="图片 18">
            <a:extLst>
              <a:ext uri="{FF2B5EF4-FFF2-40B4-BE49-F238E27FC236}">
                <a16:creationId xmlns:a16="http://schemas.microsoft.com/office/drawing/2014/main" id="{C80A90E6-B32A-4ED8-9B16-EC410DEDA59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84940" y="4178764"/>
            <a:ext cx="4117992" cy="1940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1877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6" r="11588"/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Content Placeholder 2"/>
          <p:cNvSpPr txBox="1"/>
          <p:nvPr/>
        </p:nvSpPr>
        <p:spPr>
          <a:xfrm>
            <a:off x="1671462" y="139233"/>
            <a:ext cx="2825037" cy="1093456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zh-CN" altLang="en-US" sz="4000" b="1" dirty="0">
                <a:solidFill>
                  <a:schemeClr val="bg1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有待完善</a:t>
            </a:r>
            <a:endParaRPr lang="en-US" altLang="zh-CN" sz="4000" b="1" dirty="0">
              <a:solidFill>
                <a:schemeClr val="bg1"/>
              </a:solidFill>
              <a:effectLst/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</p:txBody>
      </p:sp>
      <p:sp>
        <p:nvSpPr>
          <p:cNvPr id="10" name="菱形 9"/>
          <p:cNvSpPr/>
          <p:nvPr/>
        </p:nvSpPr>
        <p:spPr>
          <a:xfrm>
            <a:off x="675729" y="188095"/>
            <a:ext cx="995733" cy="995733"/>
          </a:xfrm>
          <a:prstGeom prst="diamond">
            <a:avLst/>
          </a:prstGeom>
          <a:gradFill>
            <a:gsLst>
              <a:gs pos="0">
                <a:srgbClr val="0870D3"/>
              </a:gs>
              <a:gs pos="100000">
                <a:srgbClr val="4EBCF7"/>
              </a:gs>
            </a:gsLst>
            <a:lin ang="9000000" scaled="0"/>
          </a:gradFill>
          <a:ln>
            <a:noFill/>
          </a:ln>
          <a:effectLst>
            <a:outerShdw blurRad="177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 dirty="0"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4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C034E6D-CDC3-4C1B-A44E-A677281EFD33}"/>
              </a:ext>
            </a:extLst>
          </p:cNvPr>
          <p:cNvSpPr txBox="1"/>
          <p:nvPr/>
        </p:nvSpPr>
        <p:spPr>
          <a:xfrm>
            <a:off x="2015454" y="2201516"/>
            <a:ext cx="8161091" cy="24549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5400" dirty="0">
                <a:solidFill>
                  <a:srgbClr val="0869CF"/>
                </a:solidFill>
                <a:latin typeface="华文彩云" panose="02010800040101010101" pitchFamily="2" charset="-122"/>
                <a:ea typeface="华文彩云" panose="02010800040101010101" pitchFamily="2" charset="-122"/>
              </a:rPr>
              <a:t>UI</a:t>
            </a:r>
            <a:r>
              <a:rPr lang="zh-CN" altLang="en-US" sz="5400" dirty="0">
                <a:solidFill>
                  <a:srgbClr val="0869CF"/>
                </a:solidFill>
                <a:latin typeface="华文彩云" panose="02010800040101010101" pitchFamily="2" charset="-122"/>
                <a:ea typeface="华文彩云" panose="02010800040101010101" pitchFamily="2" charset="-122"/>
              </a:rPr>
              <a:t>界面有待提高。</a:t>
            </a:r>
            <a:endParaRPr lang="en-US" altLang="zh-CN" sz="5400" dirty="0">
              <a:solidFill>
                <a:srgbClr val="0869CF"/>
              </a:solidFill>
              <a:latin typeface="华文彩云" panose="02010800040101010101" pitchFamily="2" charset="-122"/>
              <a:ea typeface="华文彩云" panose="02010800040101010101" pitchFamily="2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5400" dirty="0">
                <a:solidFill>
                  <a:srgbClr val="0869CF"/>
                </a:solidFill>
                <a:latin typeface="华文彩云" panose="02010800040101010101" pitchFamily="2" charset="-122"/>
                <a:ea typeface="华文彩云" panose="02010800040101010101" pitchFamily="2" charset="-122"/>
              </a:rPr>
              <a:t>商品分类功能有待完善。</a:t>
            </a:r>
          </a:p>
        </p:txBody>
      </p:sp>
    </p:spTree>
    <p:extLst>
      <p:ext uri="{BB962C8B-B14F-4D97-AF65-F5344CB8AC3E}">
        <p14:creationId xmlns:p14="http://schemas.microsoft.com/office/powerpoint/2010/main" val="12554194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" name="think-cell Slide" r:id="rId9" imgW="9525" imgH="9525" progId="TCLayout.ActiveDocument.1">
                  <p:embed/>
                </p:oleObj>
              </mc:Choice>
              <mc:Fallback>
                <p:oleObj name="think-cell Slide" r:id="rId9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椭圆 11"/>
          <p:cNvSpPr/>
          <p:nvPr userDrawn="1"/>
        </p:nvSpPr>
        <p:spPr>
          <a:xfrm>
            <a:off x="7738745" y="1475740"/>
            <a:ext cx="236855" cy="236855"/>
          </a:xfrm>
          <a:prstGeom prst="ellipse">
            <a:avLst/>
          </a:prstGeom>
          <a:gradFill>
            <a:gsLst>
              <a:gs pos="51000">
                <a:srgbClr val="A1E2FE"/>
              </a:gs>
              <a:gs pos="0">
                <a:srgbClr val="A1E2FE">
                  <a:lumMod val="72000"/>
                  <a:lumOff val="28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椭圆 12"/>
          <p:cNvSpPr/>
          <p:nvPr userDrawn="1"/>
        </p:nvSpPr>
        <p:spPr>
          <a:xfrm>
            <a:off x="7840345" y="1196340"/>
            <a:ext cx="440055" cy="440055"/>
          </a:xfrm>
          <a:prstGeom prst="ellipse">
            <a:avLst/>
          </a:prstGeom>
          <a:gradFill flip="none">
            <a:gsLst>
              <a:gs pos="51000">
                <a:srgbClr val="226AD0"/>
              </a:gs>
              <a:gs pos="0">
                <a:srgbClr val="0789DF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 userDrawn="1"/>
        </p:nvSpPr>
        <p:spPr>
          <a:xfrm>
            <a:off x="-719455" y="-828040"/>
            <a:ext cx="1638935" cy="1638935"/>
          </a:xfrm>
          <a:prstGeom prst="ellipse">
            <a:avLst/>
          </a:prstGeom>
          <a:gradFill>
            <a:gsLst>
              <a:gs pos="51000">
                <a:srgbClr val="A1E2FE"/>
              </a:gs>
              <a:gs pos="0">
                <a:srgbClr val="A1E2FE">
                  <a:lumMod val="72000"/>
                  <a:lumOff val="28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6" name="矩形 305"/>
          <p:cNvSpPr/>
          <p:nvPr/>
        </p:nvSpPr>
        <p:spPr>
          <a:xfrm>
            <a:off x="1444625" y="2047875"/>
            <a:ext cx="5514340" cy="15684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96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rPr>
              <a:t>谢谢收听</a:t>
            </a:r>
          </a:p>
        </p:txBody>
      </p:sp>
      <p:cxnSp>
        <p:nvCxnSpPr>
          <p:cNvPr id="23" name="直接连接符 22"/>
          <p:cNvCxnSpPr/>
          <p:nvPr/>
        </p:nvCxnSpPr>
        <p:spPr>
          <a:xfrm>
            <a:off x="1590675" y="3615690"/>
            <a:ext cx="4292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椭圆 23"/>
          <p:cNvSpPr/>
          <p:nvPr userDrawn="1"/>
        </p:nvSpPr>
        <p:spPr>
          <a:xfrm>
            <a:off x="1134745" y="1932940"/>
            <a:ext cx="236855" cy="236855"/>
          </a:xfrm>
          <a:prstGeom prst="ellipse">
            <a:avLst/>
          </a:prstGeom>
          <a:gradFill>
            <a:gsLst>
              <a:gs pos="51000">
                <a:srgbClr val="A1E2FE"/>
              </a:gs>
              <a:gs pos="0">
                <a:srgbClr val="A1E2FE">
                  <a:lumMod val="72000"/>
                  <a:lumOff val="28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Content Placeholder 2"/>
          <p:cNvSpPr txBox="1"/>
          <p:nvPr/>
        </p:nvSpPr>
        <p:spPr>
          <a:xfrm>
            <a:off x="1616075" y="5487670"/>
            <a:ext cx="4987925" cy="104965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30000"/>
              </a:lnSpc>
              <a:spcBef>
                <a:spcPts val="0"/>
              </a:spcBef>
              <a:buNone/>
            </a:pPr>
            <a:r>
              <a:rPr lang="zh-CN" altLang="en-US" sz="160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汇报：</a:t>
            </a:r>
            <a:r>
              <a:rPr lang="zh-CN" altLang="en-US" sz="1600" dirty="0">
                <a:solidFill>
                  <a:srgbClr val="0870D3"/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邢肖云</a:t>
            </a:r>
            <a:endParaRPr lang="zh-CN" altLang="en-US" sz="1600" dirty="0">
              <a:solidFill>
                <a:srgbClr val="0870D3"/>
              </a:solidFill>
              <a:effectLst/>
              <a:latin typeface="思源黑体 CN Bold" panose="020B0800000000000000" pitchFamily="34" charset="-122"/>
              <a:ea typeface="思源黑体 CN Bold" panose="020B0800000000000000" pitchFamily="34" charset="-122"/>
              <a:cs typeface="+mn-ea"/>
              <a:sym typeface="+mn-lt"/>
            </a:endParaRPr>
          </a:p>
          <a:p>
            <a:pPr marL="0" indent="0" fontAlgn="auto">
              <a:lnSpc>
                <a:spcPct val="130000"/>
              </a:lnSpc>
              <a:spcBef>
                <a:spcPts val="0"/>
              </a:spcBef>
              <a:buNone/>
            </a:pPr>
            <a:r>
              <a:rPr lang="zh-CN" altLang="en-US" sz="160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时间：</a:t>
            </a:r>
            <a:r>
              <a:rPr lang="en-US" altLang="zh-CN" sz="1600" dirty="0">
                <a:solidFill>
                  <a:srgbClr val="0870D3"/>
                </a:solidFill>
                <a:effectLst/>
                <a:latin typeface="思源黑体 CN Bold" panose="020B0800000000000000" pitchFamily="34" charset="-122"/>
                <a:ea typeface="思源黑体 CN Bold" panose="020B0800000000000000" pitchFamily="34" charset="-122"/>
                <a:cs typeface="+mn-ea"/>
                <a:sym typeface="+mn-lt"/>
              </a:rPr>
              <a:t>2021-01-02</a:t>
            </a:r>
          </a:p>
        </p:txBody>
      </p:sp>
      <p:grpSp>
        <p:nvGrpSpPr>
          <p:cNvPr id="28" name="a2f6f956-74f0-4e48-b063-fde34c17ff1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/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6899275" y="2625725"/>
            <a:ext cx="4838065" cy="3284855"/>
            <a:chOff x="2860675" y="1228726"/>
            <a:chExt cx="6484938" cy="4402138"/>
          </a:xfrm>
        </p:grpSpPr>
        <p:sp>
          <p:nvSpPr>
            <p:cNvPr id="29" name="îṩḻíḑê"/>
            <p:cNvSpPr/>
            <p:nvPr/>
          </p:nvSpPr>
          <p:spPr bwMode="auto">
            <a:xfrm>
              <a:off x="6132513" y="1744663"/>
              <a:ext cx="2038350" cy="2060575"/>
            </a:xfrm>
            <a:custGeom>
              <a:avLst/>
              <a:gdLst>
                <a:gd name="T0" fmla="*/ 53 w 139"/>
                <a:gd name="T1" fmla="*/ 9 h 140"/>
                <a:gd name="T2" fmla="*/ 8 w 139"/>
                <a:gd name="T3" fmla="*/ 86 h 140"/>
                <a:gd name="T4" fmla="*/ 85 w 139"/>
                <a:gd name="T5" fmla="*/ 131 h 140"/>
                <a:gd name="T6" fmla="*/ 130 w 139"/>
                <a:gd name="T7" fmla="*/ 54 h 140"/>
                <a:gd name="T8" fmla="*/ 53 w 139"/>
                <a:gd name="T9" fmla="*/ 9 h 140"/>
                <a:gd name="T10" fmla="*/ 78 w 139"/>
                <a:gd name="T11" fmla="*/ 102 h 140"/>
                <a:gd name="T12" fmla="*/ 37 w 139"/>
                <a:gd name="T13" fmla="*/ 79 h 140"/>
                <a:gd name="T14" fmla="*/ 61 w 139"/>
                <a:gd name="T15" fmla="*/ 38 h 140"/>
                <a:gd name="T16" fmla="*/ 101 w 139"/>
                <a:gd name="T17" fmla="*/ 62 h 140"/>
                <a:gd name="T18" fmla="*/ 78 w 139"/>
                <a:gd name="T19" fmla="*/ 10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9" h="140">
                  <a:moveTo>
                    <a:pt x="53" y="9"/>
                  </a:moveTo>
                  <a:cubicBezTo>
                    <a:pt x="20" y="18"/>
                    <a:pt x="0" y="53"/>
                    <a:pt x="8" y="86"/>
                  </a:cubicBezTo>
                  <a:cubicBezTo>
                    <a:pt x="17" y="120"/>
                    <a:pt x="52" y="140"/>
                    <a:pt x="85" y="131"/>
                  </a:cubicBezTo>
                  <a:cubicBezTo>
                    <a:pt x="119" y="122"/>
                    <a:pt x="139" y="88"/>
                    <a:pt x="130" y="54"/>
                  </a:cubicBezTo>
                  <a:cubicBezTo>
                    <a:pt x="121" y="21"/>
                    <a:pt x="87" y="0"/>
                    <a:pt x="53" y="9"/>
                  </a:cubicBezTo>
                  <a:close/>
                  <a:moveTo>
                    <a:pt x="78" y="102"/>
                  </a:moveTo>
                  <a:cubicBezTo>
                    <a:pt x="60" y="107"/>
                    <a:pt x="42" y="96"/>
                    <a:pt x="37" y="79"/>
                  </a:cubicBezTo>
                  <a:cubicBezTo>
                    <a:pt x="33" y="61"/>
                    <a:pt x="43" y="43"/>
                    <a:pt x="61" y="38"/>
                  </a:cubicBezTo>
                  <a:cubicBezTo>
                    <a:pt x="79" y="34"/>
                    <a:pt x="97" y="44"/>
                    <a:pt x="101" y="62"/>
                  </a:cubicBezTo>
                  <a:cubicBezTo>
                    <a:pt x="106" y="80"/>
                    <a:pt x="95" y="98"/>
                    <a:pt x="78" y="102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" name="işḷîḓe"/>
            <p:cNvSpPr/>
            <p:nvPr/>
          </p:nvSpPr>
          <p:spPr bwMode="auto">
            <a:xfrm>
              <a:off x="6616700" y="1582738"/>
              <a:ext cx="557213" cy="558800"/>
            </a:xfrm>
            <a:custGeom>
              <a:avLst/>
              <a:gdLst>
                <a:gd name="T0" fmla="*/ 38 w 38"/>
                <a:gd name="T1" fmla="*/ 31 h 38"/>
                <a:gd name="T2" fmla="*/ 11 w 38"/>
                <a:gd name="T3" fmla="*/ 38 h 38"/>
                <a:gd name="T4" fmla="*/ 4 w 38"/>
                <a:gd name="T5" fmla="*/ 11 h 38"/>
                <a:gd name="T6" fmla="*/ 31 w 38"/>
                <a:gd name="T7" fmla="*/ 4 h 38"/>
                <a:gd name="T8" fmla="*/ 38 w 38"/>
                <a:gd name="T9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8" y="31"/>
                  </a:move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0" y="17"/>
                    <a:pt x="4" y="11"/>
                  </a:cubicBezTo>
                  <a:cubicBezTo>
                    <a:pt x="7" y="5"/>
                    <a:pt x="25" y="0"/>
                    <a:pt x="31" y="4"/>
                  </a:cubicBezTo>
                  <a:cubicBezTo>
                    <a:pt x="37" y="8"/>
                    <a:pt x="38" y="31"/>
                    <a:pt x="38" y="31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" name="ïşḷíḍé"/>
            <p:cNvSpPr/>
            <p:nvPr/>
          </p:nvSpPr>
          <p:spPr bwMode="auto">
            <a:xfrm>
              <a:off x="7100888" y="3436938"/>
              <a:ext cx="542925" cy="544513"/>
            </a:xfrm>
            <a:custGeom>
              <a:avLst/>
              <a:gdLst>
                <a:gd name="T0" fmla="*/ 27 w 37"/>
                <a:gd name="T1" fmla="*/ 0 h 37"/>
                <a:gd name="T2" fmla="*/ 0 w 37"/>
                <a:gd name="T3" fmla="*/ 7 h 37"/>
                <a:gd name="T4" fmla="*/ 7 w 37"/>
                <a:gd name="T5" fmla="*/ 33 h 37"/>
                <a:gd name="T6" fmla="*/ 34 w 37"/>
                <a:gd name="T7" fmla="*/ 26 h 37"/>
                <a:gd name="T8" fmla="*/ 27 w 37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27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30"/>
                    <a:pt x="7" y="33"/>
                  </a:cubicBezTo>
                  <a:cubicBezTo>
                    <a:pt x="13" y="37"/>
                    <a:pt x="32" y="33"/>
                    <a:pt x="34" y="26"/>
                  </a:cubicBezTo>
                  <a:cubicBezTo>
                    <a:pt x="37" y="20"/>
                    <a:pt x="27" y="0"/>
                    <a:pt x="27" y="0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" name="íṩḻïḓè"/>
            <p:cNvSpPr/>
            <p:nvPr/>
          </p:nvSpPr>
          <p:spPr bwMode="auto">
            <a:xfrm>
              <a:off x="6043613" y="2052638"/>
              <a:ext cx="573088" cy="574675"/>
            </a:xfrm>
            <a:custGeom>
              <a:avLst/>
              <a:gdLst>
                <a:gd name="T0" fmla="*/ 39 w 39"/>
                <a:gd name="T1" fmla="*/ 13 h 39"/>
                <a:gd name="T2" fmla="*/ 28 w 39"/>
                <a:gd name="T3" fmla="*/ 39 h 39"/>
                <a:gd name="T4" fmla="*/ 2 w 39"/>
                <a:gd name="T5" fmla="*/ 28 h 39"/>
                <a:gd name="T6" fmla="*/ 13 w 39"/>
                <a:gd name="T7" fmla="*/ 2 h 39"/>
                <a:gd name="T8" fmla="*/ 39 w 39"/>
                <a:gd name="T9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39" y="13"/>
                  </a:move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5" y="34"/>
                    <a:pt x="2" y="28"/>
                  </a:cubicBezTo>
                  <a:cubicBezTo>
                    <a:pt x="0" y="22"/>
                    <a:pt x="7" y="4"/>
                    <a:pt x="13" y="2"/>
                  </a:cubicBezTo>
                  <a:cubicBezTo>
                    <a:pt x="20" y="0"/>
                    <a:pt x="39" y="13"/>
                    <a:pt x="39" y="13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" name="ïşḻîďê"/>
            <p:cNvSpPr/>
            <p:nvPr/>
          </p:nvSpPr>
          <p:spPr bwMode="auto">
            <a:xfrm>
              <a:off x="5956300" y="2774951"/>
              <a:ext cx="528638" cy="544513"/>
            </a:xfrm>
            <a:custGeom>
              <a:avLst/>
              <a:gdLst>
                <a:gd name="T0" fmla="*/ 33 w 36"/>
                <a:gd name="T1" fmla="*/ 2 h 37"/>
                <a:gd name="T2" fmla="*/ 36 w 36"/>
                <a:gd name="T3" fmla="*/ 31 h 37"/>
                <a:gd name="T4" fmla="*/ 8 w 36"/>
                <a:gd name="T5" fmla="*/ 33 h 37"/>
                <a:gd name="T6" fmla="*/ 5 w 36"/>
                <a:gd name="T7" fmla="*/ 5 h 37"/>
                <a:gd name="T8" fmla="*/ 33 w 36"/>
                <a:gd name="T9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33" y="2"/>
                  </a:moveTo>
                  <a:cubicBezTo>
                    <a:pt x="36" y="31"/>
                    <a:pt x="36" y="31"/>
                    <a:pt x="36" y="31"/>
                  </a:cubicBezTo>
                  <a:cubicBezTo>
                    <a:pt x="36" y="31"/>
                    <a:pt x="13" y="37"/>
                    <a:pt x="8" y="33"/>
                  </a:cubicBezTo>
                  <a:cubicBezTo>
                    <a:pt x="3" y="29"/>
                    <a:pt x="0" y="10"/>
                    <a:pt x="5" y="5"/>
                  </a:cubicBezTo>
                  <a:cubicBezTo>
                    <a:pt x="10" y="0"/>
                    <a:pt x="33" y="2"/>
                    <a:pt x="33" y="2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" name="iṩļïḍè"/>
            <p:cNvSpPr/>
            <p:nvPr/>
          </p:nvSpPr>
          <p:spPr bwMode="auto">
            <a:xfrm>
              <a:off x="7804150" y="2274888"/>
              <a:ext cx="542925" cy="544513"/>
            </a:xfrm>
            <a:custGeom>
              <a:avLst/>
              <a:gdLst>
                <a:gd name="T0" fmla="*/ 6 w 37"/>
                <a:gd name="T1" fmla="*/ 37 h 37"/>
                <a:gd name="T2" fmla="*/ 0 w 37"/>
                <a:gd name="T3" fmla="*/ 10 h 37"/>
                <a:gd name="T4" fmla="*/ 27 w 37"/>
                <a:gd name="T5" fmla="*/ 4 h 37"/>
                <a:gd name="T6" fmla="*/ 33 w 37"/>
                <a:gd name="T7" fmla="*/ 31 h 37"/>
                <a:gd name="T8" fmla="*/ 6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6" y="37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21" y="0"/>
                    <a:pt x="27" y="4"/>
                  </a:cubicBezTo>
                  <a:cubicBezTo>
                    <a:pt x="33" y="8"/>
                    <a:pt x="37" y="26"/>
                    <a:pt x="33" y="31"/>
                  </a:cubicBezTo>
                  <a:cubicBezTo>
                    <a:pt x="29" y="37"/>
                    <a:pt x="6" y="37"/>
                    <a:pt x="6" y="37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" name="îSlíḓê"/>
            <p:cNvSpPr/>
            <p:nvPr/>
          </p:nvSpPr>
          <p:spPr bwMode="auto">
            <a:xfrm>
              <a:off x="7335838" y="1685926"/>
              <a:ext cx="585788" cy="603250"/>
            </a:xfrm>
            <a:custGeom>
              <a:avLst/>
              <a:gdLst>
                <a:gd name="T0" fmla="*/ 0 w 40"/>
                <a:gd name="T1" fmla="*/ 24 h 41"/>
                <a:gd name="T2" fmla="*/ 23 w 40"/>
                <a:gd name="T3" fmla="*/ 41 h 41"/>
                <a:gd name="T4" fmla="*/ 40 w 40"/>
                <a:gd name="T5" fmla="*/ 19 h 41"/>
                <a:gd name="T6" fmla="*/ 17 w 40"/>
                <a:gd name="T7" fmla="*/ 2 h 41"/>
                <a:gd name="T8" fmla="*/ 0 w 40"/>
                <a:gd name="T9" fmla="*/ 2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1">
                  <a:moveTo>
                    <a:pt x="0" y="24"/>
                  </a:moveTo>
                  <a:cubicBezTo>
                    <a:pt x="23" y="41"/>
                    <a:pt x="23" y="41"/>
                    <a:pt x="23" y="41"/>
                  </a:cubicBezTo>
                  <a:cubicBezTo>
                    <a:pt x="23" y="41"/>
                    <a:pt x="40" y="26"/>
                    <a:pt x="40" y="19"/>
                  </a:cubicBezTo>
                  <a:cubicBezTo>
                    <a:pt x="39" y="12"/>
                    <a:pt x="24" y="0"/>
                    <a:pt x="17" y="2"/>
                  </a:cubicBezTo>
                  <a:cubicBezTo>
                    <a:pt x="10" y="3"/>
                    <a:pt x="0" y="24"/>
                    <a:pt x="0" y="24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" name="íṧḻidé"/>
            <p:cNvSpPr/>
            <p:nvPr/>
          </p:nvSpPr>
          <p:spPr bwMode="auto">
            <a:xfrm>
              <a:off x="6308725" y="3305176"/>
              <a:ext cx="585788" cy="603250"/>
            </a:xfrm>
            <a:custGeom>
              <a:avLst/>
              <a:gdLst>
                <a:gd name="T0" fmla="*/ 40 w 40"/>
                <a:gd name="T1" fmla="*/ 17 h 41"/>
                <a:gd name="T2" fmla="*/ 18 w 40"/>
                <a:gd name="T3" fmla="*/ 0 h 41"/>
                <a:gd name="T4" fmla="*/ 1 w 40"/>
                <a:gd name="T5" fmla="*/ 22 h 41"/>
                <a:gd name="T6" fmla="*/ 23 w 40"/>
                <a:gd name="T7" fmla="*/ 39 h 41"/>
                <a:gd name="T8" fmla="*/ 40 w 40"/>
                <a:gd name="T9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1">
                  <a:moveTo>
                    <a:pt x="40" y="17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0" y="15"/>
                    <a:pt x="1" y="22"/>
                  </a:cubicBezTo>
                  <a:cubicBezTo>
                    <a:pt x="2" y="29"/>
                    <a:pt x="17" y="41"/>
                    <a:pt x="23" y="39"/>
                  </a:cubicBezTo>
                  <a:cubicBezTo>
                    <a:pt x="30" y="38"/>
                    <a:pt x="40" y="17"/>
                    <a:pt x="40" y="17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" name="íşľiďê"/>
            <p:cNvSpPr/>
            <p:nvPr/>
          </p:nvSpPr>
          <p:spPr bwMode="auto">
            <a:xfrm>
              <a:off x="7702550" y="2981326"/>
              <a:ext cx="571500" cy="558800"/>
            </a:xfrm>
            <a:custGeom>
              <a:avLst/>
              <a:gdLst>
                <a:gd name="T0" fmla="*/ 0 w 39"/>
                <a:gd name="T1" fmla="*/ 26 h 38"/>
                <a:gd name="T2" fmla="*/ 11 w 39"/>
                <a:gd name="T3" fmla="*/ 0 h 38"/>
                <a:gd name="T4" fmla="*/ 37 w 39"/>
                <a:gd name="T5" fmla="*/ 10 h 38"/>
                <a:gd name="T6" fmla="*/ 26 w 39"/>
                <a:gd name="T7" fmla="*/ 37 h 38"/>
                <a:gd name="T8" fmla="*/ 0 w 39"/>
                <a:gd name="T9" fmla="*/ 2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0" y="26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34" y="4"/>
                    <a:pt x="37" y="10"/>
                  </a:cubicBezTo>
                  <a:cubicBezTo>
                    <a:pt x="39" y="17"/>
                    <a:pt x="32" y="35"/>
                    <a:pt x="26" y="37"/>
                  </a:cubicBezTo>
                  <a:cubicBezTo>
                    <a:pt x="19" y="38"/>
                    <a:pt x="0" y="26"/>
                    <a:pt x="0" y="26"/>
                  </a:cubicBezTo>
                  <a:close/>
                </a:path>
              </a:pathLst>
            </a:custGeom>
            <a:solidFill>
              <a:srgbClr val="DAE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" name="ïşļîḑé"/>
            <p:cNvSpPr/>
            <p:nvPr/>
          </p:nvSpPr>
          <p:spPr bwMode="auto">
            <a:xfrm>
              <a:off x="8259763" y="3348038"/>
              <a:ext cx="982663" cy="1001713"/>
            </a:xfrm>
            <a:custGeom>
              <a:avLst/>
              <a:gdLst>
                <a:gd name="T0" fmla="*/ 26 w 67"/>
                <a:gd name="T1" fmla="*/ 4 h 68"/>
                <a:gd name="T2" fmla="*/ 4 w 67"/>
                <a:gd name="T3" fmla="*/ 42 h 68"/>
                <a:gd name="T4" fmla="*/ 41 w 67"/>
                <a:gd name="T5" fmla="*/ 63 h 68"/>
                <a:gd name="T6" fmla="*/ 63 w 67"/>
                <a:gd name="T7" fmla="*/ 26 h 68"/>
                <a:gd name="T8" fmla="*/ 26 w 67"/>
                <a:gd name="T9" fmla="*/ 4 h 68"/>
                <a:gd name="T10" fmla="*/ 38 w 67"/>
                <a:gd name="T11" fmla="*/ 49 h 68"/>
                <a:gd name="T12" fmla="*/ 18 w 67"/>
                <a:gd name="T13" fmla="*/ 38 h 68"/>
                <a:gd name="T14" fmla="*/ 29 w 67"/>
                <a:gd name="T15" fmla="*/ 18 h 68"/>
                <a:gd name="T16" fmla="*/ 49 w 67"/>
                <a:gd name="T17" fmla="*/ 30 h 68"/>
                <a:gd name="T18" fmla="*/ 38 w 67"/>
                <a:gd name="T19" fmla="*/ 4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8">
                  <a:moveTo>
                    <a:pt x="26" y="4"/>
                  </a:moveTo>
                  <a:cubicBezTo>
                    <a:pt x="9" y="9"/>
                    <a:pt x="0" y="25"/>
                    <a:pt x="4" y="42"/>
                  </a:cubicBezTo>
                  <a:cubicBezTo>
                    <a:pt x="8" y="58"/>
                    <a:pt x="25" y="68"/>
                    <a:pt x="41" y="63"/>
                  </a:cubicBezTo>
                  <a:cubicBezTo>
                    <a:pt x="58" y="59"/>
                    <a:pt x="67" y="42"/>
                    <a:pt x="63" y="26"/>
                  </a:cubicBezTo>
                  <a:cubicBezTo>
                    <a:pt x="59" y="10"/>
                    <a:pt x="42" y="0"/>
                    <a:pt x="26" y="4"/>
                  </a:cubicBezTo>
                  <a:close/>
                  <a:moveTo>
                    <a:pt x="38" y="49"/>
                  </a:moveTo>
                  <a:cubicBezTo>
                    <a:pt x="29" y="52"/>
                    <a:pt x="20" y="47"/>
                    <a:pt x="18" y="38"/>
                  </a:cubicBezTo>
                  <a:cubicBezTo>
                    <a:pt x="16" y="29"/>
                    <a:pt x="21" y="21"/>
                    <a:pt x="29" y="18"/>
                  </a:cubicBezTo>
                  <a:cubicBezTo>
                    <a:pt x="38" y="16"/>
                    <a:pt x="47" y="21"/>
                    <a:pt x="49" y="30"/>
                  </a:cubicBezTo>
                  <a:cubicBezTo>
                    <a:pt x="51" y="38"/>
                    <a:pt x="46" y="47"/>
                    <a:pt x="38" y="49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" name="iṡ1ïḍè"/>
            <p:cNvSpPr/>
            <p:nvPr/>
          </p:nvSpPr>
          <p:spPr bwMode="auto">
            <a:xfrm>
              <a:off x="8494713" y="3275013"/>
              <a:ext cx="263525" cy="265113"/>
            </a:xfrm>
            <a:custGeom>
              <a:avLst/>
              <a:gdLst>
                <a:gd name="T0" fmla="*/ 18 w 18"/>
                <a:gd name="T1" fmla="*/ 15 h 18"/>
                <a:gd name="T2" fmla="*/ 5 w 18"/>
                <a:gd name="T3" fmla="*/ 18 h 18"/>
                <a:gd name="T4" fmla="*/ 2 w 18"/>
                <a:gd name="T5" fmla="*/ 5 h 18"/>
                <a:gd name="T6" fmla="*/ 15 w 18"/>
                <a:gd name="T7" fmla="*/ 2 h 18"/>
                <a:gd name="T8" fmla="*/ 18 w 18"/>
                <a:gd name="T9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8" y="15"/>
                  </a:move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0" y="8"/>
                    <a:pt x="2" y="5"/>
                  </a:cubicBezTo>
                  <a:cubicBezTo>
                    <a:pt x="3" y="2"/>
                    <a:pt x="12" y="0"/>
                    <a:pt x="15" y="2"/>
                  </a:cubicBezTo>
                  <a:cubicBezTo>
                    <a:pt x="18" y="4"/>
                    <a:pt x="18" y="15"/>
                    <a:pt x="18" y="15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" name="íSļíďè"/>
            <p:cNvSpPr/>
            <p:nvPr/>
          </p:nvSpPr>
          <p:spPr bwMode="auto">
            <a:xfrm>
              <a:off x="8729663" y="4157663"/>
              <a:ext cx="263525" cy="280988"/>
            </a:xfrm>
            <a:custGeom>
              <a:avLst/>
              <a:gdLst>
                <a:gd name="T0" fmla="*/ 13 w 18"/>
                <a:gd name="T1" fmla="*/ 0 h 19"/>
                <a:gd name="T2" fmla="*/ 0 w 18"/>
                <a:gd name="T3" fmla="*/ 4 h 19"/>
                <a:gd name="T4" fmla="*/ 3 w 18"/>
                <a:gd name="T5" fmla="*/ 17 h 19"/>
                <a:gd name="T6" fmla="*/ 17 w 18"/>
                <a:gd name="T7" fmla="*/ 13 h 19"/>
                <a:gd name="T8" fmla="*/ 13 w 18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9">
                  <a:moveTo>
                    <a:pt x="13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15"/>
                    <a:pt x="3" y="17"/>
                  </a:cubicBezTo>
                  <a:cubicBezTo>
                    <a:pt x="6" y="19"/>
                    <a:pt x="15" y="16"/>
                    <a:pt x="17" y="13"/>
                  </a:cubicBezTo>
                  <a:cubicBezTo>
                    <a:pt x="18" y="10"/>
                    <a:pt x="13" y="0"/>
                    <a:pt x="13" y="0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" name="işḷïḍe"/>
            <p:cNvSpPr/>
            <p:nvPr/>
          </p:nvSpPr>
          <p:spPr bwMode="auto">
            <a:xfrm>
              <a:off x="8215313" y="3495676"/>
              <a:ext cx="279400" cy="279400"/>
            </a:xfrm>
            <a:custGeom>
              <a:avLst/>
              <a:gdLst>
                <a:gd name="T0" fmla="*/ 19 w 19"/>
                <a:gd name="T1" fmla="*/ 6 h 19"/>
                <a:gd name="T2" fmla="*/ 13 w 19"/>
                <a:gd name="T3" fmla="*/ 19 h 19"/>
                <a:gd name="T4" fmla="*/ 1 w 19"/>
                <a:gd name="T5" fmla="*/ 14 h 19"/>
                <a:gd name="T6" fmla="*/ 7 w 19"/>
                <a:gd name="T7" fmla="*/ 1 h 19"/>
                <a:gd name="T8" fmla="*/ 19 w 19"/>
                <a:gd name="T9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9" y="6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2" y="17"/>
                    <a:pt x="1" y="14"/>
                  </a:cubicBezTo>
                  <a:cubicBezTo>
                    <a:pt x="0" y="11"/>
                    <a:pt x="3" y="2"/>
                    <a:pt x="7" y="1"/>
                  </a:cubicBezTo>
                  <a:cubicBezTo>
                    <a:pt x="10" y="0"/>
                    <a:pt x="19" y="6"/>
                    <a:pt x="19" y="6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" name="íṧḻíḍê"/>
            <p:cNvSpPr/>
            <p:nvPr/>
          </p:nvSpPr>
          <p:spPr bwMode="auto">
            <a:xfrm>
              <a:off x="8170863" y="3849688"/>
              <a:ext cx="250825" cy="265113"/>
            </a:xfrm>
            <a:custGeom>
              <a:avLst/>
              <a:gdLst>
                <a:gd name="T0" fmla="*/ 16 w 17"/>
                <a:gd name="T1" fmla="*/ 1 h 18"/>
                <a:gd name="T2" fmla="*/ 17 w 17"/>
                <a:gd name="T3" fmla="*/ 15 h 18"/>
                <a:gd name="T4" fmla="*/ 4 w 17"/>
                <a:gd name="T5" fmla="*/ 16 h 18"/>
                <a:gd name="T6" fmla="*/ 3 w 17"/>
                <a:gd name="T7" fmla="*/ 2 h 18"/>
                <a:gd name="T8" fmla="*/ 16 w 17"/>
                <a:gd name="T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16" y="1"/>
                  </a:move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7" y="18"/>
                    <a:pt x="4" y="16"/>
                  </a:cubicBezTo>
                  <a:cubicBezTo>
                    <a:pt x="1" y="14"/>
                    <a:pt x="0" y="5"/>
                    <a:pt x="3" y="2"/>
                  </a:cubicBezTo>
                  <a:cubicBezTo>
                    <a:pt x="5" y="0"/>
                    <a:pt x="16" y="1"/>
                    <a:pt x="16" y="1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" name="ísļîďè"/>
            <p:cNvSpPr/>
            <p:nvPr/>
          </p:nvSpPr>
          <p:spPr bwMode="auto">
            <a:xfrm>
              <a:off x="9066213" y="3598863"/>
              <a:ext cx="265113" cy="265113"/>
            </a:xfrm>
            <a:custGeom>
              <a:avLst/>
              <a:gdLst>
                <a:gd name="T0" fmla="*/ 3 w 18"/>
                <a:gd name="T1" fmla="*/ 18 h 18"/>
                <a:gd name="T2" fmla="*/ 0 w 18"/>
                <a:gd name="T3" fmla="*/ 5 h 18"/>
                <a:gd name="T4" fmla="*/ 13 w 18"/>
                <a:gd name="T5" fmla="*/ 2 h 18"/>
                <a:gd name="T6" fmla="*/ 16 w 18"/>
                <a:gd name="T7" fmla="*/ 16 h 18"/>
                <a:gd name="T8" fmla="*/ 3 w 18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3" y="18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10" y="0"/>
                    <a:pt x="13" y="2"/>
                  </a:cubicBezTo>
                  <a:cubicBezTo>
                    <a:pt x="16" y="4"/>
                    <a:pt x="18" y="13"/>
                    <a:pt x="16" y="16"/>
                  </a:cubicBezTo>
                  <a:cubicBezTo>
                    <a:pt x="14" y="18"/>
                    <a:pt x="3" y="18"/>
                    <a:pt x="3" y="18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" name="îsļîḍè"/>
            <p:cNvSpPr/>
            <p:nvPr/>
          </p:nvSpPr>
          <p:spPr bwMode="auto">
            <a:xfrm>
              <a:off x="8847138" y="3319463"/>
              <a:ext cx="277813" cy="293688"/>
            </a:xfrm>
            <a:custGeom>
              <a:avLst/>
              <a:gdLst>
                <a:gd name="T0" fmla="*/ 0 w 19"/>
                <a:gd name="T1" fmla="*/ 11 h 20"/>
                <a:gd name="T2" fmla="*/ 11 w 19"/>
                <a:gd name="T3" fmla="*/ 20 h 20"/>
                <a:gd name="T4" fmla="*/ 19 w 19"/>
                <a:gd name="T5" fmla="*/ 9 h 20"/>
                <a:gd name="T6" fmla="*/ 8 w 19"/>
                <a:gd name="T7" fmla="*/ 1 h 20"/>
                <a:gd name="T8" fmla="*/ 0 w 19"/>
                <a:gd name="T9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0" y="11"/>
                  </a:move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9" y="13"/>
                    <a:pt x="19" y="9"/>
                  </a:cubicBezTo>
                  <a:cubicBezTo>
                    <a:pt x="18" y="6"/>
                    <a:pt x="11" y="0"/>
                    <a:pt x="8" y="1"/>
                  </a:cubicBezTo>
                  <a:cubicBezTo>
                    <a:pt x="5" y="2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" name="ïṩlîḑe"/>
            <p:cNvSpPr/>
            <p:nvPr/>
          </p:nvSpPr>
          <p:spPr bwMode="auto">
            <a:xfrm>
              <a:off x="8347075" y="4098926"/>
              <a:ext cx="279400" cy="295275"/>
            </a:xfrm>
            <a:custGeom>
              <a:avLst/>
              <a:gdLst>
                <a:gd name="T0" fmla="*/ 19 w 19"/>
                <a:gd name="T1" fmla="*/ 9 h 20"/>
                <a:gd name="T2" fmla="*/ 8 w 19"/>
                <a:gd name="T3" fmla="*/ 0 h 20"/>
                <a:gd name="T4" fmla="*/ 0 w 19"/>
                <a:gd name="T5" fmla="*/ 11 h 20"/>
                <a:gd name="T6" fmla="*/ 11 w 19"/>
                <a:gd name="T7" fmla="*/ 19 h 20"/>
                <a:gd name="T8" fmla="*/ 19 w 19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19" y="9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8"/>
                    <a:pt x="0" y="11"/>
                  </a:cubicBezTo>
                  <a:cubicBezTo>
                    <a:pt x="1" y="14"/>
                    <a:pt x="8" y="20"/>
                    <a:pt x="11" y="19"/>
                  </a:cubicBezTo>
                  <a:cubicBezTo>
                    <a:pt x="14" y="18"/>
                    <a:pt x="19" y="9"/>
                    <a:pt x="19" y="9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" name="ïş1iďê"/>
            <p:cNvSpPr/>
            <p:nvPr/>
          </p:nvSpPr>
          <p:spPr bwMode="auto">
            <a:xfrm>
              <a:off x="9021763" y="3937001"/>
              <a:ext cx="279400" cy="279400"/>
            </a:xfrm>
            <a:custGeom>
              <a:avLst/>
              <a:gdLst>
                <a:gd name="T0" fmla="*/ 0 w 19"/>
                <a:gd name="T1" fmla="*/ 13 h 19"/>
                <a:gd name="T2" fmla="*/ 5 w 19"/>
                <a:gd name="T3" fmla="*/ 0 h 19"/>
                <a:gd name="T4" fmla="*/ 17 w 19"/>
                <a:gd name="T5" fmla="*/ 6 h 19"/>
                <a:gd name="T6" fmla="*/ 12 w 19"/>
                <a:gd name="T7" fmla="*/ 18 h 19"/>
                <a:gd name="T8" fmla="*/ 0 w 19"/>
                <a:gd name="T9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0" y="13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16" y="3"/>
                    <a:pt x="17" y="6"/>
                  </a:cubicBezTo>
                  <a:cubicBezTo>
                    <a:pt x="19" y="9"/>
                    <a:pt x="15" y="17"/>
                    <a:pt x="12" y="18"/>
                  </a:cubicBezTo>
                  <a:cubicBezTo>
                    <a:pt x="9" y="19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" name="iSļîdê"/>
            <p:cNvSpPr/>
            <p:nvPr/>
          </p:nvSpPr>
          <p:spPr bwMode="auto">
            <a:xfrm>
              <a:off x="3887788" y="1303338"/>
              <a:ext cx="982663" cy="1000125"/>
            </a:xfrm>
            <a:custGeom>
              <a:avLst/>
              <a:gdLst>
                <a:gd name="T0" fmla="*/ 26 w 67"/>
                <a:gd name="T1" fmla="*/ 4 h 68"/>
                <a:gd name="T2" fmla="*/ 4 w 67"/>
                <a:gd name="T3" fmla="*/ 42 h 68"/>
                <a:gd name="T4" fmla="*/ 41 w 67"/>
                <a:gd name="T5" fmla="*/ 63 h 68"/>
                <a:gd name="T6" fmla="*/ 63 w 67"/>
                <a:gd name="T7" fmla="*/ 26 h 68"/>
                <a:gd name="T8" fmla="*/ 26 w 67"/>
                <a:gd name="T9" fmla="*/ 4 h 68"/>
                <a:gd name="T10" fmla="*/ 38 w 67"/>
                <a:gd name="T11" fmla="*/ 49 h 68"/>
                <a:gd name="T12" fmla="*/ 18 w 67"/>
                <a:gd name="T13" fmla="*/ 38 h 68"/>
                <a:gd name="T14" fmla="*/ 29 w 67"/>
                <a:gd name="T15" fmla="*/ 18 h 68"/>
                <a:gd name="T16" fmla="*/ 49 w 67"/>
                <a:gd name="T17" fmla="*/ 30 h 68"/>
                <a:gd name="T18" fmla="*/ 38 w 67"/>
                <a:gd name="T19" fmla="*/ 4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8">
                  <a:moveTo>
                    <a:pt x="26" y="4"/>
                  </a:moveTo>
                  <a:cubicBezTo>
                    <a:pt x="9" y="9"/>
                    <a:pt x="0" y="25"/>
                    <a:pt x="4" y="42"/>
                  </a:cubicBezTo>
                  <a:cubicBezTo>
                    <a:pt x="8" y="58"/>
                    <a:pt x="25" y="68"/>
                    <a:pt x="41" y="63"/>
                  </a:cubicBezTo>
                  <a:cubicBezTo>
                    <a:pt x="58" y="59"/>
                    <a:pt x="67" y="42"/>
                    <a:pt x="63" y="26"/>
                  </a:cubicBezTo>
                  <a:cubicBezTo>
                    <a:pt x="59" y="10"/>
                    <a:pt x="42" y="0"/>
                    <a:pt x="26" y="4"/>
                  </a:cubicBezTo>
                  <a:close/>
                  <a:moveTo>
                    <a:pt x="38" y="49"/>
                  </a:moveTo>
                  <a:cubicBezTo>
                    <a:pt x="29" y="52"/>
                    <a:pt x="20" y="47"/>
                    <a:pt x="18" y="38"/>
                  </a:cubicBezTo>
                  <a:cubicBezTo>
                    <a:pt x="16" y="29"/>
                    <a:pt x="21" y="21"/>
                    <a:pt x="29" y="18"/>
                  </a:cubicBezTo>
                  <a:cubicBezTo>
                    <a:pt x="38" y="16"/>
                    <a:pt x="47" y="21"/>
                    <a:pt x="49" y="30"/>
                  </a:cubicBezTo>
                  <a:cubicBezTo>
                    <a:pt x="51" y="38"/>
                    <a:pt x="46" y="47"/>
                    <a:pt x="38" y="49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" name="ïṣḻiḑè"/>
            <p:cNvSpPr/>
            <p:nvPr/>
          </p:nvSpPr>
          <p:spPr bwMode="auto">
            <a:xfrm>
              <a:off x="4122738" y="1228726"/>
              <a:ext cx="263525" cy="265113"/>
            </a:xfrm>
            <a:custGeom>
              <a:avLst/>
              <a:gdLst>
                <a:gd name="T0" fmla="*/ 18 w 18"/>
                <a:gd name="T1" fmla="*/ 14 h 18"/>
                <a:gd name="T2" fmla="*/ 5 w 18"/>
                <a:gd name="T3" fmla="*/ 18 h 18"/>
                <a:gd name="T4" fmla="*/ 2 w 18"/>
                <a:gd name="T5" fmla="*/ 5 h 18"/>
                <a:gd name="T6" fmla="*/ 15 w 18"/>
                <a:gd name="T7" fmla="*/ 2 h 18"/>
                <a:gd name="T8" fmla="*/ 18 w 18"/>
                <a:gd name="T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8" y="14"/>
                  </a:move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0" y="8"/>
                    <a:pt x="2" y="5"/>
                  </a:cubicBezTo>
                  <a:cubicBezTo>
                    <a:pt x="3" y="2"/>
                    <a:pt x="12" y="0"/>
                    <a:pt x="15" y="2"/>
                  </a:cubicBezTo>
                  <a:cubicBezTo>
                    <a:pt x="18" y="4"/>
                    <a:pt x="18" y="14"/>
                    <a:pt x="18" y="14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" name="îŝ1iḓê"/>
            <p:cNvSpPr/>
            <p:nvPr/>
          </p:nvSpPr>
          <p:spPr bwMode="auto">
            <a:xfrm>
              <a:off x="4356100" y="2112963"/>
              <a:ext cx="265113" cy="263525"/>
            </a:xfrm>
            <a:custGeom>
              <a:avLst/>
              <a:gdLst>
                <a:gd name="T0" fmla="*/ 13 w 18"/>
                <a:gd name="T1" fmla="*/ 0 h 18"/>
                <a:gd name="T2" fmla="*/ 0 w 18"/>
                <a:gd name="T3" fmla="*/ 4 h 18"/>
                <a:gd name="T4" fmla="*/ 3 w 18"/>
                <a:gd name="T5" fmla="*/ 17 h 18"/>
                <a:gd name="T6" fmla="*/ 17 w 18"/>
                <a:gd name="T7" fmla="*/ 13 h 18"/>
                <a:gd name="T8" fmla="*/ 13 w 1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3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15"/>
                    <a:pt x="3" y="17"/>
                  </a:cubicBezTo>
                  <a:cubicBezTo>
                    <a:pt x="6" y="18"/>
                    <a:pt x="15" y="16"/>
                    <a:pt x="17" y="13"/>
                  </a:cubicBezTo>
                  <a:cubicBezTo>
                    <a:pt x="18" y="10"/>
                    <a:pt x="13" y="0"/>
                    <a:pt x="13" y="0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" name="ïṩļíďê"/>
            <p:cNvSpPr/>
            <p:nvPr/>
          </p:nvSpPr>
          <p:spPr bwMode="auto">
            <a:xfrm>
              <a:off x="3843338" y="1449388"/>
              <a:ext cx="279400" cy="280988"/>
            </a:xfrm>
            <a:custGeom>
              <a:avLst/>
              <a:gdLst>
                <a:gd name="T0" fmla="*/ 19 w 19"/>
                <a:gd name="T1" fmla="*/ 6 h 19"/>
                <a:gd name="T2" fmla="*/ 13 w 19"/>
                <a:gd name="T3" fmla="*/ 19 h 19"/>
                <a:gd name="T4" fmla="*/ 1 w 19"/>
                <a:gd name="T5" fmla="*/ 14 h 19"/>
                <a:gd name="T6" fmla="*/ 7 w 19"/>
                <a:gd name="T7" fmla="*/ 1 h 19"/>
                <a:gd name="T8" fmla="*/ 19 w 19"/>
                <a:gd name="T9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9" y="6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2" y="17"/>
                    <a:pt x="1" y="14"/>
                  </a:cubicBezTo>
                  <a:cubicBezTo>
                    <a:pt x="0" y="10"/>
                    <a:pt x="3" y="2"/>
                    <a:pt x="7" y="1"/>
                  </a:cubicBezTo>
                  <a:cubicBezTo>
                    <a:pt x="10" y="0"/>
                    <a:pt x="19" y="6"/>
                    <a:pt x="19" y="6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" name="îṧ1îḑè"/>
            <p:cNvSpPr/>
            <p:nvPr/>
          </p:nvSpPr>
          <p:spPr bwMode="auto">
            <a:xfrm>
              <a:off x="3798888" y="1803401"/>
              <a:ext cx="249238" cy="265113"/>
            </a:xfrm>
            <a:custGeom>
              <a:avLst/>
              <a:gdLst>
                <a:gd name="T0" fmla="*/ 16 w 17"/>
                <a:gd name="T1" fmla="*/ 1 h 18"/>
                <a:gd name="T2" fmla="*/ 17 w 17"/>
                <a:gd name="T3" fmla="*/ 15 h 18"/>
                <a:gd name="T4" fmla="*/ 4 w 17"/>
                <a:gd name="T5" fmla="*/ 16 h 18"/>
                <a:gd name="T6" fmla="*/ 3 w 17"/>
                <a:gd name="T7" fmla="*/ 2 h 18"/>
                <a:gd name="T8" fmla="*/ 16 w 17"/>
                <a:gd name="T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16" y="1"/>
                  </a:move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7" y="18"/>
                    <a:pt x="4" y="16"/>
                  </a:cubicBezTo>
                  <a:cubicBezTo>
                    <a:pt x="1" y="14"/>
                    <a:pt x="0" y="5"/>
                    <a:pt x="3" y="2"/>
                  </a:cubicBezTo>
                  <a:cubicBezTo>
                    <a:pt x="5" y="0"/>
                    <a:pt x="16" y="1"/>
                    <a:pt x="16" y="1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" name="ï$lîḑê"/>
            <p:cNvSpPr/>
            <p:nvPr/>
          </p:nvSpPr>
          <p:spPr bwMode="auto">
            <a:xfrm>
              <a:off x="4694238" y="1552576"/>
              <a:ext cx="263525" cy="265113"/>
            </a:xfrm>
            <a:custGeom>
              <a:avLst/>
              <a:gdLst>
                <a:gd name="T0" fmla="*/ 3 w 18"/>
                <a:gd name="T1" fmla="*/ 18 h 18"/>
                <a:gd name="T2" fmla="*/ 0 w 18"/>
                <a:gd name="T3" fmla="*/ 5 h 18"/>
                <a:gd name="T4" fmla="*/ 13 w 18"/>
                <a:gd name="T5" fmla="*/ 2 h 18"/>
                <a:gd name="T6" fmla="*/ 16 w 18"/>
                <a:gd name="T7" fmla="*/ 16 h 18"/>
                <a:gd name="T8" fmla="*/ 3 w 18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3" y="18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10" y="0"/>
                    <a:pt x="13" y="2"/>
                  </a:cubicBezTo>
                  <a:cubicBezTo>
                    <a:pt x="16" y="4"/>
                    <a:pt x="18" y="13"/>
                    <a:pt x="16" y="16"/>
                  </a:cubicBezTo>
                  <a:cubicBezTo>
                    <a:pt x="14" y="18"/>
                    <a:pt x="3" y="18"/>
                    <a:pt x="3" y="18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4" name="ïS1îďé"/>
            <p:cNvSpPr/>
            <p:nvPr/>
          </p:nvSpPr>
          <p:spPr bwMode="auto">
            <a:xfrm>
              <a:off x="4473575" y="1273176"/>
              <a:ext cx="279400" cy="295275"/>
            </a:xfrm>
            <a:custGeom>
              <a:avLst/>
              <a:gdLst>
                <a:gd name="T0" fmla="*/ 0 w 19"/>
                <a:gd name="T1" fmla="*/ 11 h 20"/>
                <a:gd name="T2" fmla="*/ 11 w 19"/>
                <a:gd name="T3" fmla="*/ 20 h 20"/>
                <a:gd name="T4" fmla="*/ 19 w 19"/>
                <a:gd name="T5" fmla="*/ 9 h 20"/>
                <a:gd name="T6" fmla="*/ 8 w 19"/>
                <a:gd name="T7" fmla="*/ 1 h 20"/>
                <a:gd name="T8" fmla="*/ 0 w 19"/>
                <a:gd name="T9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0" y="11"/>
                  </a:move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9" y="13"/>
                    <a:pt x="19" y="9"/>
                  </a:cubicBezTo>
                  <a:cubicBezTo>
                    <a:pt x="18" y="6"/>
                    <a:pt x="11" y="0"/>
                    <a:pt x="8" y="1"/>
                  </a:cubicBezTo>
                  <a:cubicBezTo>
                    <a:pt x="5" y="2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5" name="íšḷïďê"/>
            <p:cNvSpPr/>
            <p:nvPr/>
          </p:nvSpPr>
          <p:spPr bwMode="auto">
            <a:xfrm>
              <a:off x="3975100" y="2052638"/>
              <a:ext cx="279400" cy="295275"/>
            </a:xfrm>
            <a:custGeom>
              <a:avLst/>
              <a:gdLst>
                <a:gd name="T0" fmla="*/ 19 w 19"/>
                <a:gd name="T1" fmla="*/ 9 h 20"/>
                <a:gd name="T2" fmla="*/ 8 w 19"/>
                <a:gd name="T3" fmla="*/ 0 h 20"/>
                <a:gd name="T4" fmla="*/ 0 w 19"/>
                <a:gd name="T5" fmla="*/ 11 h 20"/>
                <a:gd name="T6" fmla="*/ 11 w 19"/>
                <a:gd name="T7" fmla="*/ 19 h 20"/>
                <a:gd name="T8" fmla="*/ 19 w 19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19" y="9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8"/>
                    <a:pt x="0" y="11"/>
                  </a:cubicBezTo>
                  <a:cubicBezTo>
                    <a:pt x="1" y="14"/>
                    <a:pt x="8" y="20"/>
                    <a:pt x="11" y="19"/>
                  </a:cubicBezTo>
                  <a:cubicBezTo>
                    <a:pt x="14" y="18"/>
                    <a:pt x="19" y="9"/>
                    <a:pt x="19" y="9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6" name="iṣlíḍè"/>
            <p:cNvSpPr/>
            <p:nvPr/>
          </p:nvSpPr>
          <p:spPr bwMode="auto">
            <a:xfrm>
              <a:off x="4649788" y="1890713"/>
              <a:ext cx="279400" cy="280988"/>
            </a:xfrm>
            <a:custGeom>
              <a:avLst/>
              <a:gdLst>
                <a:gd name="T0" fmla="*/ 0 w 19"/>
                <a:gd name="T1" fmla="*/ 13 h 19"/>
                <a:gd name="T2" fmla="*/ 5 w 19"/>
                <a:gd name="T3" fmla="*/ 0 h 19"/>
                <a:gd name="T4" fmla="*/ 17 w 19"/>
                <a:gd name="T5" fmla="*/ 6 h 19"/>
                <a:gd name="T6" fmla="*/ 12 w 19"/>
                <a:gd name="T7" fmla="*/ 18 h 19"/>
                <a:gd name="T8" fmla="*/ 0 w 19"/>
                <a:gd name="T9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0" y="13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16" y="3"/>
                    <a:pt x="17" y="6"/>
                  </a:cubicBezTo>
                  <a:cubicBezTo>
                    <a:pt x="19" y="9"/>
                    <a:pt x="15" y="17"/>
                    <a:pt x="12" y="18"/>
                  </a:cubicBezTo>
                  <a:cubicBezTo>
                    <a:pt x="9" y="19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C8EE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7" name="iŝ1îďe"/>
            <p:cNvSpPr/>
            <p:nvPr/>
          </p:nvSpPr>
          <p:spPr bwMode="auto">
            <a:xfrm>
              <a:off x="3359150" y="2641601"/>
              <a:ext cx="4503738" cy="2620963"/>
            </a:xfrm>
            <a:custGeom>
              <a:avLst/>
              <a:gdLst>
                <a:gd name="T0" fmla="*/ 294 w 307"/>
                <a:gd name="T1" fmla="*/ 0 h 178"/>
                <a:gd name="T2" fmla="*/ 307 w 307"/>
                <a:gd name="T3" fmla="*/ 14 h 178"/>
                <a:gd name="T4" fmla="*/ 307 w 307"/>
                <a:gd name="T5" fmla="*/ 164 h 178"/>
                <a:gd name="T6" fmla="*/ 293 w 307"/>
                <a:gd name="T7" fmla="*/ 177 h 178"/>
                <a:gd name="T8" fmla="*/ 14 w 307"/>
                <a:gd name="T9" fmla="*/ 177 h 178"/>
                <a:gd name="T10" fmla="*/ 0 w 307"/>
                <a:gd name="T11" fmla="*/ 163 h 178"/>
                <a:gd name="T12" fmla="*/ 1 w 307"/>
                <a:gd name="T13" fmla="*/ 13 h 178"/>
                <a:gd name="T14" fmla="*/ 14 w 307"/>
                <a:gd name="T15" fmla="*/ 0 h 178"/>
                <a:gd name="T16" fmla="*/ 294 w 307"/>
                <a:gd name="T17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7" h="178">
                  <a:moveTo>
                    <a:pt x="294" y="0"/>
                  </a:moveTo>
                  <a:cubicBezTo>
                    <a:pt x="301" y="0"/>
                    <a:pt x="307" y="7"/>
                    <a:pt x="307" y="14"/>
                  </a:cubicBezTo>
                  <a:cubicBezTo>
                    <a:pt x="307" y="164"/>
                    <a:pt x="307" y="164"/>
                    <a:pt x="307" y="164"/>
                  </a:cubicBezTo>
                  <a:cubicBezTo>
                    <a:pt x="307" y="171"/>
                    <a:pt x="301" y="178"/>
                    <a:pt x="293" y="177"/>
                  </a:cubicBezTo>
                  <a:cubicBezTo>
                    <a:pt x="14" y="177"/>
                    <a:pt x="14" y="177"/>
                    <a:pt x="14" y="177"/>
                  </a:cubicBezTo>
                  <a:cubicBezTo>
                    <a:pt x="6" y="177"/>
                    <a:pt x="0" y="171"/>
                    <a:pt x="0" y="16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6"/>
                    <a:pt x="7" y="0"/>
                    <a:pt x="14" y="0"/>
                  </a:cubicBezTo>
                  <a:lnTo>
                    <a:pt x="294" y="0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8" name="îS1îdè"/>
            <p:cNvSpPr/>
            <p:nvPr/>
          </p:nvSpPr>
          <p:spPr bwMode="auto">
            <a:xfrm>
              <a:off x="3638550" y="2847976"/>
              <a:ext cx="3594100" cy="2208213"/>
            </a:xfrm>
            <a:custGeom>
              <a:avLst/>
              <a:gdLst>
                <a:gd name="T0" fmla="*/ 2264 w 2264"/>
                <a:gd name="T1" fmla="*/ 9 h 1391"/>
                <a:gd name="T2" fmla="*/ 2255 w 2264"/>
                <a:gd name="T3" fmla="*/ 1391 h 1391"/>
                <a:gd name="T4" fmla="*/ 0 w 2264"/>
                <a:gd name="T5" fmla="*/ 1382 h 1391"/>
                <a:gd name="T6" fmla="*/ 9 w 2264"/>
                <a:gd name="T7" fmla="*/ 0 h 1391"/>
                <a:gd name="T8" fmla="*/ 2264 w 2264"/>
                <a:gd name="T9" fmla="*/ 9 h 1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64" h="1391">
                  <a:moveTo>
                    <a:pt x="2264" y="9"/>
                  </a:moveTo>
                  <a:lnTo>
                    <a:pt x="2255" y="1391"/>
                  </a:lnTo>
                  <a:lnTo>
                    <a:pt x="0" y="1382"/>
                  </a:lnTo>
                  <a:lnTo>
                    <a:pt x="9" y="0"/>
                  </a:lnTo>
                  <a:lnTo>
                    <a:pt x="2264" y="9"/>
                  </a:lnTo>
                  <a:close/>
                </a:path>
              </a:pathLst>
            </a:custGeom>
            <a:solidFill>
              <a:srgbClr val="B9D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9" name="iş1iḋé"/>
            <p:cNvSpPr/>
            <p:nvPr/>
          </p:nvSpPr>
          <p:spPr bwMode="auto">
            <a:xfrm>
              <a:off x="7350125" y="3760788"/>
              <a:ext cx="366713" cy="382588"/>
            </a:xfrm>
            <a:prstGeom prst="ellipse">
              <a:avLst/>
            </a:prstGeom>
            <a:solidFill>
              <a:srgbClr val="ECEB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0" name="îSļïďe"/>
            <p:cNvSpPr/>
            <p:nvPr/>
          </p:nvSpPr>
          <p:spPr bwMode="auto">
            <a:xfrm>
              <a:off x="2860675" y="3643313"/>
              <a:ext cx="2597150" cy="1177925"/>
            </a:xfrm>
            <a:prstGeom prst="rect">
              <a:avLst/>
            </a:prstGeom>
            <a:solidFill>
              <a:srgbClr val="EE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1" name="iṧḻiḓê"/>
            <p:cNvSpPr/>
            <p:nvPr/>
          </p:nvSpPr>
          <p:spPr bwMode="auto">
            <a:xfrm>
              <a:off x="3036888" y="3952876"/>
              <a:ext cx="176213" cy="720725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2" name="iṣḻïḍê"/>
            <p:cNvSpPr/>
            <p:nvPr/>
          </p:nvSpPr>
          <p:spPr bwMode="auto">
            <a:xfrm>
              <a:off x="3255963" y="4143376"/>
              <a:ext cx="206375" cy="530225"/>
            </a:xfrm>
            <a:prstGeom prst="rect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3" name="ïś1ïdê"/>
            <p:cNvSpPr/>
            <p:nvPr/>
          </p:nvSpPr>
          <p:spPr bwMode="auto">
            <a:xfrm>
              <a:off x="3521075" y="4054476"/>
              <a:ext cx="190500" cy="619125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4" name="îšḷíďe"/>
            <p:cNvSpPr/>
            <p:nvPr/>
          </p:nvSpPr>
          <p:spPr bwMode="auto">
            <a:xfrm>
              <a:off x="3740150" y="4305301"/>
              <a:ext cx="206375" cy="368300"/>
            </a:xfrm>
            <a:prstGeom prst="rect">
              <a:avLst/>
            </a:pr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5" name="ïšlíḑè"/>
            <p:cNvSpPr/>
            <p:nvPr/>
          </p:nvSpPr>
          <p:spPr bwMode="auto">
            <a:xfrm>
              <a:off x="4283075" y="4187826"/>
              <a:ext cx="1041400" cy="485775"/>
            </a:xfrm>
            <a:custGeom>
              <a:avLst/>
              <a:gdLst>
                <a:gd name="T0" fmla="*/ 0 w 71"/>
                <a:gd name="T1" fmla="*/ 6 h 33"/>
                <a:gd name="T2" fmla="*/ 10 w 71"/>
                <a:gd name="T3" fmla="*/ 0 h 33"/>
                <a:gd name="T4" fmla="*/ 16 w 71"/>
                <a:gd name="T5" fmla="*/ 3 h 33"/>
                <a:gd name="T6" fmla="*/ 26 w 71"/>
                <a:gd name="T7" fmla="*/ 13 h 33"/>
                <a:gd name="T8" fmla="*/ 34 w 71"/>
                <a:gd name="T9" fmla="*/ 6 h 33"/>
                <a:gd name="T10" fmla="*/ 37 w 71"/>
                <a:gd name="T11" fmla="*/ 8 h 33"/>
                <a:gd name="T12" fmla="*/ 42 w 71"/>
                <a:gd name="T13" fmla="*/ 11 h 33"/>
                <a:gd name="T14" fmla="*/ 47 w 71"/>
                <a:gd name="T15" fmla="*/ 13 h 33"/>
                <a:gd name="T16" fmla="*/ 57 w 71"/>
                <a:gd name="T17" fmla="*/ 14 h 33"/>
                <a:gd name="T18" fmla="*/ 61 w 71"/>
                <a:gd name="T19" fmla="*/ 22 h 33"/>
                <a:gd name="T20" fmla="*/ 71 w 71"/>
                <a:gd name="T21" fmla="*/ 21 h 33"/>
                <a:gd name="T22" fmla="*/ 71 w 71"/>
                <a:gd name="T23" fmla="*/ 33 h 33"/>
                <a:gd name="T24" fmla="*/ 0 w 71"/>
                <a:gd name="T25" fmla="*/ 33 h 33"/>
                <a:gd name="T26" fmla="*/ 0 w 71"/>
                <a:gd name="T27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1" h="33">
                  <a:moveTo>
                    <a:pt x="0" y="6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13"/>
                    <a:pt x="55" y="14"/>
                    <a:pt x="57" y="14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0" y="33"/>
                    <a:pt x="0" y="33"/>
                    <a:pt x="0" y="33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6" name="ïśḷïḍe"/>
            <p:cNvSpPr/>
            <p:nvPr/>
          </p:nvSpPr>
          <p:spPr bwMode="auto">
            <a:xfrm>
              <a:off x="4283075" y="4481513"/>
              <a:ext cx="1041400" cy="192088"/>
            </a:xfrm>
            <a:custGeom>
              <a:avLst/>
              <a:gdLst>
                <a:gd name="T0" fmla="*/ 0 w 656"/>
                <a:gd name="T1" fmla="*/ 47 h 121"/>
                <a:gd name="T2" fmla="*/ 93 w 656"/>
                <a:gd name="T3" fmla="*/ 0 h 121"/>
                <a:gd name="T4" fmla="*/ 130 w 656"/>
                <a:gd name="T5" fmla="*/ 37 h 121"/>
                <a:gd name="T6" fmla="*/ 167 w 656"/>
                <a:gd name="T7" fmla="*/ 47 h 121"/>
                <a:gd name="T8" fmla="*/ 250 w 656"/>
                <a:gd name="T9" fmla="*/ 19 h 121"/>
                <a:gd name="T10" fmla="*/ 296 w 656"/>
                <a:gd name="T11" fmla="*/ 47 h 121"/>
                <a:gd name="T12" fmla="*/ 361 w 656"/>
                <a:gd name="T13" fmla="*/ 75 h 121"/>
                <a:gd name="T14" fmla="*/ 435 w 656"/>
                <a:gd name="T15" fmla="*/ 93 h 121"/>
                <a:gd name="T16" fmla="*/ 527 w 656"/>
                <a:gd name="T17" fmla="*/ 93 h 121"/>
                <a:gd name="T18" fmla="*/ 583 w 656"/>
                <a:gd name="T19" fmla="*/ 93 h 121"/>
                <a:gd name="T20" fmla="*/ 656 w 656"/>
                <a:gd name="T21" fmla="*/ 121 h 121"/>
                <a:gd name="T22" fmla="*/ 0 w 656"/>
                <a:gd name="T23" fmla="*/ 121 h 121"/>
                <a:gd name="T24" fmla="*/ 0 w 656"/>
                <a:gd name="T25" fmla="*/ 47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6" h="121">
                  <a:moveTo>
                    <a:pt x="0" y="47"/>
                  </a:moveTo>
                  <a:lnTo>
                    <a:pt x="93" y="0"/>
                  </a:lnTo>
                  <a:lnTo>
                    <a:pt x="130" y="37"/>
                  </a:lnTo>
                  <a:lnTo>
                    <a:pt x="167" y="47"/>
                  </a:lnTo>
                  <a:lnTo>
                    <a:pt x="250" y="19"/>
                  </a:lnTo>
                  <a:lnTo>
                    <a:pt x="296" y="47"/>
                  </a:lnTo>
                  <a:lnTo>
                    <a:pt x="361" y="75"/>
                  </a:lnTo>
                  <a:lnTo>
                    <a:pt x="435" y="93"/>
                  </a:lnTo>
                  <a:lnTo>
                    <a:pt x="527" y="93"/>
                  </a:lnTo>
                  <a:lnTo>
                    <a:pt x="583" y="93"/>
                  </a:lnTo>
                  <a:lnTo>
                    <a:pt x="656" y="121"/>
                  </a:lnTo>
                  <a:lnTo>
                    <a:pt x="0" y="121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7" name="íṡľíḍé"/>
            <p:cNvSpPr/>
            <p:nvPr/>
          </p:nvSpPr>
          <p:spPr bwMode="auto">
            <a:xfrm>
              <a:off x="5749925" y="4202113"/>
              <a:ext cx="660400" cy="1060450"/>
            </a:xfrm>
            <a:custGeom>
              <a:avLst/>
              <a:gdLst>
                <a:gd name="T0" fmla="*/ 416 w 416"/>
                <a:gd name="T1" fmla="*/ 659 h 668"/>
                <a:gd name="T2" fmla="*/ 0 w 416"/>
                <a:gd name="T3" fmla="*/ 668 h 668"/>
                <a:gd name="T4" fmla="*/ 10 w 416"/>
                <a:gd name="T5" fmla="*/ 0 h 668"/>
                <a:gd name="T6" fmla="*/ 416 w 416"/>
                <a:gd name="T7" fmla="*/ 0 h 668"/>
                <a:gd name="T8" fmla="*/ 416 w 416"/>
                <a:gd name="T9" fmla="*/ 659 h 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6" h="668">
                  <a:moveTo>
                    <a:pt x="416" y="659"/>
                  </a:moveTo>
                  <a:lnTo>
                    <a:pt x="0" y="668"/>
                  </a:lnTo>
                  <a:lnTo>
                    <a:pt x="10" y="0"/>
                  </a:lnTo>
                  <a:lnTo>
                    <a:pt x="416" y="0"/>
                  </a:lnTo>
                  <a:lnTo>
                    <a:pt x="416" y="659"/>
                  </a:lnTo>
                  <a:close/>
                </a:path>
              </a:pathLst>
            </a:cu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8" name="î$ľiḋe"/>
            <p:cNvSpPr/>
            <p:nvPr/>
          </p:nvSpPr>
          <p:spPr bwMode="auto">
            <a:xfrm>
              <a:off x="6557963" y="4481513"/>
              <a:ext cx="703263" cy="766763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9" name="îšḻîḋe"/>
            <p:cNvSpPr/>
            <p:nvPr/>
          </p:nvSpPr>
          <p:spPr bwMode="auto">
            <a:xfrm>
              <a:off x="7467600" y="4364038"/>
              <a:ext cx="660400" cy="884238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0" name="íṧḻïḍê"/>
            <p:cNvSpPr/>
            <p:nvPr/>
          </p:nvSpPr>
          <p:spPr bwMode="auto">
            <a:xfrm>
              <a:off x="8259763" y="4732338"/>
              <a:ext cx="719138" cy="515938"/>
            </a:xfrm>
            <a:prstGeom prst="rect">
              <a:avLst/>
            </a:pr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1" name="îŝ1îďe"/>
            <p:cNvSpPr/>
            <p:nvPr/>
          </p:nvSpPr>
          <p:spPr bwMode="auto">
            <a:xfrm>
              <a:off x="4240213" y="1951038"/>
              <a:ext cx="5002213" cy="2133600"/>
            </a:xfrm>
            <a:custGeom>
              <a:avLst/>
              <a:gdLst>
                <a:gd name="T0" fmla="*/ 3151 w 3151"/>
                <a:gd name="T1" fmla="*/ 408 h 1344"/>
                <a:gd name="T2" fmla="*/ 2495 w 3151"/>
                <a:gd name="T3" fmla="*/ 519 h 1344"/>
                <a:gd name="T4" fmla="*/ 2495 w 3151"/>
                <a:gd name="T5" fmla="*/ 945 h 1344"/>
                <a:gd name="T6" fmla="*/ 2088 w 3151"/>
                <a:gd name="T7" fmla="*/ 751 h 1344"/>
                <a:gd name="T8" fmla="*/ 1885 w 3151"/>
                <a:gd name="T9" fmla="*/ 1094 h 1344"/>
                <a:gd name="T10" fmla="*/ 1876 w 3151"/>
                <a:gd name="T11" fmla="*/ 1084 h 1344"/>
                <a:gd name="T12" fmla="*/ 739 w 3151"/>
                <a:gd name="T13" fmla="*/ 630 h 1344"/>
                <a:gd name="T14" fmla="*/ 711 w 3151"/>
                <a:gd name="T15" fmla="*/ 1270 h 1344"/>
                <a:gd name="T16" fmla="*/ 0 w 3151"/>
                <a:gd name="T17" fmla="*/ 1344 h 1344"/>
                <a:gd name="T18" fmla="*/ 0 w 3151"/>
                <a:gd name="T19" fmla="*/ 1307 h 1344"/>
                <a:gd name="T20" fmla="*/ 665 w 3151"/>
                <a:gd name="T21" fmla="*/ 1233 h 1344"/>
                <a:gd name="T22" fmla="*/ 702 w 3151"/>
                <a:gd name="T23" fmla="*/ 574 h 1344"/>
                <a:gd name="T24" fmla="*/ 1876 w 3151"/>
                <a:gd name="T25" fmla="*/ 1038 h 1344"/>
                <a:gd name="T26" fmla="*/ 2070 w 3151"/>
                <a:gd name="T27" fmla="*/ 704 h 1344"/>
                <a:gd name="T28" fmla="*/ 2458 w 3151"/>
                <a:gd name="T29" fmla="*/ 880 h 1344"/>
                <a:gd name="T30" fmla="*/ 2458 w 3151"/>
                <a:gd name="T31" fmla="*/ 491 h 1344"/>
                <a:gd name="T32" fmla="*/ 3105 w 3151"/>
                <a:gd name="T33" fmla="*/ 380 h 1344"/>
                <a:gd name="T34" fmla="*/ 3031 w 3151"/>
                <a:gd name="T35" fmla="*/ 9 h 1344"/>
                <a:gd name="T36" fmla="*/ 3077 w 3151"/>
                <a:gd name="T37" fmla="*/ 0 h 1344"/>
                <a:gd name="T38" fmla="*/ 3151 w 3151"/>
                <a:gd name="T39" fmla="*/ 408 h 1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151" h="1344">
                  <a:moveTo>
                    <a:pt x="3151" y="408"/>
                  </a:moveTo>
                  <a:lnTo>
                    <a:pt x="2495" y="519"/>
                  </a:lnTo>
                  <a:lnTo>
                    <a:pt x="2495" y="945"/>
                  </a:lnTo>
                  <a:lnTo>
                    <a:pt x="2088" y="751"/>
                  </a:lnTo>
                  <a:lnTo>
                    <a:pt x="1885" y="1094"/>
                  </a:lnTo>
                  <a:lnTo>
                    <a:pt x="1876" y="1084"/>
                  </a:lnTo>
                  <a:lnTo>
                    <a:pt x="739" y="630"/>
                  </a:lnTo>
                  <a:lnTo>
                    <a:pt x="711" y="1270"/>
                  </a:lnTo>
                  <a:lnTo>
                    <a:pt x="0" y="1344"/>
                  </a:lnTo>
                  <a:lnTo>
                    <a:pt x="0" y="1307"/>
                  </a:lnTo>
                  <a:lnTo>
                    <a:pt x="665" y="1233"/>
                  </a:lnTo>
                  <a:lnTo>
                    <a:pt x="702" y="574"/>
                  </a:lnTo>
                  <a:lnTo>
                    <a:pt x="1876" y="1038"/>
                  </a:lnTo>
                  <a:lnTo>
                    <a:pt x="2070" y="704"/>
                  </a:lnTo>
                  <a:lnTo>
                    <a:pt x="2458" y="880"/>
                  </a:lnTo>
                  <a:lnTo>
                    <a:pt x="2458" y="491"/>
                  </a:lnTo>
                  <a:lnTo>
                    <a:pt x="3105" y="380"/>
                  </a:lnTo>
                  <a:lnTo>
                    <a:pt x="3031" y="9"/>
                  </a:lnTo>
                  <a:lnTo>
                    <a:pt x="3077" y="0"/>
                  </a:lnTo>
                  <a:lnTo>
                    <a:pt x="3151" y="408"/>
                  </a:lnTo>
                  <a:close/>
                </a:path>
              </a:pathLst>
            </a:custGeom>
            <a:solidFill>
              <a:srgbClr val="FFBD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2" name="išḻiḑé"/>
            <p:cNvSpPr/>
            <p:nvPr/>
          </p:nvSpPr>
          <p:spPr bwMode="auto">
            <a:xfrm>
              <a:off x="5281613" y="2760663"/>
              <a:ext cx="277813" cy="263525"/>
            </a:xfrm>
            <a:custGeom>
              <a:avLst/>
              <a:gdLst>
                <a:gd name="T0" fmla="*/ 13 w 19"/>
                <a:gd name="T1" fmla="*/ 2 h 18"/>
                <a:gd name="T2" fmla="*/ 17 w 19"/>
                <a:gd name="T3" fmla="*/ 13 h 18"/>
                <a:gd name="T4" fmla="*/ 6 w 19"/>
                <a:gd name="T5" fmla="*/ 17 h 18"/>
                <a:gd name="T6" fmla="*/ 2 w 19"/>
                <a:gd name="T7" fmla="*/ 6 h 18"/>
                <a:gd name="T8" fmla="*/ 13 w 19"/>
                <a:gd name="T9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3" y="2"/>
                  </a:moveTo>
                  <a:cubicBezTo>
                    <a:pt x="17" y="4"/>
                    <a:pt x="19" y="8"/>
                    <a:pt x="17" y="13"/>
                  </a:cubicBezTo>
                  <a:cubicBezTo>
                    <a:pt x="15" y="17"/>
                    <a:pt x="10" y="18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8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3" name="îśľiďé"/>
            <p:cNvSpPr/>
            <p:nvPr/>
          </p:nvSpPr>
          <p:spPr bwMode="auto">
            <a:xfrm>
              <a:off x="5192713" y="3805238"/>
              <a:ext cx="279400" cy="265113"/>
            </a:xfrm>
            <a:custGeom>
              <a:avLst/>
              <a:gdLst>
                <a:gd name="T0" fmla="*/ 13 w 19"/>
                <a:gd name="T1" fmla="*/ 2 h 18"/>
                <a:gd name="T2" fmla="*/ 17 w 19"/>
                <a:gd name="T3" fmla="*/ 13 h 18"/>
                <a:gd name="T4" fmla="*/ 6 w 19"/>
                <a:gd name="T5" fmla="*/ 17 h 18"/>
                <a:gd name="T6" fmla="*/ 2 w 19"/>
                <a:gd name="T7" fmla="*/ 6 h 18"/>
                <a:gd name="T8" fmla="*/ 13 w 19"/>
                <a:gd name="T9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3" y="2"/>
                  </a:moveTo>
                  <a:cubicBezTo>
                    <a:pt x="17" y="4"/>
                    <a:pt x="19" y="8"/>
                    <a:pt x="17" y="13"/>
                  </a:cubicBezTo>
                  <a:cubicBezTo>
                    <a:pt x="15" y="17"/>
                    <a:pt x="10" y="18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4" name="îṧļíďé"/>
            <p:cNvSpPr/>
            <p:nvPr/>
          </p:nvSpPr>
          <p:spPr bwMode="auto">
            <a:xfrm>
              <a:off x="7115175" y="3467101"/>
              <a:ext cx="263525" cy="263525"/>
            </a:xfrm>
            <a:custGeom>
              <a:avLst/>
              <a:gdLst>
                <a:gd name="T0" fmla="*/ 12 w 18"/>
                <a:gd name="T1" fmla="*/ 1 h 18"/>
                <a:gd name="T2" fmla="*/ 16 w 18"/>
                <a:gd name="T3" fmla="*/ 12 h 18"/>
                <a:gd name="T4" fmla="*/ 5 w 18"/>
                <a:gd name="T5" fmla="*/ 16 h 18"/>
                <a:gd name="T6" fmla="*/ 1 w 18"/>
                <a:gd name="T7" fmla="*/ 5 h 18"/>
                <a:gd name="T8" fmla="*/ 12 w 18"/>
                <a:gd name="T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2" y="1"/>
                  </a:moveTo>
                  <a:cubicBezTo>
                    <a:pt x="16" y="3"/>
                    <a:pt x="18" y="8"/>
                    <a:pt x="16" y="12"/>
                  </a:cubicBezTo>
                  <a:cubicBezTo>
                    <a:pt x="14" y="16"/>
                    <a:pt x="10" y="18"/>
                    <a:pt x="5" y="16"/>
                  </a:cubicBezTo>
                  <a:cubicBezTo>
                    <a:pt x="1" y="14"/>
                    <a:pt x="0" y="10"/>
                    <a:pt x="1" y="5"/>
                  </a:cubicBezTo>
                  <a:cubicBezTo>
                    <a:pt x="3" y="1"/>
                    <a:pt x="8" y="0"/>
                    <a:pt x="12" y="1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5" name="íśḻîḑé"/>
            <p:cNvSpPr/>
            <p:nvPr/>
          </p:nvSpPr>
          <p:spPr bwMode="auto">
            <a:xfrm>
              <a:off x="7408863" y="2951163"/>
              <a:ext cx="277813" cy="279400"/>
            </a:xfrm>
            <a:custGeom>
              <a:avLst/>
              <a:gdLst>
                <a:gd name="T0" fmla="*/ 13 w 19"/>
                <a:gd name="T1" fmla="*/ 2 h 19"/>
                <a:gd name="T2" fmla="*/ 17 w 19"/>
                <a:gd name="T3" fmla="*/ 13 h 19"/>
                <a:gd name="T4" fmla="*/ 6 w 19"/>
                <a:gd name="T5" fmla="*/ 17 h 19"/>
                <a:gd name="T6" fmla="*/ 2 w 19"/>
                <a:gd name="T7" fmla="*/ 6 h 19"/>
                <a:gd name="T8" fmla="*/ 13 w 19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3" y="2"/>
                  </a:moveTo>
                  <a:cubicBezTo>
                    <a:pt x="17" y="4"/>
                    <a:pt x="19" y="9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6" name="íṥ1îḓé"/>
            <p:cNvSpPr/>
            <p:nvPr/>
          </p:nvSpPr>
          <p:spPr bwMode="auto">
            <a:xfrm>
              <a:off x="8024813" y="2613026"/>
              <a:ext cx="279400" cy="265113"/>
            </a:xfrm>
            <a:custGeom>
              <a:avLst/>
              <a:gdLst>
                <a:gd name="T0" fmla="*/ 13 w 19"/>
                <a:gd name="T1" fmla="*/ 2 h 18"/>
                <a:gd name="T2" fmla="*/ 17 w 19"/>
                <a:gd name="T3" fmla="*/ 13 h 18"/>
                <a:gd name="T4" fmla="*/ 6 w 19"/>
                <a:gd name="T5" fmla="*/ 17 h 18"/>
                <a:gd name="T6" fmla="*/ 2 w 19"/>
                <a:gd name="T7" fmla="*/ 6 h 18"/>
                <a:gd name="T8" fmla="*/ 13 w 19"/>
                <a:gd name="T9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3" y="2"/>
                  </a:moveTo>
                  <a:cubicBezTo>
                    <a:pt x="17" y="4"/>
                    <a:pt x="19" y="8"/>
                    <a:pt x="17" y="13"/>
                  </a:cubicBezTo>
                  <a:cubicBezTo>
                    <a:pt x="15" y="17"/>
                    <a:pt x="10" y="18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7" name="íşlíďè"/>
            <p:cNvSpPr/>
            <p:nvPr/>
          </p:nvSpPr>
          <p:spPr bwMode="auto">
            <a:xfrm>
              <a:off x="8039100" y="3260726"/>
              <a:ext cx="265113" cy="279400"/>
            </a:xfrm>
            <a:custGeom>
              <a:avLst/>
              <a:gdLst>
                <a:gd name="T0" fmla="*/ 13 w 18"/>
                <a:gd name="T1" fmla="*/ 2 h 19"/>
                <a:gd name="T2" fmla="*/ 17 w 18"/>
                <a:gd name="T3" fmla="*/ 13 h 19"/>
                <a:gd name="T4" fmla="*/ 6 w 18"/>
                <a:gd name="T5" fmla="*/ 17 h 19"/>
                <a:gd name="T6" fmla="*/ 2 w 18"/>
                <a:gd name="T7" fmla="*/ 6 h 19"/>
                <a:gd name="T8" fmla="*/ 13 w 18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9">
                  <a:moveTo>
                    <a:pt x="13" y="2"/>
                  </a:moveTo>
                  <a:cubicBezTo>
                    <a:pt x="17" y="4"/>
                    <a:pt x="18" y="8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8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8" name="iṣlide"/>
            <p:cNvSpPr/>
            <p:nvPr/>
          </p:nvSpPr>
          <p:spPr bwMode="auto">
            <a:xfrm>
              <a:off x="9066213" y="2436813"/>
              <a:ext cx="279400" cy="279400"/>
            </a:xfrm>
            <a:custGeom>
              <a:avLst/>
              <a:gdLst>
                <a:gd name="T0" fmla="*/ 13 w 19"/>
                <a:gd name="T1" fmla="*/ 2 h 19"/>
                <a:gd name="T2" fmla="*/ 17 w 19"/>
                <a:gd name="T3" fmla="*/ 13 h 19"/>
                <a:gd name="T4" fmla="*/ 6 w 19"/>
                <a:gd name="T5" fmla="*/ 17 h 19"/>
                <a:gd name="T6" fmla="*/ 2 w 19"/>
                <a:gd name="T7" fmla="*/ 6 h 19"/>
                <a:gd name="T8" fmla="*/ 13 w 19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3" y="2"/>
                  </a:moveTo>
                  <a:cubicBezTo>
                    <a:pt x="17" y="4"/>
                    <a:pt x="19" y="9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79" name="î$ḻiḋé"/>
            <p:cNvSpPr/>
            <p:nvPr/>
          </p:nvSpPr>
          <p:spPr bwMode="auto">
            <a:xfrm>
              <a:off x="8963025" y="1803401"/>
              <a:ext cx="265113" cy="279400"/>
            </a:xfrm>
            <a:custGeom>
              <a:avLst/>
              <a:gdLst>
                <a:gd name="T0" fmla="*/ 13 w 18"/>
                <a:gd name="T1" fmla="*/ 2 h 19"/>
                <a:gd name="T2" fmla="*/ 17 w 18"/>
                <a:gd name="T3" fmla="*/ 13 h 19"/>
                <a:gd name="T4" fmla="*/ 6 w 18"/>
                <a:gd name="T5" fmla="*/ 17 h 19"/>
                <a:gd name="T6" fmla="*/ 2 w 18"/>
                <a:gd name="T7" fmla="*/ 6 h 19"/>
                <a:gd name="T8" fmla="*/ 13 w 18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9">
                  <a:moveTo>
                    <a:pt x="13" y="2"/>
                  </a:moveTo>
                  <a:cubicBezTo>
                    <a:pt x="17" y="4"/>
                    <a:pt x="18" y="9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8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0" name="íśḻídé"/>
            <p:cNvSpPr/>
            <p:nvPr/>
          </p:nvSpPr>
          <p:spPr bwMode="auto">
            <a:xfrm>
              <a:off x="4106863" y="3952876"/>
              <a:ext cx="279400" cy="279400"/>
            </a:xfrm>
            <a:custGeom>
              <a:avLst/>
              <a:gdLst>
                <a:gd name="T0" fmla="*/ 13 w 19"/>
                <a:gd name="T1" fmla="*/ 2 h 19"/>
                <a:gd name="T2" fmla="*/ 17 w 19"/>
                <a:gd name="T3" fmla="*/ 13 h 19"/>
                <a:gd name="T4" fmla="*/ 6 w 19"/>
                <a:gd name="T5" fmla="*/ 17 h 19"/>
                <a:gd name="T6" fmla="*/ 2 w 19"/>
                <a:gd name="T7" fmla="*/ 6 h 19"/>
                <a:gd name="T8" fmla="*/ 13 w 19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3" y="2"/>
                  </a:moveTo>
                  <a:cubicBezTo>
                    <a:pt x="17" y="4"/>
                    <a:pt x="19" y="9"/>
                    <a:pt x="17" y="13"/>
                  </a:cubicBezTo>
                  <a:cubicBezTo>
                    <a:pt x="15" y="17"/>
                    <a:pt x="10" y="19"/>
                    <a:pt x="6" y="17"/>
                  </a:cubicBezTo>
                  <a:cubicBezTo>
                    <a:pt x="2" y="15"/>
                    <a:pt x="0" y="10"/>
                    <a:pt x="2" y="6"/>
                  </a:cubicBezTo>
                  <a:cubicBezTo>
                    <a:pt x="4" y="2"/>
                    <a:pt x="9" y="0"/>
                    <a:pt x="13" y="2"/>
                  </a:cubicBezTo>
                  <a:close/>
                </a:path>
              </a:pathLst>
            </a:custGeom>
            <a:solidFill>
              <a:srgbClr val="29B9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" name="iṡlíḓê"/>
            <p:cNvSpPr/>
            <p:nvPr/>
          </p:nvSpPr>
          <p:spPr bwMode="auto">
            <a:xfrm>
              <a:off x="5075238" y="5394326"/>
              <a:ext cx="190500" cy="236538"/>
            </a:xfrm>
            <a:custGeom>
              <a:avLst/>
              <a:gdLst>
                <a:gd name="T0" fmla="*/ 84 w 120"/>
                <a:gd name="T1" fmla="*/ 0 h 149"/>
                <a:gd name="T2" fmla="*/ 56 w 120"/>
                <a:gd name="T3" fmla="*/ 9 h 149"/>
                <a:gd name="T4" fmla="*/ 65 w 120"/>
                <a:gd name="T5" fmla="*/ 56 h 149"/>
                <a:gd name="T6" fmla="*/ 56 w 120"/>
                <a:gd name="T7" fmla="*/ 74 h 149"/>
                <a:gd name="T8" fmla="*/ 0 w 120"/>
                <a:gd name="T9" fmla="*/ 149 h 149"/>
                <a:gd name="T10" fmla="*/ 120 w 120"/>
                <a:gd name="T11" fmla="*/ 74 h 149"/>
                <a:gd name="T12" fmla="*/ 84 w 120"/>
                <a:gd name="T13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49">
                  <a:moveTo>
                    <a:pt x="84" y="0"/>
                  </a:moveTo>
                  <a:lnTo>
                    <a:pt x="56" y="9"/>
                  </a:lnTo>
                  <a:lnTo>
                    <a:pt x="65" y="56"/>
                  </a:lnTo>
                  <a:lnTo>
                    <a:pt x="56" y="74"/>
                  </a:lnTo>
                  <a:lnTo>
                    <a:pt x="0" y="149"/>
                  </a:lnTo>
                  <a:lnTo>
                    <a:pt x="120" y="74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7A92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2" name="îSļïḓê"/>
            <p:cNvSpPr/>
            <p:nvPr/>
          </p:nvSpPr>
          <p:spPr bwMode="auto">
            <a:xfrm>
              <a:off x="5208588" y="5335588"/>
              <a:ext cx="204788" cy="192088"/>
            </a:xfrm>
            <a:custGeom>
              <a:avLst/>
              <a:gdLst>
                <a:gd name="T0" fmla="*/ 18 w 129"/>
                <a:gd name="T1" fmla="*/ 0 h 121"/>
                <a:gd name="T2" fmla="*/ 46 w 129"/>
                <a:gd name="T3" fmla="*/ 0 h 121"/>
                <a:gd name="T4" fmla="*/ 46 w 129"/>
                <a:gd name="T5" fmla="*/ 46 h 121"/>
                <a:gd name="T6" fmla="*/ 55 w 129"/>
                <a:gd name="T7" fmla="*/ 56 h 121"/>
                <a:gd name="T8" fmla="*/ 129 w 129"/>
                <a:gd name="T9" fmla="*/ 121 h 121"/>
                <a:gd name="T10" fmla="*/ 0 w 129"/>
                <a:gd name="T11" fmla="*/ 74 h 121"/>
                <a:gd name="T12" fmla="*/ 18 w 129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" h="121">
                  <a:moveTo>
                    <a:pt x="18" y="0"/>
                  </a:moveTo>
                  <a:lnTo>
                    <a:pt x="46" y="0"/>
                  </a:lnTo>
                  <a:lnTo>
                    <a:pt x="46" y="46"/>
                  </a:lnTo>
                  <a:lnTo>
                    <a:pt x="55" y="56"/>
                  </a:lnTo>
                  <a:lnTo>
                    <a:pt x="129" y="121"/>
                  </a:lnTo>
                  <a:lnTo>
                    <a:pt x="0" y="74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7A92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3" name="íśḷiḋe"/>
            <p:cNvSpPr/>
            <p:nvPr/>
          </p:nvSpPr>
          <p:spPr bwMode="auto">
            <a:xfrm>
              <a:off x="4899025" y="3613151"/>
              <a:ext cx="455613" cy="1855788"/>
            </a:xfrm>
            <a:custGeom>
              <a:avLst/>
              <a:gdLst>
                <a:gd name="T0" fmla="*/ 10 w 287"/>
                <a:gd name="T1" fmla="*/ 0 h 1169"/>
                <a:gd name="T2" fmla="*/ 0 w 287"/>
                <a:gd name="T3" fmla="*/ 612 h 1169"/>
                <a:gd name="T4" fmla="*/ 167 w 287"/>
                <a:gd name="T5" fmla="*/ 1169 h 1169"/>
                <a:gd name="T6" fmla="*/ 222 w 287"/>
                <a:gd name="T7" fmla="*/ 1150 h 1169"/>
                <a:gd name="T8" fmla="*/ 130 w 287"/>
                <a:gd name="T9" fmla="*/ 649 h 1169"/>
                <a:gd name="T10" fmla="*/ 287 w 287"/>
                <a:gd name="T11" fmla="*/ 130 h 1169"/>
                <a:gd name="T12" fmla="*/ 10 w 287"/>
                <a:gd name="T13" fmla="*/ 0 h 1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1169">
                  <a:moveTo>
                    <a:pt x="10" y="0"/>
                  </a:moveTo>
                  <a:lnTo>
                    <a:pt x="0" y="612"/>
                  </a:lnTo>
                  <a:lnTo>
                    <a:pt x="167" y="1169"/>
                  </a:lnTo>
                  <a:lnTo>
                    <a:pt x="222" y="1150"/>
                  </a:lnTo>
                  <a:lnTo>
                    <a:pt x="130" y="649"/>
                  </a:lnTo>
                  <a:lnTo>
                    <a:pt x="287" y="13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1F0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4" name="í$lïdè"/>
            <p:cNvSpPr/>
            <p:nvPr/>
          </p:nvSpPr>
          <p:spPr bwMode="auto">
            <a:xfrm>
              <a:off x="5192713" y="3613151"/>
              <a:ext cx="469900" cy="1781175"/>
            </a:xfrm>
            <a:custGeom>
              <a:avLst/>
              <a:gdLst>
                <a:gd name="T0" fmla="*/ 65 w 296"/>
                <a:gd name="T1" fmla="*/ 112 h 1122"/>
                <a:gd name="T2" fmla="*/ 65 w 296"/>
                <a:gd name="T3" fmla="*/ 631 h 1122"/>
                <a:gd name="T4" fmla="*/ 0 w 296"/>
                <a:gd name="T5" fmla="*/ 1122 h 1122"/>
                <a:gd name="T6" fmla="*/ 65 w 296"/>
                <a:gd name="T7" fmla="*/ 1122 h 1122"/>
                <a:gd name="T8" fmla="*/ 185 w 296"/>
                <a:gd name="T9" fmla="*/ 622 h 1122"/>
                <a:gd name="T10" fmla="*/ 296 w 296"/>
                <a:gd name="T11" fmla="*/ 0 h 1122"/>
                <a:gd name="T12" fmla="*/ 65 w 296"/>
                <a:gd name="T13" fmla="*/ 112 h 1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6" h="1122">
                  <a:moveTo>
                    <a:pt x="65" y="112"/>
                  </a:moveTo>
                  <a:lnTo>
                    <a:pt x="65" y="631"/>
                  </a:lnTo>
                  <a:lnTo>
                    <a:pt x="0" y="1122"/>
                  </a:lnTo>
                  <a:lnTo>
                    <a:pt x="65" y="1122"/>
                  </a:lnTo>
                  <a:lnTo>
                    <a:pt x="185" y="622"/>
                  </a:lnTo>
                  <a:lnTo>
                    <a:pt x="296" y="0"/>
                  </a:lnTo>
                  <a:lnTo>
                    <a:pt x="65" y="112"/>
                  </a:lnTo>
                  <a:close/>
                </a:path>
              </a:pathLst>
            </a:custGeom>
            <a:solidFill>
              <a:srgbClr val="3512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" name="ïSlíḋè"/>
            <p:cNvSpPr/>
            <p:nvPr/>
          </p:nvSpPr>
          <p:spPr bwMode="auto">
            <a:xfrm>
              <a:off x="6381750" y="3333751"/>
              <a:ext cx="190500" cy="133350"/>
            </a:xfrm>
            <a:custGeom>
              <a:avLst/>
              <a:gdLst>
                <a:gd name="T0" fmla="*/ 0 w 13"/>
                <a:gd name="T1" fmla="*/ 1 h 9"/>
                <a:gd name="T2" fmla="*/ 10 w 13"/>
                <a:gd name="T3" fmla="*/ 1 h 9"/>
                <a:gd name="T4" fmla="*/ 0 w 13"/>
                <a:gd name="T5" fmla="*/ 4 h 9"/>
                <a:gd name="T6" fmla="*/ 0 w 13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9">
                  <a:moveTo>
                    <a:pt x="0" y="1"/>
                  </a:moveTo>
                  <a:cubicBezTo>
                    <a:pt x="0" y="1"/>
                    <a:pt x="9" y="0"/>
                    <a:pt x="10" y="1"/>
                  </a:cubicBezTo>
                  <a:cubicBezTo>
                    <a:pt x="11" y="3"/>
                    <a:pt x="13" y="9"/>
                    <a:pt x="0" y="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8AC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" name="ïSḷîdé"/>
            <p:cNvSpPr/>
            <p:nvPr/>
          </p:nvSpPr>
          <p:spPr bwMode="auto">
            <a:xfrm>
              <a:off x="5545138" y="2509838"/>
              <a:ext cx="850900" cy="898525"/>
            </a:xfrm>
            <a:custGeom>
              <a:avLst/>
              <a:gdLst>
                <a:gd name="T0" fmla="*/ 1 w 58"/>
                <a:gd name="T1" fmla="*/ 18 h 61"/>
                <a:gd name="T2" fmla="*/ 5 w 58"/>
                <a:gd name="T3" fmla="*/ 57 h 61"/>
                <a:gd name="T4" fmla="*/ 58 w 58"/>
                <a:gd name="T5" fmla="*/ 61 h 61"/>
                <a:gd name="T6" fmla="*/ 58 w 58"/>
                <a:gd name="T7" fmla="*/ 57 h 61"/>
                <a:gd name="T8" fmla="*/ 18 w 58"/>
                <a:gd name="T9" fmla="*/ 47 h 61"/>
                <a:gd name="T10" fmla="*/ 12 w 58"/>
                <a:gd name="T11" fmla="*/ 12 h 61"/>
                <a:gd name="T12" fmla="*/ 3 w 58"/>
                <a:gd name="T13" fmla="*/ 2 h 61"/>
                <a:gd name="T14" fmla="*/ 1 w 58"/>
                <a:gd name="T15" fmla="*/ 1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61">
                  <a:moveTo>
                    <a:pt x="1" y="18"/>
                  </a:moveTo>
                  <a:cubicBezTo>
                    <a:pt x="5" y="57"/>
                    <a:pt x="5" y="57"/>
                    <a:pt x="5" y="57"/>
                  </a:cubicBezTo>
                  <a:cubicBezTo>
                    <a:pt x="58" y="61"/>
                    <a:pt x="58" y="61"/>
                    <a:pt x="58" y="61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18" y="47"/>
                    <a:pt x="18" y="47"/>
                    <a:pt x="18" y="47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1" y="0"/>
                    <a:pt x="3" y="2"/>
                  </a:cubicBezTo>
                  <a:cubicBezTo>
                    <a:pt x="3" y="2"/>
                    <a:pt x="0" y="10"/>
                    <a:pt x="1" y="18"/>
                  </a:cubicBezTo>
                  <a:close/>
                </a:path>
              </a:pathLst>
            </a:custGeom>
            <a:solidFill>
              <a:srgbClr val="FFC7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" name="íšḻíḑê"/>
            <p:cNvSpPr/>
            <p:nvPr/>
          </p:nvSpPr>
          <p:spPr bwMode="auto">
            <a:xfrm>
              <a:off x="4856163" y="2465388"/>
              <a:ext cx="909638" cy="1487488"/>
            </a:xfrm>
            <a:custGeom>
              <a:avLst/>
              <a:gdLst>
                <a:gd name="T0" fmla="*/ 22 w 62"/>
                <a:gd name="T1" fmla="*/ 5 h 101"/>
                <a:gd name="T2" fmla="*/ 1 w 62"/>
                <a:gd name="T3" fmla="*/ 22 h 101"/>
                <a:gd name="T4" fmla="*/ 5 w 62"/>
                <a:gd name="T5" fmla="*/ 57 h 101"/>
                <a:gd name="T6" fmla="*/ 4 w 62"/>
                <a:gd name="T7" fmla="*/ 85 h 101"/>
                <a:gd name="T8" fmla="*/ 54 w 62"/>
                <a:gd name="T9" fmla="*/ 83 h 101"/>
                <a:gd name="T10" fmla="*/ 54 w 62"/>
                <a:gd name="T11" fmla="*/ 37 h 101"/>
                <a:gd name="T12" fmla="*/ 53 w 62"/>
                <a:gd name="T13" fmla="*/ 5 h 101"/>
                <a:gd name="T14" fmla="*/ 22 w 62"/>
                <a:gd name="T15" fmla="*/ 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101">
                  <a:moveTo>
                    <a:pt x="22" y="5"/>
                  </a:moveTo>
                  <a:cubicBezTo>
                    <a:pt x="15" y="7"/>
                    <a:pt x="2" y="13"/>
                    <a:pt x="1" y="22"/>
                  </a:cubicBezTo>
                  <a:cubicBezTo>
                    <a:pt x="0" y="32"/>
                    <a:pt x="5" y="57"/>
                    <a:pt x="5" y="57"/>
                  </a:cubicBezTo>
                  <a:cubicBezTo>
                    <a:pt x="4" y="85"/>
                    <a:pt x="4" y="85"/>
                    <a:pt x="4" y="85"/>
                  </a:cubicBezTo>
                  <a:cubicBezTo>
                    <a:pt x="4" y="85"/>
                    <a:pt x="29" y="101"/>
                    <a:pt x="54" y="83"/>
                  </a:cubicBezTo>
                  <a:cubicBezTo>
                    <a:pt x="54" y="83"/>
                    <a:pt x="53" y="50"/>
                    <a:pt x="54" y="37"/>
                  </a:cubicBezTo>
                  <a:cubicBezTo>
                    <a:pt x="54" y="30"/>
                    <a:pt x="62" y="8"/>
                    <a:pt x="53" y="5"/>
                  </a:cubicBezTo>
                  <a:cubicBezTo>
                    <a:pt x="38" y="0"/>
                    <a:pt x="28" y="3"/>
                    <a:pt x="22" y="5"/>
                  </a:cubicBezTo>
                  <a:close/>
                </a:path>
              </a:pathLst>
            </a:custGeom>
            <a:solidFill>
              <a:srgbClr val="FF2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" name="íṧľïḓê"/>
            <p:cNvSpPr/>
            <p:nvPr/>
          </p:nvSpPr>
          <p:spPr bwMode="auto">
            <a:xfrm>
              <a:off x="5222875" y="2376488"/>
              <a:ext cx="204788" cy="280988"/>
            </a:xfrm>
            <a:custGeom>
              <a:avLst/>
              <a:gdLst>
                <a:gd name="T0" fmla="*/ 2 w 14"/>
                <a:gd name="T1" fmla="*/ 1 h 19"/>
                <a:gd name="T2" fmla="*/ 0 w 14"/>
                <a:gd name="T3" fmla="*/ 11 h 19"/>
                <a:gd name="T4" fmla="*/ 12 w 14"/>
                <a:gd name="T5" fmla="*/ 14 h 19"/>
                <a:gd name="T6" fmla="*/ 9 w 14"/>
                <a:gd name="T7" fmla="*/ 0 h 19"/>
                <a:gd name="T8" fmla="*/ 2 w 14"/>
                <a:gd name="T9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9">
                  <a:moveTo>
                    <a:pt x="2" y="1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14" y="19"/>
                    <a:pt x="12" y="14"/>
                  </a:cubicBezTo>
                  <a:cubicBezTo>
                    <a:pt x="10" y="9"/>
                    <a:pt x="9" y="0"/>
                    <a:pt x="9" y="0"/>
                  </a:cubicBezTo>
                  <a:lnTo>
                    <a:pt x="2" y="1"/>
                  </a:lnTo>
                  <a:close/>
                </a:path>
              </a:pathLst>
            </a:custGeom>
            <a:solidFill>
              <a:srgbClr val="FFC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" name="ï$1îďê"/>
            <p:cNvSpPr/>
            <p:nvPr/>
          </p:nvSpPr>
          <p:spPr bwMode="auto">
            <a:xfrm>
              <a:off x="5208588" y="2155826"/>
              <a:ext cx="204788" cy="323850"/>
            </a:xfrm>
            <a:custGeom>
              <a:avLst/>
              <a:gdLst>
                <a:gd name="T0" fmla="*/ 1 w 14"/>
                <a:gd name="T1" fmla="*/ 4 h 22"/>
                <a:gd name="T2" fmla="*/ 1 w 14"/>
                <a:gd name="T3" fmla="*/ 13 h 22"/>
                <a:gd name="T4" fmla="*/ 8 w 14"/>
                <a:gd name="T5" fmla="*/ 21 h 22"/>
                <a:gd name="T6" fmla="*/ 13 w 14"/>
                <a:gd name="T7" fmla="*/ 18 h 22"/>
                <a:gd name="T8" fmla="*/ 8 w 14"/>
                <a:gd name="T9" fmla="*/ 2 h 22"/>
                <a:gd name="T10" fmla="*/ 1 w 14"/>
                <a:gd name="T11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22">
                  <a:moveTo>
                    <a:pt x="1" y="4"/>
                  </a:moveTo>
                  <a:cubicBezTo>
                    <a:pt x="1" y="6"/>
                    <a:pt x="0" y="10"/>
                    <a:pt x="1" y="13"/>
                  </a:cubicBezTo>
                  <a:cubicBezTo>
                    <a:pt x="3" y="15"/>
                    <a:pt x="5" y="20"/>
                    <a:pt x="8" y="21"/>
                  </a:cubicBezTo>
                  <a:cubicBezTo>
                    <a:pt x="12" y="22"/>
                    <a:pt x="13" y="19"/>
                    <a:pt x="13" y="18"/>
                  </a:cubicBezTo>
                  <a:cubicBezTo>
                    <a:pt x="14" y="15"/>
                    <a:pt x="13" y="4"/>
                    <a:pt x="8" y="2"/>
                  </a:cubicBezTo>
                  <a:cubicBezTo>
                    <a:pt x="4" y="0"/>
                    <a:pt x="2" y="2"/>
                    <a:pt x="1" y="4"/>
                  </a:cubicBezTo>
                  <a:close/>
                </a:path>
              </a:pathLst>
            </a:custGeom>
            <a:solidFill>
              <a:srgbClr val="FFC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" name="í$lïḍé"/>
            <p:cNvSpPr/>
            <p:nvPr/>
          </p:nvSpPr>
          <p:spPr bwMode="auto">
            <a:xfrm>
              <a:off x="5178425" y="2127251"/>
              <a:ext cx="176213" cy="249238"/>
            </a:xfrm>
            <a:custGeom>
              <a:avLst/>
              <a:gdLst>
                <a:gd name="T0" fmla="*/ 12 w 12"/>
                <a:gd name="T1" fmla="*/ 5 h 17"/>
                <a:gd name="T2" fmla="*/ 7 w 12"/>
                <a:gd name="T3" fmla="*/ 7 h 17"/>
                <a:gd name="T4" fmla="*/ 4 w 12"/>
                <a:gd name="T5" fmla="*/ 11 h 17"/>
                <a:gd name="T6" fmla="*/ 4 w 12"/>
                <a:gd name="T7" fmla="*/ 16 h 17"/>
                <a:gd name="T8" fmla="*/ 2 w 12"/>
                <a:gd name="T9" fmla="*/ 6 h 17"/>
                <a:gd name="T10" fmla="*/ 12 w 12"/>
                <a:gd name="T11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12" y="5"/>
                  </a:moveTo>
                  <a:cubicBezTo>
                    <a:pt x="12" y="5"/>
                    <a:pt x="10" y="8"/>
                    <a:pt x="7" y="7"/>
                  </a:cubicBezTo>
                  <a:cubicBezTo>
                    <a:pt x="3" y="7"/>
                    <a:pt x="4" y="10"/>
                    <a:pt x="4" y="11"/>
                  </a:cubicBezTo>
                  <a:cubicBezTo>
                    <a:pt x="4" y="11"/>
                    <a:pt x="5" y="16"/>
                    <a:pt x="4" y="16"/>
                  </a:cubicBezTo>
                  <a:cubicBezTo>
                    <a:pt x="3" y="17"/>
                    <a:pt x="0" y="11"/>
                    <a:pt x="2" y="6"/>
                  </a:cubicBezTo>
                  <a:cubicBezTo>
                    <a:pt x="3" y="2"/>
                    <a:pt x="10" y="0"/>
                    <a:pt x="12" y="5"/>
                  </a:cubicBezTo>
                  <a:close/>
                </a:path>
              </a:pathLst>
            </a:custGeom>
            <a:solidFill>
              <a:srgbClr val="171B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1" name="î$ḻidé"/>
            <p:cNvSpPr/>
            <p:nvPr/>
          </p:nvSpPr>
          <p:spPr bwMode="auto">
            <a:xfrm>
              <a:off x="5251450" y="2333626"/>
              <a:ext cx="176213" cy="146050"/>
            </a:xfrm>
            <a:custGeom>
              <a:avLst/>
              <a:gdLst>
                <a:gd name="T0" fmla="*/ 0 w 12"/>
                <a:gd name="T1" fmla="*/ 4 h 10"/>
                <a:gd name="T2" fmla="*/ 8 w 12"/>
                <a:gd name="T3" fmla="*/ 6 h 10"/>
                <a:gd name="T4" fmla="*/ 11 w 12"/>
                <a:gd name="T5" fmla="*/ 1 h 10"/>
                <a:gd name="T6" fmla="*/ 7 w 12"/>
                <a:gd name="T7" fmla="*/ 9 h 10"/>
                <a:gd name="T8" fmla="*/ 0 w 12"/>
                <a:gd name="T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0">
                  <a:moveTo>
                    <a:pt x="0" y="4"/>
                  </a:moveTo>
                  <a:cubicBezTo>
                    <a:pt x="0" y="4"/>
                    <a:pt x="4" y="7"/>
                    <a:pt x="8" y="6"/>
                  </a:cubicBezTo>
                  <a:cubicBezTo>
                    <a:pt x="10" y="6"/>
                    <a:pt x="11" y="2"/>
                    <a:pt x="11" y="1"/>
                  </a:cubicBezTo>
                  <a:cubicBezTo>
                    <a:pt x="10" y="0"/>
                    <a:pt x="12" y="8"/>
                    <a:pt x="7" y="9"/>
                  </a:cubicBezTo>
                  <a:cubicBezTo>
                    <a:pt x="2" y="10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171B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" name="iš1iḓè"/>
            <p:cNvSpPr/>
            <p:nvPr/>
          </p:nvSpPr>
          <p:spPr bwMode="auto">
            <a:xfrm>
              <a:off x="5164138" y="2936876"/>
              <a:ext cx="1819275" cy="1030288"/>
            </a:xfrm>
            <a:custGeom>
              <a:avLst/>
              <a:gdLst>
                <a:gd name="T0" fmla="*/ 1146 w 1146"/>
                <a:gd name="T1" fmla="*/ 139 h 649"/>
                <a:gd name="T2" fmla="*/ 64 w 1146"/>
                <a:gd name="T3" fmla="*/ 649 h 649"/>
                <a:gd name="T4" fmla="*/ 0 w 1146"/>
                <a:gd name="T5" fmla="*/ 500 h 649"/>
                <a:gd name="T6" fmla="*/ 1081 w 1146"/>
                <a:gd name="T7" fmla="*/ 0 h 649"/>
                <a:gd name="T8" fmla="*/ 1146 w 1146"/>
                <a:gd name="T9" fmla="*/ 139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6" h="649">
                  <a:moveTo>
                    <a:pt x="1146" y="139"/>
                  </a:moveTo>
                  <a:lnTo>
                    <a:pt x="64" y="649"/>
                  </a:lnTo>
                  <a:lnTo>
                    <a:pt x="0" y="500"/>
                  </a:lnTo>
                  <a:lnTo>
                    <a:pt x="1081" y="0"/>
                  </a:lnTo>
                  <a:lnTo>
                    <a:pt x="1146" y="139"/>
                  </a:lnTo>
                  <a:close/>
                </a:path>
              </a:pathLst>
            </a:custGeom>
            <a:solidFill>
              <a:srgbClr val="FFBD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" name="ísḷíḑè"/>
            <p:cNvSpPr/>
            <p:nvPr/>
          </p:nvSpPr>
          <p:spPr bwMode="auto">
            <a:xfrm>
              <a:off x="5559425" y="3613151"/>
              <a:ext cx="176213" cy="147638"/>
            </a:xfrm>
            <a:custGeom>
              <a:avLst/>
              <a:gdLst>
                <a:gd name="T0" fmla="*/ 1 w 12"/>
                <a:gd name="T1" fmla="*/ 0 h 10"/>
                <a:gd name="T2" fmla="*/ 11 w 12"/>
                <a:gd name="T3" fmla="*/ 2 h 10"/>
                <a:gd name="T4" fmla="*/ 0 w 12"/>
                <a:gd name="T5" fmla="*/ 3 h 10"/>
                <a:gd name="T6" fmla="*/ 1 w 12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1" y="0"/>
                  </a:moveTo>
                  <a:cubicBezTo>
                    <a:pt x="1" y="0"/>
                    <a:pt x="10" y="0"/>
                    <a:pt x="11" y="2"/>
                  </a:cubicBezTo>
                  <a:cubicBezTo>
                    <a:pt x="12" y="3"/>
                    <a:pt x="12" y="10"/>
                    <a:pt x="0" y="3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C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" name="išlíḓê"/>
            <p:cNvSpPr/>
            <p:nvPr/>
          </p:nvSpPr>
          <p:spPr bwMode="auto">
            <a:xfrm>
              <a:off x="4811713" y="2627313"/>
              <a:ext cx="777875" cy="1044575"/>
            </a:xfrm>
            <a:custGeom>
              <a:avLst/>
              <a:gdLst>
                <a:gd name="T0" fmla="*/ 2 w 53"/>
                <a:gd name="T1" fmla="*/ 19 h 71"/>
                <a:gd name="T2" fmla="*/ 0 w 53"/>
                <a:gd name="T3" fmla="*/ 58 h 71"/>
                <a:gd name="T4" fmla="*/ 52 w 53"/>
                <a:gd name="T5" fmla="*/ 71 h 71"/>
                <a:gd name="T6" fmla="*/ 53 w 53"/>
                <a:gd name="T7" fmla="*/ 67 h 71"/>
                <a:gd name="T8" fmla="*/ 15 w 53"/>
                <a:gd name="T9" fmla="*/ 51 h 71"/>
                <a:gd name="T10" fmla="*/ 15 w 53"/>
                <a:gd name="T11" fmla="*/ 15 h 71"/>
                <a:gd name="T12" fmla="*/ 8 w 53"/>
                <a:gd name="T13" fmla="*/ 4 h 71"/>
                <a:gd name="T14" fmla="*/ 2 w 53"/>
                <a:gd name="T15" fmla="*/ 1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71">
                  <a:moveTo>
                    <a:pt x="2" y="19"/>
                  </a:moveTo>
                  <a:cubicBezTo>
                    <a:pt x="0" y="58"/>
                    <a:pt x="0" y="58"/>
                    <a:pt x="0" y="58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0"/>
                    <a:pt x="8" y="4"/>
                  </a:cubicBezTo>
                  <a:cubicBezTo>
                    <a:pt x="4" y="5"/>
                    <a:pt x="3" y="11"/>
                    <a:pt x="2" y="19"/>
                  </a:cubicBezTo>
                  <a:close/>
                </a:path>
              </a:pathLst>
            </a:custGeom>
            <a:solidFill>
              <a:srgbClr val="FFC7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" name="ís1ïdê"/>
            <p:cNvSpPr/>
            <p:nvPr/>
          </p:nvSpPr>
          <p:spPr bwMode="auto">
            <a:xfrm>
              <a:off x="6880225" y="2936876"/>
              <a:ext cx="307975" cy="220663"/>
            </a:xfrm>
            <a:custGeom>
              <a:avLst/>
              <a:gdLst>
                <a:gd name="T0" fmla="*/ 0 w 194"/>
                <a:gd name="T1" fmla="*/ 0 h 139"/>
                <a:gd name="T2" fmla="*/ 194 w 194"/>
                <a:gd name="T3" fmla="*/ 0 h 139"/>
                <a:gd name="T4" fmla="*/ 65 w 194"/>
                <a:gd name="T5" fmla="*/ 139 h 139"/>
                <a:gd name="T6" fmla="*/ 0 w 194"/>
                <a:gd name="T7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4" h="139">
                  <a:moveTo>
                    <a:pt x="0" y="0"/>
                  </a:moveTo>
                  <a:lnTo>
                    <a:pt x="194" y="0"/>
                  </a:lnTo>
                  <a:lnTo>
                    <a:pt x="65" y="1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F75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</p:spTree>
    <p:custDataLst>
      <p:tags r:id="rId3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PRESENTATION_TITLE" val="蓝色渐变工作汇报通用PPT模板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  <p:tag name="ISLIDE.VECTOR" val="#418846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a2f6f956-74f0-4e48-b063-fde34c17ff1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  <p:tag name="ISLIDE.VECTOR" val="#418846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a2f6f956-74f0-4e48-b063-fde34c17ff18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4CFF"/>
      </a:accent1>
      <a:accent2>
        <a:srgbClr val="00BEFF"/>
      </a:accent2>
      <a:accent3>
        <a:srgbClr val="F8CE6F"/>
      </a:accent3>
      <a:accent4>
        <a:srgbClr val="D4A1EA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4CFF"/>
      </a:accent1>
      <a:accent2>
        <a:srgbClr val="00BEFF"/>
      </a:accent2>
      <a:accent3>
        <a:srgbClr val="F8CE6F"/>
      </a:accent3>
      <a:accent4>
        <a:srgbClr val="D4A1EA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4CFF"/>
    </a:accent1>
    <a:accent2>
      <a:srgbClr val="00BEFF"/>
    </a:accent2>
    <a:accent3>
      <a:srgbClr val="F8CE6F"/>
    </a:accent3>
    <a:accent4>
      <a:srgbClr val="D4A1EA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4CFF"/>
    </a:accent1>
    <a:accent2>
      <a:srgbClr val="00BEFF"/>
    </a:accent2>
    <a:accent3>
      <a:srgbClr val="F8CE6F"/>
    </a:accent3>
    <a:accent4>
      <a:srgbClr val="D4A1EA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58</TotalTime>
  <Words>138</Words>
  <Application>Microsoft Office PowerPoint</Application>
  <PresentationFormat>宽屏</PresentationFormat>
  <Paragraphs>50</Paragraphs>
  <Slides>8</Slides>
  <Notes>8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9" baseType="lpstr">
      <vt:lpstr>等线</vt:lpstr>
      <vt:lpstr>等线 Light</vt:lpstr>
      <vt:lpstr>华文彩云</vt:lpstr>
      <vt:lpstr>思源黑体 CN Bold</vt:lpstr>
      <vt:lpstr>微软雅黑</vt:lpstr>
      <vt:lpstr>Arial</vt:lpstr>
      <vt:lpstr>Calibri</vt:lpstr>
      <vt:lpstr>Office 主题​​</vt:lpstr>
      <vt:lpstr>主题5</vt:lpstr>
      <vt:lpstr>1_主题5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>www.51pptmoban.com</Manager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蓝色渐变工作汇报通用PPT模板</dc:title>
  <dc:creator>二三米</dc:creator>
  <cp:keywords>51PPT模板网</cp:keywords>
  <dc:description>www.51pptmoban.com</dc:description>
  <cp:lastModifiedBy>邢 肖云</cp:lastModifiedBy>
  <cp:revision>44</cp:revision>
  <dcterms:created xsi:type="dcterms:W3CDTF">2020-02-15T02:13:00Z</dcterms:created>
  <dcterms:modified xsi:type="dcterms:W3CDTF">2022-01-01T09:0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662</vt:lpwstr>
  </property>
</Properties>
</file>